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8.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1.xml" ContentType="application/vnd.openxmlformats-officedocument.presentationml.tags+xml"/>
  <Override PartName="/ppt/notesSlides/notesSlide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2.xml" ContentType="application/vnd.openxmlformats-officedocument.presentationml.tags+xml"/>
  <Override PartName="/ppt/notesSlides/notesSlide33.xml" ContentType="application/vnd.openxmlformats-officedocument.presentationml.notesSlide+xml"/>
  <Override PartName="/ppt/tags/tag23.xml" ContentType="application/vnd.openxmlformats-officedocument.presentationml.tags+xml"/>
  <Override PartName="/ppt/notesSlides/notesSlide34.xml" ContentType="application/vnd.openxmlformats-officedocument.presentationml.notesSlide+xml"/>
  <Override PartName="/ppt/tags/tag24.xml" ContentType="application/vnd.openxmlformats-officedocument.presentationml.tags+xml"/>
  <Override PartName="/ppt/notesSlides/notesSlide35.xml" ContentType="application/vnd.openxmlformats-officedocument.presentationml.notesSlide+xml"/>
  <Override PartName="/ppt/tags/tag25.xml" ContentType="application/vnd.openxmlformats-officedocument.presentationml.tags+xml"/>
  <Override PartName="/ppt/notesSlides/notesSlide36.xml" ContentType="application/vnd.openxmlformats-officedocument.presentationml.notesSlide+xml"/>
  <Override PartName="/ppt/tags/tag26.xml" ContentType="application/vnd.openxmlformats-officedocument.presentationml.tags+xml"/>
  <Override PartName="/ppt/notesSlides/notesSlide3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8.xml" ContentType="application/vnd.openxmlformats-officedocument.presentationml.notesSlide+xml"/>
  <Override PartName="/ppt/theme/themeOverride1.xml" ContentType="application/vnd.openxmlformats-officedocument.themeOverride+xml"/>
  <Override PartName="/ppt/tags/tag27.xml" ContentType="application/vnd.openxmlformats-officedocument.presentationml.tags+xml"/>
  <Override PartName="/ppt/notesSlides/notesSlide3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0.xml" ContentType="application/vnd.openxmlformats-officedocument.presentationml.notesSlide+xml"/>
  <Override PartName="/ppt/tags/tag28.xml" ContentType="application/vnd.openxmlformats-officedocument.presentationml.tags+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9.xml" ContentType="application/vnd.openxmlformats-officedocument.presentationml.tags+xml"/>
  <Override PartName="/ppt/notesSlides/notesSlide48.xml" ContentType="application/vnd.openxmlformats-officedocument.presentationml.notesSlide+xml"/>
  <Override PartName="/ppt/tags/tag30.xml" ContentType="application/vnd.openxmlformats-officedocument.presentationml.tags+xml"/>
  <Override PartName="/ppt/notesSlides/notesSlide49.xml" ContentType="application/vnd.openxmlformats-officedocument.presentationml.notesSlide+xml"/>
  <Override PartName="/ppt/tags/tag31.xml" ContentType="application/vnd.openxmlformats-officedocument.presentationml.tags+xml"/>
  <Override PartName="/ppt/notesSlides/notesSlide5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32.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heme/themeOverride2.xml" ContentType="application/vnd.openxmlformats-officedocument.themeOverride+xml"/>
  <Override PartName="/ppt/tags/tag33.xml" ContentType="application/vnd.openxmlformats-officedocument.presentationml.tags+xml"/>
  <Override PartName="/ppt/notesSlides/notesSlide55.xml" ContentType="application/vnd.openxmlformats-officedocument.presentationml.notesSlide+xml"/>
  <Override PartName="/ppt/tags/tag34.xml" ContentType="application/vnd.openxmlformats-officedocument.presentationml.tags+xml"/>
  <Override PartName="/ppt/notesSlides/notesSlide56.xml" ContentType="application/vnd.openxmlformats-officedocument.presentationml.notesSlide+xml"/>
  <Override PartName="/ppt/tags/tag35.xml" ContentType="application/vnd.openxmlformats-officedocument.presentationml.tags+xml"/>
  <Override PartName="/ppt/notesSlides/notesSlide57.xml" ContentType="application/vnd.openxmlformats-officedocument.presentationml.notesSlide+xml"/>
  <Override PartName="/ppt/tags/tag36.xml" ContentType="application/vnd.openxmlformats-officedocument.presentationml.tags+xml"/>
  <Override PartName="/ppt/notesSlides/notesSlide58.xml" ContentType="application/vnd.openxmlformats-officedocument.presentationml.notesSlide+xml"/>
  <Override PartName="/ppt/tags/tag37.xml" ContentType="application/vnd.openxmlformats-officedocument.presentationml.tags+xml"/>
  <Override PartName="/ppt/notesSlides/notesSlide59.xml" ContentType="application/vnd.openxmlformats-officedocument.presentationml.notesSlide+xml"/>
  <Override PartName="/ppt/tags/tag38.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62.xml" ContentType="application/vnd.openxmlformats-officedocument.presentationml.notesSlide+xml"/>
  <Override PartName="/ppt/tags/tag39.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40.xml" ContentType="application/vnd.openxmlformats-officedocument.presentationml.tags+xml"/>
  <Override PartName="/ppt/notesSlides/notesSlide68.xml" ContentType="application/vnd.openxmlformats-officedocument.presentationml.notesSlide+xml"/>
  <Override PartName="/ppt/tags/tag41.xml" ContentType="application/vnd.openxmlformats-officedocument.presentationml.tags+xml"/>
  <Override PartName="/ppt/notesSlides/notesSlide69.xml" ContentType="application/vnd.openxmlformats-officedocument.presentationml.notesSlide+xml"/>
  <Override PartName="/ppt/tags/tag42.xml" ContentType="application/vnd.openxmlformats-officedocument.presentationml.tags+xml"/>
  <Override PartName="/ppt/notesSlides/notesSlide70.xml" ContentType="application/vnd.openxmlformats-officedocument.presentationml.notesSlide+xml"/>
  <Override PartName="/ppt/tags/tag43.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heme/themeOverride3.xml" ContentType="application/vnd.openxmlformats-officedocument.themeOverride+xml"/>
  <Override PartName="/ppt/tags/tag44.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4.xml" ContentType="application/vnd.openxmlformats-officedocument.themeOverride+xml"/>
  <Override PartName="/ppt/tags/tag45.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5.xml" ContentType="application/vnd.openxmlformats-officedocument.themeOverride+xml"/>
  <Override PartName="/ppt/tags/tag46.xml" ContentType="application/vnd.openxmlformats-officedocument.presentationml.tags+xml"/>
  <Override PartName="/ppt/notesSlides/notesSlide77.xml" ContentType="application/vnd.openxmlformats-officedocument.presentationml.notesSlide+xml"/>
  <Override PartName="/ppt/tags/tag47.xml" ContentType="application/vnd.openxmlformats-officedocument.presentationml.tags+xml"/>
  <Override PartName="/ppt/notesSlides/notesSlide78.xml" ContentType="application/vnd.openxmlformats-officedocument.presentationml.notesSlide+xml"/>
  <Override PartName="/ppt/tags/tag48.xml" ContentType="application/vnd.openxmlformats-officedocument.presentationml.tags+xml"/>
  <Override PartName="/ppt/notesSlides/notesSlide79.xml" ContentType="application/vnd.openxmlformats-officedocument.presentationml.notesSlide+xml"/>
  <Override PartName="/ppt/tags/tag49.xml" ContentType="application/vnd.openxmlformats-officedocument.presentationml.tags+xml"/>
  <Override PartName="/ppt/notesSlides/notesSlide80.xml" ContentType="application/vnd.openxmlformats-officedocument.presentationml.notesSlide+xml"/>
  <Override PartName="/ppt/tags/tag50.xml" ContentType="application/vnd.openxmlformats-officedocument.presentationml.tags+xml"/>
  <Override PartName="/ppt/notesSlides/notesSlide81.xml" ContentType="application/vnd.openxmlformats-officedocument.presentationml.notesSlide+xml"/>
  <Override PartName="/ppt/tags/tag51.xml" ContentType="application/vnd.openxmlformats-officedocument.presentationml.tags+xml"/>
  <Override PartName="/ppt/notesSlides/notesSlide82.xml" ContentType="application/vnd.openxmlformats-officedocument.presentationml.notesSlide+xml"/>
  <Override PartName="/ppt/tags/tag52.xml" ContentType="application/vnd.openxmlformats-officedocument.presentationml.tags+xml"/>
  <Override PartName="/ppt/notesSlides/notesSlide83.xml" ContentType="application/vnd.openxmlformats-officedocument.presentationml.notesSlide+xml"/>
  <Override PartName="/ppt/tags/tag53.xml" ContentType="application/vnd.openxmlformats-officedocument.presentationml.tags+xml"/>
  <Override PartName="/ppt/notesSlides/notesSlide84.xml" ContentType="application/vnd.openxmlformats-officedocument.presentationml.notesSlide+xml"/>
  <Override PartName="/ppt/tags/tag54.xml" ContentType="application/vnd.openxmlformats-officedocument.presentationml.tags+xml"/>
  <Override PartName="/ppt/notesSlides/notesSlide85.xml" ContentType="application/vnd.openxmlformats-officedocument.presentationml.notesSlide+xml"/>
  <Override PartName="/ppt/tags/tag55.xml" ContentType="application/vnd.openxmlformats-officedocument.presentationml.tags+xml"/>
  <Override PartName="/ppt/notesSlides/notesSlide86.xml" ContentType="application/vnd.openxmlformats-officedocument.presentationml.notesSlide+xml"/>
  <Override PartName="/ppt/tags/tag56.xml" ContentType="application/vnd.openxmlformats-officedocument.presentationml.tags+xml"/>
  <Override PartName="/ppt/notesSlides/notesSlide87.xml" ContentType="application/vnd.openxmlformats-officedocument.presentationml.notesSlide+xml"/>
  <Override PartName="/ppt/tags/tag57.xml" ContentType="application/vnd.openxmlformats-officedocument.presentationml.tags+xml"/>
  <Override PartName="/ppt/notesSlides/notesSlide88.xml" ContentType="application/vnd.openxmlformats-officedocument.presentationml.notesSlide+xml"/>
  <Override PartName="/ppt/tags/tag58.xml" ContentType="application/vnd.openxmlformats-officedocument.presentationml.tags+xml"/>
  <Override PartName="/ppt/notesSlides/notesSlide89.xml" ContentType="application/vnd.openxmlformats-officedocument.presentationml.notesSlide+xml"/>
  <Override PartName="/ppt/tags/tag59.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tags/tag60.xml" ContentType="application/vnd.openxmlformats-officedocument.presentationml.tags+xml"/>
  <Override PartName="/ppt/notesSlides/notesSlide120.xml" ContentType="application/vnd.openxmlformats-officedocument.presentationml.notesSlide+xml"/>
  <Override PartName="/ppt/tags/tag61.xml" ContentType="application/vnd.openxmlformats-officedocument.presentationml.tags+xml"/>
  <Override PartName="/ppt/notesSlides/notesSlide121.xml" ContentType="application/vnd.openxmlformats-officedocument.presentationml.notesSlide+xml"/>
  <Override PartName="/ppt/tags/tag62.xml" ContentType="application/vnd.openxmlformats-officedocument.presentationml.tags+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ags/tag63.xml" ContentType="application/vnd.openxmlformats-officedocument.presentationml.tags+xml"/>
  <Override PartName="/ppt/notesSlides/notesSlide125.xml" ContentType="application/vnd.openxmlformats-officedocument.presentationml.notesSlide+xml"/>
  <Override PartName="/ppt/tags/tag64.xml" ContentType="application/vnd.openxmlformats-officedocument.presentationml.tags+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tags/tag65.xml" ContentType="application/vnd.openxmlformats-officedocument.presentationml.tags+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3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tags/tag66.xml" ContentType="application/vnd.openxmlformats-officedocument.presentationml.tags+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tags/tag67.xml" ContentType="application/vnd.openxmlformats-officedocument.presentationml.tags+xml"/>
  <Override PartName="/ppt/notesSlides/notesSlide1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tags/tag68.xml" ContentType="application/vnd.openxmlformats-officedocument.presentationml.tags+xml"/>
  <Override PartName="/ppt/notesSlides/notesSlide153.xml" ContentType="application/vnd.openxmlformats-officedocument.presentationml.notesSlide+xml"/>
  <Override PartName="/ppt/tags/tag69.xml" ContentType="application/vnd.openxmlformats-officedocument.presentationml.tags+xml"/>
  <Override PartName="/ppt/notesSlides/notesSlide154.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70.xml" ContentType="application/vnd.openxmlformats-officedocument.presentationml.tags+xml"/>
  <Override PartName="/ppt/notesSlides/notesSlide15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71.xml" ContentType="application/vnd.openxmlformats-officedocument.presentationml.tags+xml"/>
  <Override PartName="/ppt/notesSlides/notesSlide156.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72.xml" ContentType="application/vnd.openxmlformats-officedocument.presentationml.tags+xml"/>
  <Override PartName="/ppt/notesSlides/notesSlide157.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73.xml" ContentType="application/vnd.openxmlformats-officedocument.presentationml.tags+xml"/>
  <Override PartName="/ppt/notesSlides/notesSlide15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tags/tag74.xml" ContentType="application/vnd.openxmlformats-officedocument.presentationml.tags+xml"/>
  <Override PartName="/ppt/notesSlides/notesSlide161.xml" ContentType="application/vnd.openxmlformats-officedocument.presentationml.notesSlide+xml"/>
  <Override PartName="/ppt/theme/themeOverride6.xml" ContentType="application/vnd.openxmlformats-officedocument.themeOverride+xml"/>
  <Override PartName="/ppt/tags/tag75.xml" ContentType="application/vnd.openxmlformats-officedocument.presentationml.tags+xml"/>
  <Override PartName="/ppt/notesSlides/notesSlide162.xml" ContentType="application/vnd.openxmlformats-officedocument.presentationml.notesSlide+xml"/>
  <Override PartName="/ppt/theme/themeOverride7.xml" ContentType="application/vnd.openxmlformats-officedocument.themeOverride+xml"/>
  <Override PartName="/ppt/tags/tag76.xml" ContentType="application/vnd.openxmlformats-officedocument.presentationml.tag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tags/tag77.xml" ContentType="application/vnd.openxmlformats-officedocument.presentationml.tags+xml"/>
  <Override PartName="/ppt/notesSlides/notesSlide169.xml" ContentType="application/vnd.openxmlformats-officedocument.presentationml.notesSlide+xml"/>
  <Override PartName="/ppt/tags/tag78.xml" ContentType="application/vnd.openxmlformats-officedocument.presentationml.tags+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tags/tag79.xml" ContentType="application/vnd.openxmlformats-officedocument.presentationml.tags+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theme/themeOverride8.xml" ContentType="application/vnd.openxmlformats-officedocument.themeOverr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theme/themeOverride9.xml" ContentType="application/vnd.openxmlformats-officedocument.themeOverride+xml"/>
  <Override PartName="/ppt/tags/tag80.xml" ContentType="application/vnd.openxmlformats-officedocument.presentationml.tags+xml"/>
  <Override PartName="/ppt/notesSlides/notesSlide177.xml" ContentType="application/vnd.openxmlformats-officedocument.presentationml.notesSlide+xml"/>
  <Override PartName="/ppt/theme/themeOverride10.xml" ContentType="application/vnd.openxmlformats-officedocument.themeOverride+xml"/>
  <Override PartName="/ppt/notesSlides/notesSlide178.xml" ContentType="application/vnd.openxmlformats-officedocument.presentationml.notesSlide+xml"/>
  <Override PartName="/ppt/tags/tag81.xml" ContentType="application/vnd.openxmlformats-officedocument.presentationml.tags+xml"/>
  <Override PartName="/ppt/notesSlides/notesSlide179.xml" ContentType="application/vnd.openxmlformats-officedocument.presentationml.notesSlide+xml"/>
  <Override PartName="/ppt/tags/tag82.xml" ContentType="application/vnd.openxmlformats-officedocument.presentationml.tags+xml"/>
  <Override PartName="/ppt/notesSlides/notesSlide180.xml" ContentType="application/vnd.openxmlformats-officedocument.presentationml.notesSlide+xml"/>
  <Override PartName="/ppt/tags/tag83.xml" ContentType="application/vnd.openxmlformats-officedocument.presentationml.tags+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tags/tag84.xml" ContentType="application/vnd.openxmlformats-officedocument.presentationml.tags+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tags/tag85.xml" ContentType="application/vnd.openxmlformats-officedocument.presentationml.tags+xml"/>
  <Override PartName="/ppt/notesSlides/notesSlide188.xml" ContentType="application/vnd.openxmlformats-officedocument.presentationml.notesSlide+xml"/>
  <Override PartName="/ppt/tags/tag86.xml" ContentType="application/vnd.openxmlformats-officedocument.presentationml.tags+xml"/>
  <Override PartName="/ppt/notesSlides/notesSlide189.xml" ContentType="application/vnd.openxmlformats-officedocument.presentationml.notesSlide+xml"/>
  <Override PartName="/ppt/tags/tag87.xml" ContentType="application/vnd.openxmlformats-officedocument.presentationml.tags+xml"/>
  <Override PartName="/ppt/notesSlides/notesSlide190.xml" ContentType="application/vnd.openxmlformats-officedocument.presentationml.notesSlide+xml"/>
  <Override PartName="/ppt/tags/tag88.xml" ContentType="application/vnd.openxmlformats-officedocument.presentationml.tags+xml"/>
  <Override PartName="/ppt/notesSlides/notesSlide191.xml" ContentType="application/vnd.openxmlformats-officedocument.presentationml.notesSlide+xml"/>
  <Override PartName="/ppt/tags/tag89.xml" ContentType="application/vnd.openxmlformats-officedocument.presentationml.tags+xml"/>
  <Override PartName="/ppt/notesSlides/notesSlide192.xml" ContentType="application/vnd.openxmlformats-officedocument.presentationml.notesSlide+xml"/>
  <Override PartName="/ppt/tags/tag90.xml" ContentType="application/vnd.openxmlformats-officedocument.presentationml.tags+xml"/>
  <Override PartName="/ppt/notesSlides/notesSlide193.xml" ContentType="application/vnd.openxmlformats-officedocument.presentationml.notesSlide+xml"/>
  <Override PartName="/ppt/tags/tag91.xml" ContentType="application/vnd.openxmlformats-officedocument.presentationml.tags+xml"/>
  <Override PartName="/ppt/notesSlides/notesSlide194.xml" ContentType="application/vnd.openxmlformats-officedocument.presentationml.notesSlide+xml"/>
  <Override PartName="/ppt/tags/tag92.xml" ContentType="application/vnd.openxmlformats-officedocument.presentationml.tags+xml"/>
  <Override PartName="/ppt/notesSlides/notesSlide195.xml" ContentType="application/vnd.openxmlformats-officedocument.presentationml.notesSlide+xml"/>
  <Override PartName="/ppt/tags/tag93.xml" ContentType="application/vnd.openxmlformats-officedocument.presentationml.tags+xml"/>
  <Override PartName="/ppt/notesSlides/notesSlide196.xml" ContentType="application/vnd.openxmlformats-officedocument.presentationml.notesSlide+xml"/>
  <Override PartName="/ppt/theme/themeOverride11.xml" ContentType="application/vnd.openxmlformats-officedocument.themeOverride+xml"/>
  <Override PartName="/ppt/tags/tag94.xml" ContentType="application/vnd.openxmlformats-officedocument.presentationml.tags+xml"/>
  <Override PartName="/ppt/notesSlides/notesSlide197.xml" ContentType="application/vnd.openxmlformats-officedocument.presentationml.notesSlide+xml"/>
  <Override PartName="/ppt/theme/themeOverride12.xml" ContentType="application/vnd.openxmlformats-officedocument.themeOverride+xml"/>
  <Override PartName="/ppt/tags/tag95.xml" ContentType="application/vnd.openxmlformats-officedocument.presentationml.tags+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tags/tag96.xml" ContentType="application/vnd.openxmlformats-officedocument.presentationml.tags+xml"/>
  <Override PartName="/ppt/notesSlides/notesSlide210.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97.xml" ContentType="application/vnd.openxmlformats-officedocument.presentationml.tags+xml"/>
  <Override PartName="/ppt/notesSlides/notesSlide211.xml" ContentType="application/vnd.openxmlformats-officedocument.presentationml.notesSlide+xml"/>
  <Override PartName="/ppt/tags/tag98.xml" ContentType="application/vnd.openxmlformats-officedocument.presentationml.tags+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tags/tag99.xml" ContentType="application/vnd.openxmlformats-officedocument.presentationml.tags+xml"/>
  <Override PartName="/ppt/notesSlides/notesSlide214.xml" ContentType="application/vnd.openxmlformats-officedocument.presentationml.notesSlide+xml"/>
  <Override PartName="/ppt/tags/tag100.xml" ContentType="application/vnd.openxmlformats-officedocument.presentationml.tags+xml"/>
  <Override PartName="/ppt/notesSlides/notesSlide215.xml" ContentType="application/vnd.openxmlformats-officedocument.presentationml.notesSlide+xml"/>
  <Override PartName="/ppt/tags/tag101.xml" ContentType="application/vnd.openxmlformats-officedocument.presentationml.tags+xml"/>
  <Override PartName="/ppt/notesSlides/notesSlide216.xml" ContentType="application/vnd.openxmlformats-officedocument.presentationml.notesSlide+xml"/>
  <Override PartName="/ppt/tags/tag102.xml" ContentType="application/vnd.openxmlformats-officedocument.presentationml.tags+xml"/>
  <Override PartName="/ppt/notesSlides/notesSlide217.xml" ContentType="application/vnd.openxmlformats-officedocument.presentationml.notesSlide+xml"/>
  <Override PartName="/ppt/tags/tag103.xml" ContentType="application/vnd.openxmlformats-officedocument.presentationml.tags+xml"/>
  <Override PartName="/ppt/notesSlides/notesSlide218.xml" ContentType="application/vnd.openxmlformats-officedocument.presentationml.notesSlide+xml"/>
  <Override PartName="/ppt/tags/tag104.xml" ContentType="application/vnd.openxmlformats-officedocument.presentationml.tags+xml"/>
  <Override PartName="/ppt/notesSlides/notesSlide219.xml" ContentType="application/vnd.openxmlformats-officedocument.presentationml.notesSlide+xml"/>
  <Override PartName="/ppt/tags/tag105.xml" ContentType="application/vnd.openxmlformats-officedocument.presentationml.tags+xml"/>
  <Override PartName="/ppt/notesSlides/notesSlide220.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106.xml" ContentType="application/vnd.openxmlformats-officedocument.presentationml.tags+xml"/>
  <Override PartName="/ppt/notesSlides/notesSlide221.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107.xml" ContentType="application/vnd.openxmlformats-officedocument.presentationml.tags+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tags/tag108.xml" ContentType="application/vnd.openxmlformats-officedocument.presentationml.tags+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tags/tag109.xml" ContentType="application/vnd.openxmlformats-officedocument.presentationml.tags+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tags/tag110.xml" ContentType="application/vnd.openxmlformats-officedocument.presentationml.tags+xml"/>
  <Override PartName="/ppt/notesSlides/notesSlide233.xml" ContentType="application/vnd.openxmlformats-officedocument.presentationml.notesSlide+xml"/>
  <Override PartName="/ppt/tags/tag111.xml" ContentType="application/vnd.openxmlformats-officedocument.presentationml.tags+xml"/>
  <Override PartName="/ppt/notesSlides/notesSlide234.xml" ContentType="application/vnd.openxmlformats-officedocument.presentationml.notesSlide+xml"/>
  <Override PartName="/ppt/tags/tag112.xml" ContentType="application/vnd.openxmlformats-officedocument.presentationml.tags+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tags/tag113.xml" ContentType="application/vnd.openxmlformats-officedocument.presentationml.tags+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tags/tag114.xml" ContentType="application/vnd.openxmlformats-officedocument.presentationml.tags+xml"/>
  <Override PartName="/ppt/notesSlides/notesSlide240.xml" ContentType="application/vnd.openxmlformats-officedocument.presentationml.notesSlide+xml"/>
  <Override PartName="/ppt/tags/tag115.xml" ContentType="application/vnd.openxmlformats-officedocument.presentationml.tags+xml"/>
  <Override PartName="/ppt/notesSlides/notesSlide24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116.xml" ContentType="application/vnd.openxmlformats-officedocument.presentationml.tags+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tags/tag117.xml" ContentType="application/vnd.openxmlformats-officedocument.presentationml.tags+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tags/tag118.xml" ContentType="application/vnd.openxmlformats-officedocument.presentationml.tags+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tags/tag119.xml" ContentType="application/vnd.openxmlformats-officedocument.presentationml.tags+xml"/>
  <Override PartName="/ppt/notesSlides/notesSlide253.xml" ContentType="application/vnd.openxmlformats-officedocument.presentationml.notesSlide+xml"/>
  <Override PartName="/ppt/tags/tag120.xml" ContentType="application/vnd.openxmlformats-officedocument.presentationml.tags+xml"/>
  <Override PartName="/ppt/notesSlides/notesSlide254.xml" ContentType="application/vnd.openxmlformats-officedocument.presentationml.notesSlide+xml"/>
  <Override PartName="/ppt/tags/tag121.xml" ContentType="application/vnd.openxmlformats-officedocument.presentationml.tags+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tags/tag122.xml" ContentType="application/vnd.openxmlformats-officedocument.presentationml.tags+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tags/tag123.xml" ContentType="application/vnd.openxmlformats-officedocument.presentationml.tags+xml"/>
  <Override PartName="/ppt/notesSlides/notesSlide261.xml" ContentType="application/vnd.openxmlformats-officedocument.presentationml.notesSlide+xml"/>
  <Override PartName="/ppt/tags/tag124.xml" ContentType="application/vnd.openxmlformats-officedocument.presentationml.tags+xml"/>
  <Override PartName="/ppt/notesSlides/notesSlide262.xml" ContentType="application/vnd.openxmlformats-officedocument.presentationml.notesSlide+xml"/>
  <Override PartName="/ppt/tags/tag125.xml" ContentType="application/vnd.openxmlformats-officedocument.presentationml.tags+xml"/>
  <Override PartName="/ppt/notesSlides/notesSlide263.xml" ContentType="application/vnd.openxmlformats-officedocument.presentationml.notesSlide+xml"/>
  <Override PartName="/ppt/tags/tag126.xml" ContentType="application/vnd.openxmlformats-officedocument.presentationml.tags+xml"/>
  <Override PartName="/ppt/notesSlides/notesSlide264.xml" ContentType="application/vnd.openxmlformats-officedocument.presentationml.notesSlide+xml"/>
  <Override PartName="/ppt/tags/tag127.xml" ContentType="application/vnd.openxmlformats-officedocument.presentationml.tags+xml"/>
  <Override PartName="/ppt/notesSlides/notesSlide265.xml" ContentType="application/vnd.openxmlformats-officedocument.presentationml.notesSlide+xml"/>
  <Override PartName="/ppt/tags/tag128.xml" ContentType="application/vnd.openxmlformats-officedocument.presentationml.tags+xml"/>
  <Override PartName="/ppt/notesSlides/notesSlide266.xml" ContentType="application/vnd.openxmlformats-officedocument.presentationml.notesSlide+xml"/>
  <Override PartName="/ppt/tags/tag129.xml" ContentType="application/vnd.openxmlformats-officedocument.presentationml.tags+xml"/>
  <Override PartName="/ppt/notesSlides/notesSlide267.xml" ContentType="application/vnd.openxmlformats-officedocument.presentationml.notesSlide+xml"/>
  <Override PartName="/ppt/ink/ink1.xml" ContentType="application/inkml+xml"/>
  <Override PartName="/ppt/ink/ink2.xml" ContentType="application/inkml+xml"/>
  <Override PartName="/ppt/tags/tag130.xml" ContentType="application/vnd.openxmlformats-officedocument.presentationml.tags+xml"/>
  <Override PartName="/ppt/notesSlides/notesSlide268.xml" ContentType="application/vnd.openxmlformats-officedocument.presentationml.notesSlide+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theme/themeOverride13.xml" ContentType="application/vnd.openxmlformats-officedocument.themeOverride+xml"/>
  <Override PartName="/ppt/tags/tag131.xml" ContentType="application/vnd.openxmlformats-officedocument.presentationml.tags+xml"/>
  <Override PartName="/ppt/notesSlides/notesSlide274.xml" ContentType="application/vnd.openxmlformats-officedocument.presentationml.notesSlide+xml"/>
  <Override PartName="/ppt/tags/tag132.xml" ContentType="application/vnd.openxmlformats-officedocument.presentationml.tags+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tags/tag133.xml" ContentType="application/vnd.openxmlformats-officedocument.presentationml.tags+xml"/>
  <Override PartName="/ppt/notesSlides/notesSlide280.xml" ContentType="application/vnd.openxmlformats-officedocument.presentationml.notesSlide+xml"/>
  <Override PartName="/ppt/tags/tag134.xml" ContentType="application/vnd.openxmlformats-officedocument.presentationml.tags+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tags/tag135.xml" ContentType="application/vnd.openxmlformats-officedocument.presentationml.tags+xml"/>
  <Override PartName="/ppt/notesSlides/notesSlide284.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285.xml" ContentType="application/vnd.openxmlformats-officedocument.presentationml.notesSlide+xml"/>
  <Override PartName="/ppt/tags/tag136.xml" ContentType="application/vnd.openxmlformats-officedocument.presentationml.tags+xml"/>
  <Override PartName="/ppt/notesSlides/notesSlide286.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287.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137.xml" ContentType="application/vnd.openxmlformats-officedocument.presentationml.tags+xml"/>
  <Override PartName="/ppt/notesSlides/notesSlide288.xml" ContentType="application/vnd.openxmlformats-officedocument.presentationml.notesSlide+xml"/>
  <Override PartName="/ppt/tags/tag138.xml" ContentType="application/vnd.openxmlformats-officedocument.presentationml.tags+xml"/>
  <Override PartName="/ppt/notesSlides/notesSlide289.xml" ContentType="application/vnd.openxmlformats-officedocument.presentationml.notesSlide+xml"/>
  <Override PartName="/ppt/tags/tag139.xml" ContentType="application/vnd.openxmlformats-officedocument.presentationml.tags+xml"/>
  <Override PartName="/ppt/notesSlides/notesSlide290.xml" ContentType="application/vnd.openxmlformats-officedocument.presentationml.notesSlide+xml"/>
  <Override PartName="/ppt/tags/tag140.xml" ContentType="application/vnd.openxmlformats-officedocument.presentationml.tags+xml"/>
  <Override PartName="/ppt/notesSlides/notesSlide291.xml" ContentType="application/vnd.openxmlformats-officedocument.presentationml.notesSlide+xml"/>
  <Override PartName="/ppt/tags/tag141.xml" ContentType="application/vnd.openxmlformats-officedocument.presentationml.tags+xml"/>
  <Override PartName="/ppt/notesSlides/notesSlide292.xml" ContentType="application/vnd.openxmlformats-officedocument.presentationml.notesSlide+xml"/>
  <Override PartName="/ppt/tags/tag142.xml" ContentType="application/vnd.openxmlformats-officedocument.presentationml.tags+xml"/>
  <Override PartName="/ppt/notesSlides/notesSlide293.xml" ContentType="application/vnd.openxmlformats-officedocument.presentationml.notesSlide+xml"/>
  <Override PartName="/ppt/tags/tag143.xml" ContentType="application/vnd.openxmlformats-officedocument.presentationml.tags+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144.xml" ContentType="application/vnd.openxmlformats-officedocument.presentationml.tags+xml"/>
  <Override PartName="/ppt/notesSlides/notesSlide296.xml" ContentType="application/vnd.openxmlformats-officedocument.presentationml.notesSlide+xml"/>
  <Override PartName="/ppt/tags/tag145.xml" ContentType="application/vnd.openxmlformats-officedocument.presentationml.tags+xml"/>
  <Override PartName="/ppt/notesSlides/notesSlide297.xml" ContentType="application/vnd.openxmlformats-officedocument.presentationml.notesSlide+xml"/>
  <Override PartName="/ppt/tags/tag146.xml" ContentType="application/vnd.openxmlformats-officedocument.presentationml.tags+xml"/>
  <Override PartName="/ppt/notesSlides/notesSlide298.xml" ContentType="application/vnd.openxmlformats-officedocument.presentationml.notesSlide+xml"/>
  <Override PartName="/ppt/tags/tag147.xml" ContentType="application/vnd.openxmlformats-officedocument.presentationml.tags+xml"/>
  <Override PartName="/ppt/notesSlides/notesSlide299.xml" ContentType="application/vnd.openxmlformats-officedocument.presentationml.notesSlide+xml"/>
  <Override PartName="/ppt/tags/tag148.xml" ContentType="application/vnd.openxmlformats-officedocument.presentationml.tags+xml"/>
  <Override PartName="/ppt/notesSlides/notesSlide300.xml" ContentType="application/vnd.openxmlformats-officedocument.presentationml.notesSlide+xml"/>
  <Override PartName="/ppt/tags/tag149.xml" ContentType="application/vnd.openxmlformats-officedocument.presentationml.tags+xml"/>
  <Override PartName="/ppt/notesSlides/notesSlide301.xml" ContentType="application/vnd.openxmlformats-officedocument.presentationml.notesSlide+xml"/>
  <Override PartName="/ppt/tags/tag150.xml" ContentType="application/vnd.openxmlformats-officedocument.presentationml.tags+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tags/tag151.xml" ContentType="application/vnd.openxmlformats-officedocument.presentationml.tags+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tags/tag152.xml" ContentType="application/vnd.openxmlformats-officedocument.presentationml.tags+xml"/>
  <Override PartName="/ppt/notesSlides/notesSlide30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96" r:id="rId3"/>
    <p:sldMasterId id="2147483815" r:id="rId4"/>
    <p:sldMasterId id="2147483833" r:id="rId5"/>
    <p:sldMasterId id="2147483836" r:id="rId6"/>
    <p:sldMasterId id="2147483848" r:id="rId7"/>
    <p:sldMasterId id="2147483860" r:id="rId8"/>
    <p:sldMasterId id="2147483862" r:id="rId9"/>
  </p:sldMasterIdLst>
  <p:notesMasterIdLst>
    <p:notesMasterId r:id="rId340"/>
  </p:notesMasterIdLst>
  <p:sldIdLst>
    <p:sldId id="8825" r:id="rId10"/>
    <p:sldId id="8833" r:id="rId11"/>
    <p:sldId id="8855" r:id="rId12"/>
    <p:sldId id="259" r:id="rId13"/>
    <p:sldId id="8846" r:id="rId14"/>
    <p:sldId id="8981" r:id="rId15"/>
    <p:sldId id="267" r:id="rId16"/>
    <p:sldId id="8827" r:id="rId17"/>
    <p:sldId id="8843" r:id="rId18"/>
    <p:sldId id="8854" r:id="rId19"/>
    <p:sldId id="8837" r:id="rId20"/>
    <p:sldId id="495" r:id="rId21"/>
    <p:sldId id="2076138504" r:id="rId22"/>
    <p:sldId id="8954" r:id="rId23"/>
    <p:sldId id="8980" r:id="rId24"/>
    <p:sldId id="8970" r:id="rId25"/>
    <p:sldId id="8997" r:id="rId26"/>
    <p:sldId id="2076138497" r:id="rId27"/>
    <p:sldId id="2076138498" r:id="rId28"/>
    <p:sldId id="2076138425" r:id="rId29"/>
    <p:sldId id="8835" r:id="rId30"/>
    <p:sldId id="2076138421" r:id="rId31"/>
    <p:sldId id="2076138505" r:id="rId32"/>
    <p:sldId id="2076138422" r:id="rId33"/>
    <p:sldId id="8972" r:id="rId34"/>
    <p:sldId id="9010" r:id="rId35"/>
    <p:sldId id="9012" r:id="rId36"/>
    <p:sldId id="9011" r:id="rId37"/>
    <p:sldId id="2076138418" r:id="rId38"/>
    <p:sldId id="8973" r:id="rId39"/>
    <p:sldId id="2076138440" r:id="rId40"/>
    <p:sldId id="8862" r:id="rId41"/>
    <p:sldId id="276" r:id="rId42"/>
    <p:sldId id="8841" r:id="rId43"/>
    <p:sldId id="8848" r:id="rId44"/>
    <p:sldId id="8863" r:id="rId45"/>
    <p:sldId id="8682" r:id="rId46"/>
    <p:sldId id="281" r:id="rId47"/>
    <p:sldId id="2076138424" r:id="rId48"/>
    <p:sldId id="8784" r:id="rId49"/>
    <p:sldId id="9014" r:id="rId50"/>
    <p:sldId id="262" r:id="rId51"/>
    <p:sldId id="282" r:id="rId52"/>
    <p:sldId id="2076138455" r:id="rId53"/>
    <p:sldId id="2076138496" r:id="rId54"/>
    <p:sldId id="2076138441" r:id="rId55"/>
    <p:sldId id="2076138426" r:id="rId56"/>
    <p:sldId id="8865" r:id="rId57"/>
    <p:sldId id="265" r:id="rId58"/>
    <p:sldId id="8866" r:id="rId59"/>
    <p:sldId id="266" r:id="rId60"/>
    <p:sldId id="268" r:id="rId61"/>
    <p:sldId id="8867" r:id="rId62"/>
    <p:sldId id="8868" r:id="rId63"/>
    <p:sldId id="8966" r:id="rId64"/>
    <p:sldId id="2076138454" r:id="rId65"/>
    <p:sldId id="8869" r:id="rId66"/>
    <p:sldId id="8870" r:id="rId67"/>
    <p:sldId id="521" r:id="rId68"/>
    <p:sldId id="380" r:id="rId69"/>
    <p:sldId id="343" r:id="rId70"/>
    <p:sldId id="350" r:id="rId71"/>
    <p:sldId id="435" r:id="rId72"/>
    <p:sldId id="8871" r:id="rId73"/>
    <p:sldId id="8830" r:id="rId74"/>
    <p:sldId id="354" r:id="rId75"/>
    <p:sldId id="8828" r:id="rId76"/>
    <p:sldId id="320" r:id="rId77"/>
    <p:sldId id="8872" r:id="rId78"/>
    <p:sldId id="8982" r:id="rId79"/>
    <p:sldId id="2076138432" r:id="rId80"/>
    <p:sldId id="2076138433" r:id="rId81"/>
    <p:sldId id="272" r:id="rId82"/>
    <p:sldId id="8977" r:id="rId83"/>
    <p:sldId id="8874" r:id="rId84"/>
    <p:sldId id="8875" r:id="rId85"/>
    <p:sldId id="297" r:id="rId86"/>
    <p:sldId id="1569" r:id="rId87"/>
    <p:sldId id="298" r:id="rId88"/>
    <p:sldId id="1570" r:id="rId89"/>
    <p:sldId id="331" r:id="rId90"/>
    <p:sldId id="1571" r:id="rId91"/>
    <p:sldId id="1575" r:id="rId92"/>
    <p:sldId id="322" r:id="rId93"/>
    <p:sldId id="2076138444" r:id="rId94"/>
    <p:sldId id="2076138445" r:id="rId95"/>
    <p:sldId id="2076138446" r:id="rId96"/>
    <p:sldId id="326" r:id="rId97"/>
    <p:sldId id="325" r:id="rId98"/>
    <p:sldId id="328" r:id="rId99"/>
    <p:sldId id="323" r:id="rId100"/>
    <p:sldId id="327" r:id="rId101"/>
    <p:sldId id="324" r:id="rId102"/>
    <p:sldId id="329" r:id="rId103"/>
    <p:sldId id="330" r:id="rId104"/>
    <p:sldId id="2076138458" r:id="rId105"/>
    <p:sldId id="258" r:id="rId106"/>
    <p:sldId id="2076138488" r:id="rId107"/>
    <p:sldId id="2076138499" r:id="rId108"/>
    <p:sldId id="8979" r:id="rId109"/>
    <p:sldId id="2076138442" r:id="rId110"/>
    <p:sldId id="2076138472" r:id="rId111"/>
    <p:sldId id="8976" r:id="rId112"/>
    <p:sldId id="8975" r:id="rId113"/>
    <p:sldId id="8991" r:id="rId114"/>
    <p:sldId id="8995" r:id="rId115"/>
    <p:sldId id="2076138502" r:id="rId116"/>
    <p:sldId id="8993" r:id="rId117"/>
    <p:sldId id="9000" r:id="rId118"/>
    <p:sldId id="9003" r:id="rId119"/>
    <p:sldId id="8994" r:id="rId120"/>
    <p:sldId id="2076138501" r:id="rId121"/>
    <p:sldId id="9005" r:id="rId122"/>
    <p:sldId id="285" r:id="rId123"/>
    <p:sldId id="286" r:id="rId124"/>
    <p:sldId id="8987" r:id="rId125"/>
    <p:sldId id="2076138453" r:id="rId126"/>
    <p:sldId id="2076138427" r:id="rId127"/>
    <p:sldId id="2076138435" r:id="rId128"/>
    <p:sldId id="9006" r:id="rId129"/>
    <p:sldId id="9007" r:id="rId130"/>
    <p:sldId id="2076138436" r:id="rId131"/>
    <p:sldId id="260" r:id="rId132"/>
    <p:sldId id="2076138437" r:id="rId133"/>
    <p:sldId id="264" r:id="rId134"/>
    <p:sldId id="362" r:id="rId135"/>
    <p:sldId id="290" r:id="rId136"/>
    <p:sldId id="8834" r:id="rId137"/>
    <p:sldId id="2076138447" r:id="rId138"/>
    <p:sldId id="2076138489" r:id="rId139"/>
    <p:sldId id="2076138448" r:id="rId140"/>
    <p:sldId id="355" r:id="rId141"/>
    <p:sldId id="364" r:id="rId142"/>
    <p:sldId id="8873" r:id="rId143"/>
    <p:sldId id="2076138428" r:id="rId144"/>
    <p:sldId id="8850" r:id="rId145"/>
    <p:sldId id="2076138503" r:id="rId146"/>
    <p:sldId id="2076138508" r:id="rId147"/>
    <p:sldId id="2076138506" r:id="rId148"/>
    <p:sldId id="2076138507" r:id="rId149"/>
    <p:sldId id="8957" r:id="rId150"/>
    <p:sldId id="8961" r:id="rId151"/>
    <p:sldId id="8960" r:id="rId152"/>
    <p:sldId id="2076138476" r:id="rId153"/>
    <p:sldId id="2076138420" r:id="rId154"/>
    <p:sldId id="8815" r:id="rId155"/>
    <p:sldId id="359" r:id="rId156"/>
    <p:sldId id="2076138449" r:id="rId157"/>
    <p:sldId id="2076138470" r:id="rId158"/>
    <p:sldId id="2076138412" r:id="rId159"/>
    <p:sldId id="2076138414" r:id="rId160"/>
    <p:sldId id="2076138439" r:id="rId161"/>
    <p:sldId id="2076138471" r:id="rId162"/>
    <p:sldId id="9001" r:id="rId163"/>
    <p:sldId id="2076138416" r:id="rId164"/>
    <p:sldId id="2076138438" r:id="rId165"/>
    <p:sldId id="2076138473" r:id="rId166"/>
    <p:sldId id="2076138467" r:id="rId167"/>
    <p:sldId id="2076138477" r:id="rId168"/>
    <p:sldId id="8940" r:id="rId169"/>
    <p:sldId id="8941" r:id="rId170"/>
    <p:sldId id="8942" r:id="rId171"/>
    <p:sldId id="300" r:id="rId172"/>
    <p:sldId id="301" r:id="rId173"/>
    <p:sldId id="8943" r:id="rId174"/>
    <p:sldId id="8944" r:id="rId175"/>
    <p:sldId id="304" r:id="rId176"/>
    <p:sldId id="8945" r:id="rId177"/>
    <p:sldId id="1583" r:id="rId178"/>
    <p:sldId id="1584" r:id="rId179"/>
    <p:sldId id="2076138466" r:id="rId180"/>
    <p:sldId id="2076138450" r:id="rId181"/>
    <p:sldId id="2076138460" r:id="rId182"/>
    <p:sldId id="2076138478" r:id="rId183"/>
    <p:sldId id="2076138479" r:id="rId184"/>
    <p:sldId id="2076138468" r:id="rId185"/>
    <p:sldId id="8881" r:id="rId186"/>
    <p:sldId id="1574" r:id="rId187"/>
    <p:sldId id="391" r:id="rId188"/>
    <p:sldId id="8882" r:id="rId189"/>
    <p:sldId id="501" r:id="rId190"/>
    <p:sldId id="503" r:id="rId191"/>
    <p:sldId id="2076138485" r:id="rId192"/>
    <p:sldId id="346" r:id="rId193"/>
    <p:sldId id="478" r:id="rId194"/>
    <p:sldId id="519" r:id="rId195"/>
    <p:sldId id="316" r:id="rId196"/>
    <p:sldId id="8883" r:id="rId197"/>
    <p:sldId id="530" r:id="rId198"/>
    <p:sldId id="1573" r:id="rId199"/>
    <p:sldId id="529" r:id="rId200"/>
    <p:sldId id="8885" r:id="rId201"/>
    <p:sldId id="8886" r:id="rId202"/>
    <p:sldId id="279" r:id="rId203"/>
    <p:sldId id="280" r:id="rId204"/>
    <p:sldId id="348" r:id="rId205"/>
    <p:sldId id="8887" r:id="rId206"/>
    <p:sldId id="8888" r:id="rId207"/>
    <p:sldId id="8889" r:id="rId208"/>
    <p:sldId id="8890" r:id="rId209"/>
    <p:sldId id="358" r:id="rId210"/>
    <p:sldId id="361" r:id="rId211"/>
    <p:sldId id="363" r:id="rId212"/>
    <p:sldId id="367" r:id="rId213"/>
    <p:sldId id="8891" r:id="rId214"/>
    <p:sldId id="366" r:id="rId215"/>
    <p:sldId id="392" r:id="rId216"/>
    <p:sldId id="401" r:id="rId217"/>
    <p:sldId id="2076138482" r:id="rId218"/>
    <p:sldId id="8892" r:id="rId219"/>
    <p:sldId id="8893" r:id="rId220"/>
    <p:sldId id="368" r:id="rId221"/>
    <p:sldId id="269" r:id="rId222"/>
    <p:sldId id="321" r:id="rId223"/>
    <p:sldId id="2076138483" r:id="rId224"/>
    <p:sldId id="2076138487" r:id="rId225"/>
    <p:sldId id="458" r:id="rId226"/>
    <p:sldId id="2076138484" r:id="rId227"/>
    <p:sldId id="2076138486" r:id="rId228"/>
    <p:sldId id="522" r:id="rId229"/>
    <p:sldId id="8894" r:id="rId230"/>
    <p:sldId id="2076138456" r:id="rId231"/>
    <p:sldId id="369" r:id="rId232"/>
    <p:sldId id="370" r:id="rId233"/>
    <p:sldId id="371" r:id="rId234"/>
    <p:sldId id="1579" r:id="rId235"/>
    <p:sldId id="2076138491" r:id="rId236"/>
    <p:sldId id="2076138492" r:id="rId237"/>
    <p:sldId id="2076138493" r:id="rId238"/>
    <p:sldId id="2076138494" r:id="rId239"/>
    <p:sldId id="2076138495" r:id="rId240"/>
    <p:sldId id="2076138464" r:id="rId241"/>
    <p:sldId id="2076138465" r:id="rId242"/>
    <p:sldId id="523" r:id="rId243"/>
    <p:sldId id="1572" r:id="rId244"/>
    <p:sldId id="2076138481" r:id="rId245"/>
    <p:sldId id="8895" r:id="rId246"/>
    <p:sldId id="1576" r:id="rId247"/>
    <p:sldId id="339" r:id="rId248"/>
    <p:sldId id="8896" r:id="rId249"/>
    <p:sldId id="468" r:id="rId250"/>
    <p:sldId id="373" r:id="rId251"/>
    <p:sldId id="505" r:id="rId252"/>
    <p:sldId id="2076138475" r:id="rId253"/>
    <p:sldId id="8897" r:id="rId254"/>
    <p:sldId id="8898" r:id="rId255"/>
    <p:sldId id="8899" r:id="rId256"/>
    <p:sldId id="8900" r:id="rId257"/>
    <p:sldId id="8901" r:id="rId258"/>
    <p:sldId id="8902" r:id="rId259"/>
    <p:sldId id="8903" r:id="rId260"/>
    <p:sldId id="8904" r:id="rId261"/>
    <p:sldId id="8905" r:id="rId262"/>
    <p:sldId id="8911" r:id="rId263"/>
    <p:sldId id="8908" r:id="rId264"/>
    <p:sldId id="292" r:id="rId265"/>
    <p:sldId id="8909" r:id="rId266"/>
    <p:sldId id="8910" r:id="rId267"/>
    <p:sldId id="8907" r:id="rId268"/>
    <p:sldId id="271" r:id="rId269"/>
    <p:sldId id="8923" r:id="rId270"/>
    <p:sldId id="8913" r:id="rId271"/>
    <p:sldId id="8914" r:id="rId272"/>
    <p:sldId id="312" r:id="rId273"/>
    <p:sldId id="8915" r:id="rId274"/>
    <p:sldId id="275" r:id="rId275"/>
    <p:sldId id="8916" r:id="rId276"/>
    <p:sldId id="288" r:id="rId277"/>
    <p:sldId id="289" r:id="rId278"/>
    <p:sldId id="463" r:id="rId279"/>
    <p:sldId id="332" r:id="rId280"/>
    <p:sldId id="8917" r:id="rId281"/>
    <p:sldId id="299" r:id="rId282"/>
    <p:sldId id="333" r:id="rId283"/>
    <p:sldId id="302" r:id="rId284"/>
    <p:sldId id="294" r:id="rId285"/>
    <p:sldId id="296" r:id="rId286"/>
    <p:sldId id="303" r:id="rId287"/>
    <p:sldId id="8918" r:id="rId288"/>
    <p:sldId id="8919" r:id="rId289"/>
    <p:sldId id="8920" r:id="rId290"/>
    <p:sldId id="309" r:id="rId291"/>
    <p:sldId id="8921" r:id="rId292"/>
    <p:sldId id="8922" r:id="rId293"/>
    <p:sldId id="2076138480" r:id="rId294"/>
    <p:sldId id="2076138451" r:id="rId295"/>
    <p:sldId id="2076138452" r:id="rId296"/>
    <p:sldId id="8876" r:id="rId297"/>
    <p:sldId id="334" r:id="rId298"/>
    <p:sldId id="335" r:id="rId299"/>
    <p:sldId id="336" r:id="rId300"/>
    <p:sldId id="337" r:id="rId301"/>
    <p:sldId id="455" r:id="rId302"/>
    <p:sldId id="8877" r:id="rId303"/>
    <p:sldId id="8878" r:id="rId304"/>
    <p:sldId id="1565" r:id="rId305"/>
    <p:sldId id="1566" r:id="rId306"/>
    <p:sldId id="1567" r:id="rId307"/>
    <p:sldId id="8879" r:id="rId308"/>
    <p:sldId id="8880" r:id="rId309"/>
    <p:sldId id="8938" r:id="rId310"/>
    <p:sldId id="8934" r:id="rId311"/>
    <p:sldId id="2076138474" r:id="rId312"/>
    <p:sldId id="8935" r:id="rId313"/>
    <p:sldId id="8926" r:id="rId314"/>
    <p:sldId id="295" r:id="rId315"/>
    <p:sldId id="1568" r:id="rId316"/>
    <p:sldId id="8927" r:id="rId317"/>
    <p:sldId id="8928" r:id="rId318"/>
    <p:sldId id="421" r:id="rId319"/>
    <p:sldId id="8929" r:id="rId320"/>
    <p:sldId id="8930" r:id="rId321"/>
    <p:sldId id="8931" r:id="rId322"/>
    <p:sldId id="8932" r:id="rId323"/>
    <p:sldId id="8933" r:id="rId324"/>
    <p:sldId id="270" r:id="rId325"/>
    <p:sldId id="8936" r:id="rId326"/>
    <p:sldId id="8849" r:id="rId327"/>
    <p:sldId id="274" r:id="rId328"/>
    <p:sldId id="278" r:id="rId329"/>
    <p:sldId id="287" r:id="rId330"/>
    <p:sldId id="8937" r:id="rId331"/>
    <p:sldId id="277" r:id="rId332"/>
    <p:sldId id="423" r:id="rId333"/>
    <p:sldId id="8952" r:id="rId334"/>
    <p:sldId id="8990" r:id="rId335"/>
    <p:sldId id="2076138463" r:id="rId336"/>
    <p:sldId id="2076138462" r:id="rId337"/>
    <p:sldId id="8831" r:id="rId338"/>
    <p:sldId id="8861" r:id="rId3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2F518FC-B665-442C-9E49-19D97EDAE52F}">
          <p14:sldIdLst/>
        </p14:section>
        <p14:section name="Intro" id="{E0F67E48-1E29-4B27-A3C5-9529E018B85E}">
          <p14:sldIdLst>
            <p14:sldId id="8825"/>
            <p14:sldId id="8833"/>
            <p14:sldId id="8855"/>
            <p14:sldId id="259"/>
            <p14:sldId id="8846"/>
            <p14:sldId id="8981"/>
            <p14:sldId id="267"/>
            <p14:sldId id="8827"/>
            <p14:sldId id="8843"/>
            <p14:sldId id="8854"/>
            <p14:sldId id="8837"/>
            <p14:sldId id="495"/>
            <p14:sldId id="2076138504"/>
            <p14:sldId id="8954"/>
            <p14:sldId id="8980"/>
            <p14:sldId id="8970"/>
            <p14:sldId id="8997"/>
            <p14:sldId id="2076138497"/>
            <p14:sldId id="2076138498"/>
          </p14:sldIdLst>
        </p14:section>
        <p14:section name="Data Culture" id="{68DD624D-6FC2-4A9E-95D7-CCF68F2FD515}">
          <p14:sldIdLst>
            <p14:sldId id="2076138425"/>
            <p14:sldId id="8835"/>
            <p14:sldId id="2076138421"/>
            <p14:sldId id="2076138505"/>
            <p14:sldId id="2076138422"/>
            <p14:sldId id="8972"/>
            <p14:sldId id="9010"/>
            <p14:sldId id="9012"/>
            <p14:sldId id="9011"/>
            <p14:sldId id="2076138418"/>
            <p14:sldId id="8973"/>
            <p14:sldId id="2076138440"/>
            <p14:sldId id="8862"/>
            <p14:sldId id="276"/>
            <p14:sldId id="8841"/>
            <p14:sldId id="8848"/>
            <p14:sldId id="8863"/>
            <p14:sldId id="8682"/>
            <p14:sldId id="281"/>
            <p14:sldId id="2076138424"/>
            <p14:sldId id="8784"/>
            <p14:sldId id="9014"/>
            <p14:sldId id="262"/>
            <p14:sldId id="282"/>
            <p14:sldId id="2076138455"/>
            <p14:sldId id="2076138496"/>
            <p14:sldId id="2076138441"/>
          </p14:sldIdLst>
        </p14:section>
        <p14:section name="Governance" id="{31690008-CD2B-4424-8C49-360CA6401F8B}">
          <p14:sldIdLst>
            <p14:sldId id="2076138426"/>
            <p14:sldId id="8865"/>
            <p14:sldId id="265"/>
            <p14:sldId id="8866"/>
            <p14:sldId id="266"/>
            <p14:sldId id="268"/>
            <p14:sldId id="8867"/>
            <p14:sldId id="8868"/>
            <p14:sldId id="8966"/>
            <p14:sldId id="2076138454"/>
            <p14:sldId id="8869"/>
            <p14:sldId id="8870"/>
            <p14:sldId id="521"/>
            <p14:sldId id="380"/>
            <p14:sldId id="343"/>
            <p14:sldId id="350"/>
            <p14:sldId id="435"/>
            <p14:sldId id="8871"/>
            <p14:sldId id="8830"/>
            <p14:sldId id="354"/>
            <p14:sldId id="8828"/>
            <p14:sldId id="320"/>
            <p14:sldId id="8872"/>
            <p14:sldId id="8982"/>
            <p14:sldId id="2076138432"/>
            <p14:sldId id="2076138433"/>
            <p14:sldId id="272"/>
            <p14:sldId id="8977"/>
            <p14:sldId id="8874"/>
            <p14:sldId id="8875"/>
            <p14:sldId id="297"/>
            <p14:sldId id="1569"/>
            <p14:sldId id="298"/>
            <p14:sldId id="1570"/>
            <p14:sldId id="331"/>
            <p14:sldId id="1571"/>
            <p14:sldId id="1575"/>
            <p14:sldId id="322"/>
            <p14:sldId id="2076138444"/>
            <p14:sldId id="2076138445"/>
            <p14:sldId id="2076138446"/>
            <p14:sldId id="326"/>
            <p14:sldId id="325"/>
            <p14:sldId id="328"/>
            <p14:sldId id="323"/>
            <p14:sldId id="327"/>
            <p14:sldId id="324"/>
            <p14:sldId id="329"/>
            <p14:sldId id="330"/>
            <p14:sldId id="2076138458"/>
            <p14:sldId id="258"/>
            <p14:sldId id="2076138488"/>
            <p14:sldId id="2076138499"/>
            <p14:sldId id="8979"/>
            <p14:sldId id="2076138442"/>
          </p14:sldIdLst>
        </p14:section>
        <p14:section name="Content Ownership" id="{1E1C0641-6716-450F-BBDA-E72286EC9D62}">
          <p14:sldIdLst>
            <p14:sldId id="2076138472"/>
            <p14:sldId id="8976"/>
            <p14:sldId id="8975"/>
            <p14:sldId id="8991"/>
            <p14:sldId id="8995"/>
            <p14:sldId id="2076138502"/>
            <p14:sldId id="8993"/>
            <p14:sldId id="9000"/>
            <p14:sldId id="9003"/>
            <p14:sldId id="8994"/>
            <p14:sldId id="2076138501"/>
            <p14:sldId id="9005"/>
            <p14:sldId id="285"/>
            <p14:sldId id="286"/>
            <p14:sldId id="8987"/>
            <p14:sldId id="2076138453"/>
            <p14:sldId id="2076138427"/>
            <p14:sldId id="2076138435"/>
            <p14:sldId id="9006"/>
            <p14:sldId id="9007"/>
            <p14:sldId id="2076138436"/>
            <p14:sldId id="260"/>
            <p14:sldId id="2076138437"/>
            <p14:sldId id="264"/>
            <p14:sldId id="362"/>
            <p14:sldId id="290"/>
            <p14:sldId id="8834"/>
            <p14:sldId id="2076138447"/>
            <p14:sldId id="2076138489"/>
            <p14:sldId id="2076138448"/>
            <p14:sldId id="355"/>
            <p14:sldId id="364"/>
            <p14:sldId id="8873"/>
          </p14:sldIdLst>
        </p14:section>
        <p14:section name="COE" id="{76E5BBED-AC89-4FCF-8563-BBC8EA58359E}">
          <p14:sldIdLst>
            <p14:sldId id="2076138428"/>
            <p14:sldId id="8850"/>
            <p14:sldId id="2076138503"/>
            <p14:sldId id="2076138508"/>
            <p14:sldId id="2076138506"/>
            <p14:sldId id="2076138507"/>
            <p14:sldId id="8957"/>
            <p14:sldId id="8961"/>
            <p14:sldId id="8960"/>
            <p14:sldId id="2076138476"/>
            <p14:sldId id="2076138420"/>
            <p14:sldId id="8815"/>
            <p14:sldId id="359"/>
            <p14:sldId id="2076138449"/>
          </p14:sldIdLst>
        </p14:section>
        <p14:section name="Mentoring Enablement" id="{C17DFE7B-B461-44D2-8A2D-704B90C953F8}">
          <p14:sldIdLst>
            <p14:sldId id="2076138470"/>
            <p14:sldId id="2076138412"/>
            <p14:sldId id="2076138414"/>
            <p14:sldId id="2076138439"/>
          </p14:sldIdLst>
        </p14:section>
        <p14:section name="Community of practice" id="{5FD57346-E4CD-4ECF-ACCB-5E1A7993FACB}">
          <p14:sldIdLst>
            <p14:sldId id="2076138471"/>
            <p14:sldId id="9001"/>
            <p14:sldId id="2076138416"/>
            <p14:sldId id="2076138438"/>
          </p14:sldIdLst>
        </p14:section>
        <p14:section name="User Support" id="{2B69A4EF-8780-4634-BE85-3F776A8F31CC}">
          <p14:sldIdLst>
            <p14:sldId id="2076138473"/>
            <p14:sldId id="2076138467"/>
            <p14:sldId id="2076138477"/>
            <p14:sldId id="8940"/>
            <p14:sldId id="8941"/>
            <p14:sldId id="8942"/>
            <p14:sldId id="300"/>
            <p14:sldId id="301"/>
            <p14:sldId id="8943"/>
            <p14:sldId id="8944"/>
            <p14:sldId id="304"/>
            <p14:sldId id="8945"/>
            <p14:sldId id="1583"/>
            <p14:sldId id="1584"/>
            <p14:sldId id="2076138466"/>
            <p14:sldId id="2076138450"/>
          </p14:sldIdLst>
        </p14:section>
        <p14:section name="System Oversight" id="{B810BF4D-FDA0-46F7-B9C1-8C996618F7EE}">
          <p14:sldIdLst>
            <p14:sldId id="2076138460"/>
            <p14:sldId id="2076138478"/>
            <p14:sldId id="2076138479"/>
            <p14:sldId id="2076138468"/>
            <p14:sldId id="8881"/>
            <p14:sldId id="1574"/>
            <p14:sldId id="391"/>
            <p14:sldId id="8882"/>
            <p14:sldId id="501"/>
            <p14:sldId id="503"/>
            <p14:sldId id="2076138485"/>
            <p14:sldId id="346"/>
            <p14:sldId id="478"/>
            <p14:sldId id="519"/>
            <p14:sldId id="316"/>
            <p14:sldId id="8883"/>
            <p14:sldId id="530"/>
            <p14:sldId id="1573"/>
            <p14:sldId id="529"/>
            <p14:sldId id="8885"/>
            <p14:sldId id="8886"/>
            <p14:sldId id="279"/>
            <p14:sldId id="280"/>
            <p14:sldId id="348"/>
            <p14:sldId id="8887"/>
            <p14:sldId id="8888"/>
            <p14:sldId id="8889"/>
            <p14:sldId id="8890"/>
            <p14:sldId id="358"/>
            <p14:sldId id="361"/>
            <p14:sldId id="363"/>
            <p14:sldId id="367"/>
            <p14:sldId id="8891"/>
            <p14:sldId id="366"/>
            <p14:sldId id="392"/>
            <p14:sldId id="401"/>
            <p14:sldId id="2076138482"/>
            <p14:sldId id="8892"/>
            <p14:sldId id="8893"/>
            <p14:sldId id="368"/>
            <p14:sldId id="269"/>
            <p14:sldId id="321"/>
            <p14:sldId id="2076138483"/>
            <p14:sldId id="2076138487"/>
            <p14:sldId id="458"/>
            <p14:sldId id="2076138484"/>
            <p14:sldId id="2076138486"/>
            <p14:sldId id="522"/>
            <p14:sldId id="8894"/>
            <p14:sldId id="2076138456"/>
            <p14:sldId id="369"/>
            <p14:sldId id="370"/>
            <p14:sldId id="371"/>
            <p14:sldId id="1579"/>
            <p14:sldId id="2076138491"/>
            <p14:sldId id="2076138492"/>
            <p14:sldId id="2076138493"/>
            <p14:sldId id="2076138494"/>
            <p14:sldId id="2076138495"/>
            <p14:sldId id="2076138464"/>
            <p14:sldId id="2076138465"/>
            <p14:sldId id="523"/>
            <p14:sldId id="1572"/>
            <p14:sldId id="2076138481"/>
            <p14:sldId id="8895"/>
            <p14:sldId id="1576"/>
            <p14:sldId id="339"/>
            <p14:sldId id="8896"/>
            <p14:sldId id="468"/>
            <p14:sldId id="373"/>
            <p14:sldId id="505"/>
          </p14:sldIdLst>
        </p14:section>
        <p14:section name="Security" id="{810C0ABE-A7F6-4BE3-AA05-4D851375BD2D}">
          <p14:sldIdLst>
            <p14:sldId id="2076138475"/>
            <p14:sldId id="8897"/>
            <p14:sldId id="8898"/>
            <p14:sldId id="8899"/>
            <p14:sldId id="8900"/>
            <p14:sldId id="8901"/>
            <p14:sldId id="8902"/>
            <p14:sldId id="8903"/>
            <p14:sldId id="8904"/>
            <p14:sldId id="8905"/>
            <p14:sldId id="8911"/>
            <p14:sldId id="8908"/>
            <p14:sldId id="292"/>
            <p14:sldId id="8909"/>
            <p14:sldId id="8910"/>
            <p14:sldId id="8907"/>
            <p14:sldId id="271"/>
            <p14:sldId id="8923"/>
            <p14:sldId id="8913"/>
            <p14:sldId id="8914"/>
            <p14:sldId id="312"/>
            <p14:sldId id="8915"/>
            <p14:sldId id="275"/>
            <p14:sldId id="8916"/>
            <p14:sldId id="288"/>
            <p14:sldId id="289"/>
            <p14:sldId id="463"/>
            <p14:sldId id="332"/>
            <p14:sldId id="8917"/>
            <p14:sldId id="299"/>
            <p14:sldId id="333"/>
            <p14:sldId id="302"/>
            <p14:sldId id="294"/>
            <p14:sldId id="296"/>
            <p14:sldId id="303"/>
            <p14:sldId id="8918"/>
            <p14:sldId id="8919"/>
            <p14:sldId id="8920"/>
            <p14:sldId id="309"/>
            <p14:sldId id="8921"/>
            <p14:sldId id="8922"/>
            <p14:sldId id="2076138480"/>
            <p14:sldId id="2076138451"/>
            <p14:sldId id="2076138452"/>
          </p14:sldIdLst>
        </p14:section>
        <p14:section name="Licensing" id="{804E84AF-D1FF-44F0-BA79-C2765FF0BB78}">
          <p14:sldIdLst>
            <p14:sldId id="8876"/>
            <p14:sldId id="334"/>
            <p14:sldId id="335"/>
            <p14:sldId id="336"/>
            <p14:sldId id="337"/>
            <p14:sldId id="455"/>
            <p14:sldId id="8877"/>
            <p14:sldId id="8878"/>
            <p14:sldId id="1565"/>
            <p14:sldId id="1566"/>
            <p14:sldId id="1567"/>
            <p14:sldId id="8879"/>
            <p14:sldId id="8880"/>
            <p14:sldId id="8938"/>
          </p14:sldIdLst>
        </p14:section>
        <p14:section name="Rollout" id="{155E9EB4-434A-4B99-8866-3F80670017CE}">
          <p14:sldIdLst>
            <p14:sldId id="8934"/>
            <p14:sldId id="2076138474"/>
            <p14:sldId id="8935"/>
            <p14:sldId id="8926"/>
            <p14:sldId id="295"/>
            <p14:sldId id="1568"/>
            <p14:sldId id="8927"/>
            <p14:sldId id="8928"/>
            <p14:sldId id="421"/>
            <p14:sldId id="8929"/>
            <p14:sldId id="8930"/>
            <p14:sldId id="8931"/>
            <p14:sldId id="8932"/>
            <p14:sldId id="8933"/>
            <p14:sldId id="270"/>
            <p14:sldId id="8936"/>
            <p14:sldId id="8849"/>
            <p14:sldId id="274"/>
            <p14:sldId id="278"/>
            <p14:sldId id="287"/>
            <p14:sldId id="8937"/>
            <p14:sldId id="277"/>
            <p14:sldId id="423"/>
            <p14:sldId id="8952"/>
          </p14:sldIdLst>
        </p14:section>
        <p14:section name="Wrap-Up" id="{18D45B1C-1573-4239-A8A5-971786FDD39D}">
          <p14:sldIdLst>
            <p14:sldId id="8990"/>
            <p14:sldId id="2076138463"/>
            <p14:sldId id="2076138462"/>
            <p14:sldId id="8831"/>
            <p14:sldId id="88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BADD7E-CE51-408E-929F-000E5FA13200}" v="11395" dt="2021-09-09T08:00:41.25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141" autoAdjust="0"/>
  </p:normalViewPr>
  <p:slideViewPr>
    <p:cSldViewPr snapToGrid="0">
      <p:cViewPr varScale="1">
        <p:scale>
          <a:sx n="91" d="100"/>
          <a:sy n="91" d="100"/>
        </p:scale>
        <p:origin x="131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99" Type="http://schemas.openxmlformats.org/officeDocument/2006/relationships/slide" Target="slides/slide290.xml"/><Relationship Id="rId21" Type="http://schemas.openxmlformats.org/officeDocument/2006/relationships/slide" Target="slides/slide12.xml"/><Relationship Id="rId63" Type="http://schemas.openxmlformats.org/officeDocument/2006/relationships/slide" Target="slides/slide54.xml"/><Relationship Id="rId159" Type="http://schemas.openxmlformats.org/officeDocument/2006/relationships/slide" Target="slides/slide150.xml"/><Relationship Id="rId324" Type="http://schemas.openxmlformats.org/officeDocument/2006/relationships/slide" Target="slides/slide315.xml"/><Relationship Id="rId170" Type="http://schemas.openxmlformats.org/officeDocument/2006/relationships/slide" Target="slides/slide161.xml"/><Relationship Id="rId226" Type="http://schemas.openxmlformats.org/officeDocument/2006/relationships/slide" Target="slides/slide217.xml"/><Relationship Id="rId268" Type="http://schemas.openxmlformats.org/officeDocument/2006/relationships/slide" Target="slides/slide259.xml"/><Relationship Id="rId32" Type="http://schemas.openxmlformats.org/officeDocument/2006/relationships/slide" Target="slides/slide23.xml"/><Relationship Id="rId74" Type="http://schemas.openxmlformats.org/officeDocument/2006/relationships/slide" Target="slides/slide65.xml"/><Relationship Id="rId128" Type="http://schemas.openxmlformats.org/officeDocument/2006/relationships/slide" Target="slides/slide119.xml"/><Relationship Id="rId335" Type="http://schemas.openxmlformats.org/officeDocument/2006/relationships/slide" Target="slides/slide326.xml"/><Relationship Id="rId5" Type="http://schemas.openxmlformats.org/officeDocument/2006/relationships/slideMaster" Target="slideMasters/slideMaster5.xml"/><Relationship Id="rId181" Type="http://schemas.openxmlformats.org/officeDocument/2006/relationships/slide" Target="slides/slide172.xml"/><Relationship Id="rId237" Type="http://schemas.openxmlformats.org/officeDocument/2006/relationships/slide" Target="slides/slide228.xml"/><Relationship Id="rId279" Type="http://schemas.openxmlformats.org/officeDocument/2006/relationships/slide" Target="slides/slide270.xml"/><Relationship Id="rId43" Type="http://schemas.openxmlformats.org/officeDocument/2006/relationships/slide" Target="slides/slide34.xml"/><Relationship Id="rId139" Type="http://schemas.openxmlformats.org/officeDocument/2006/relationships/slide" Target="slides/slide130.xml"/><Relationship Id="rId290" Type="http://schemas.openxmlformats.org/officeDocument/2006/relationships/slide" Target="slides/slide281.xml"/><Relationship Id="rId304" Type="http://schemas.openxmlformats.org/officeDocument/2006/relationships/slide" Target="slides/slide295.xml"/><Relationship Id="rId346" Type="http://schemas.microsoft.com/office/2015/10/relationships/revisionInfo" Target="revisionInfo.xml"/><Relationship Id="rId85" Type="http://schemas.openxmlformats.org/officeDocument/2006/relationships/slide" Target="slides/slide76.xml"/><Relationship Id="rId150" Type="http://schemas.openxmlformats.org/officeDocument/2006/relationships/slide" Target="slides/slide141.xml"/><Relationship Id="rId192" Type="http://schemas.openxmlformats.org/officeDocument/2006/relationships/slide" Target="slides/slide183.xml"/><Relationship Id="rId206" Type="http://schemas.openxmlformats.org/officeDocument/2006/relationships/slide" Target="slides/slide197.xml"/><Relationship Id="rId248" Type="http://schemas.openxmlformats.org/officeDocument/2006/relationships/slide" Target="slides/slide239.xml"/><Relationship Id="rId12" Type="http://schemas.openxmlformats.org/officeDocument/2006/relationships/slide" Target="slides/slide3.xml"/><Relationship Id="rId108" Type="http://schemas.openxmlformats.org/officeDocument/2006/relationships/slide" Target="slides/slide99.xml"/><Relationship Id="rId315" Type="http://schemas.openxmlformats.org/officeDocument/2006/relationships/slide" Target="slides/slide306.xml"/><Relationship Id="rId54" Type="http://schemas.openxmlformats.org/officeDocument/2006/relationships/slide" Target="slides/slide45.xml"/><Relationship Id="rId96" Type="http://schemas.openxmlformats.org/officeDocument/2006/relationships/slide" Target="slides/slide87.xml"/><Relationship Id="rId161" Type="http://schemas.openxmlformats.org/officeDocument/2006/relationships/slide" Target="slides/slide152.xml"/><Relationship Id="rId217" Type="http://schemas.openxmlformats.org/officeDocument/2006/relationships/slide" Target="slides/slide208.xml"/><Relationship Id="rId259" Type="http://schemas.openxmlformats.org/officeDocument/2006/relationships/slide" Target="slides/slide250.xml"/><Relationship Id="rId23" Type="http://schemas.openxmlformats.org/officeDocument/2006/relationships/slide" Target="slides/slide14.xml"/><Relationship Id="rId119" Type="http://schemas.openxmlformats.org/officeDocument/2006/relationships/slide" Target="slides/slide110.xml"/><Relationship Id="rId270" Type="http://schemas.openxmlformats.org/officeDocument/2006/relationships/slide" Target="slides/slide261.xml"/><Relationship Id="rId326" Type="http://schemas.openxmlformats.org/officeDocument/2006/relationships/slide" Target="slides/slide317.xml"/><Relationship Id="rId65" Type="http://schemas.openxmlformats.org/officeDocument/2006/relationships/slide" Target="slides/slide56.xml"/><Relationship Id="rId130" Type="http://schemas.openxmlformats.org/officeDocument/2006/relationships/slide" Target="slides/slide121.xml"/><Relationship Id="rId172" Type="http://schemas.openxmlformats.org/officeDocument/2006/relationships/slide" Target="slides/slide163.xml"/><Relationship Id="rId228" Type="http://schemas.openxmlformats.org/officeDocument/2006/relationships/slide" Target="slides/slide219.xml"/><Relationship Id="rId281" Type="http://schemas.openxmlformats.org/officeDocument/2006/relationships/slide" Target="slides/slide272.xml"/><Relationship Id="rId337" Type="http://schemas.openxmlformats.org/officeDocument/2006/relationships/slide" Target="slides/slide328.xml"/><Relationship Id="rId34" Type="http://schemas.openxmlformats.org/officeDocument/2006/relationships/slide" Target="slides/slide25.xml"/><Relationship Id="rId76" Type="http://schemas.openxmlformats.org/officeDocument/2006/relationships/slide" Target="slides/slide67.xml"/><Relationship Id="rId141" Type="http://schemas.openxmlformats.org/officeDocument/2006/relationships/slide" Target="slides/slide132.xml"/><Relationship Id="rId7" Type="http://schemas.openxmlformats.org/officeDocument/2006/relationships/slideMaster" Target="slideMasters/slideMaster7.xml"/><Relationship Id="rId183" Type="http://schemas.openxmlformats.org/officeDocument/2006/relationships/slide" Target="slides/slide174.xml"/><Relationship Id="rId239" Type="http://schemas.openxmlformats.org/officeDocument/2006/relationships/slide" Target="slides/slide230.xml"/><Relationship Id="rId250" Type="http://schemas.openxmlformats.org/officeDocument/2006/relationships/slide" Target="slides/slide241.xml"/><Relationship Id="rId292" Type="http://schemas.openxmlformats.org/officeDocument/2006/relationships/slide" Target="slides/slide283.xml"/><Relationship Id="rId306" Type="http://schemas.openxmlformats.org/officeDocument/2006/relationships/slide" Target="slides/slide297.xml"/><Relationship Id="rId45" Type="http://schemas.openxmlformats.org/officeDocument/2006/relationships/slide" Target="slides/slide36.xml"/><Relationship Id="rId87" Type="http://schemas.openxmlformats.org/officeDocument/2006/relationships/slide" Target="slides/slide78.xml"/><Relationship Id="rId110" Type="http://schemas.openxmlformats.org/officeDocument/2006/relationships/slide" Target="slides/slide101.xml"/><Relationship Id="rId152" Type="http://schemas.openxmlformats.org/officeDocument/2006/relationships/slide" Target="slides/slide143.xml"/><Relationship Id="rId194" Type="http://schemas.openxmlformats.org/officeDocument/2006/relationships/slide" Target="slides/slide185.xml"/><Relationship Id="rId208" Type="http://schemas.openxmlformats.org/officeDocument/2006/relationships/slide" Target="slides/slide199.xml"/><Relationship Id="rId261" Type="http://schemas.openxmlformats.org/officeDocument/2006/relationships/slide" Target="slides/slide252.xml"/><Relationship Id="rId14" Type="http://schemas.openxmlformats.org/officeDocument/2006/relationships/slide" Target="slides/slide5.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282" Type="http://schemas.openxmlformats.org/officeDocument/2006/relationships/slide" Target="slides/slide273.xml"/><Relationship Id="rId317" Type="http://schemas.openxmlformats.org/officeDocument/2006/relationships/slide" Target="slides/slide308.xml"/><Relationship Id="rId338" Type="http://schemas.openxmlformats.org/officeDocument/2006/relationships/slide" Target="slides/slide329.xml"/><Relationship Id="rId8" Type="http://schemas.openxmlformats.org/officeDocument/2006/relationships/slideMaster" Target="slideMasters/slideMaster8.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184" Type="http://schemas.openxmlformats.org/officeDocument/2006/relationships/slide" Target="slides/slide175.xml"/><Relationship Id="rId219" Type="http://schemas.openxmlformats.org/officeDocument/2006/relationships/slide" Target="slides/slide210.xml"/><Relationship Id="rId230" Type="http://schemas.openxmlformats.org/officeDocument/2006/relationships/slide" Target="slides/slide221.xml"/><Relationship Id="rId251" Type="http://schemas.openxmlformats.org/officeDocument/2006/relationships/slide" Target="slides/slide242.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272" Type="http://schemas.openxmlformats.org/officeDocument/2006/relationships/slide" Target="slides/slide263.xml"/><Relationship Id="rId293" Type="http://schemas.openxmlformats.org/officeDocument/2006/relationships/slide" Target="slides/slide284.xml"/><Relationship Id="rId307" Type="http://schemas.openxmlformats.org/officeDocument/2006/relationships/slide" Target="slides/slide298.xml"/><Relationship Id="rId328" Type="http://schemas.openxmlformats.org/officeDocument/2006/relationships/slide" Target="slides/slide319.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slide" Target="slides/slide165.xml"/><Relationship Id="rId195" Type="http://schemas.openxmlformats.org/officeDocument/2006/relationships/slide" Target="slides/slide186.xml"/><Relationship Id="rId209" Type="http://schemas.openxmlformats.org/officeDocument/2006/relationships/slide" Target="slides/slide200.xml"/><Relationship Id="rId220" Type="http://schemas.openxmlformats.org/officeDocument/2006/relationships/slide" Target="slides/slide211.xml"/><Relationship Id="rId241" Type="http://schemas.openxmlformats.org/officeDocument/2006/relationships/slide" Target="slides/slide232.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262" Type="http://schemas.openxmlformats.org/officeDocument/2006/relationships/slide" Target="slides/slide253.xml"/><Relationship Id="rId283" Type="http://schemas.openxmlformats.org/officeDocument/2006/relationships/slide" Target="slides/slide274.xml"/><Relationship Id="rId318" Type="http://schemas.openxmlformats.org/officeDocument/2006/relationships/slide" Target="slides/slide309.xml"/><Relationship Id="rId339" Type="http://schemas.openxmlformats.org/officeDocument/2006/relationships/slide" Target="slides/slide330.xml"/><Relationship Id="rId78" Type="http://schemas.openxmlformats.org/officeDocument/2006/relationships/slide" Target="slides/slide69.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64" Type="http://schemas.openxmlformats.org/officeDocument/2006/relationships/slide" Target="slides/slide155.xml"/><Relationship Id="rId185" Type="http://schemas.openxmlformats.org/officeDocument/2006/relationships/slide" Target="slides/slide176.xml"/><Relationship Id="rId9" Type="http://schemas.openxmlformats.org/officeDocument/2006/relationships/slideMaster" Target="slideMasters/slideMaster9.xml"/><Relationship Id="rId210" Type="http://schemas.openxmlformats.org/officeDocument/2006/relationships/slide" Target="slides/slide201.xml"/><Relationship Id="rId26" Type="http://schemas.openxmlformats.org/officeDocument/2006/relationships/slide" Target="slides/slide17.xml"/><Relationship Id="rId231" Type="http://schemas.openxmlformats.org/officeDocument/2006/relationships/slide" Target="slides/slide222.xml"/><Relationship Id="rId252" Type="http://schemas.openxmlformats.org/officeDocument/2006/relationships/slide" Target="slides/slide243.xml"/><Relationship Id="rId273" Type="http://schemas.openxmlformats.org/officeDocument/2006/relationships/slide" Target="slides/slide264.xml"/><Relationship Id="rId294" Type="http://schemas.openxmlformats.org/officeDocument/2006/relationships/slide" Target="slides/slide285.xml"/><Relationship Id="rId308" Type="http://schemas.openxmlformats.org/officeDocument/2006/relationships/slide" Target="slides/slide299.xml"/><Relationship Id="rId329" Type="http://schemas.openxmlformats.org/officeDocument/2006/relationships/slide" Target="slides/slide320.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75" Type="http://schemas.openxmlformats.org/officeDocument/2006/relationships/slide" Target="slides/slide166.xml"/><Relationship Id="rId340" Type="http://schemas.openxmlformats.org/officeDocument/2006/relationships/notesMaster" Target="notesMasters/notesMaster1.xml"/><Relationship Id="rId196" Type="http://schemas.openxmlformats.org/officeDocument/2006/relationships/slide" Target="slides/slide187.xml"/><Relationship Id="rId200" Type="http://schemas.openxmlformats.org/officeDocument/2006/relationships/slide" Target="slides/slide191.xml"/><Relationship Id="rId16" Type="http://schemas.openxmlformats.org/officeDocument/2006/relationships/slide" Target="slides/slide7.xml"/><Relationship Id="rId221" Type="http://schemas.openxmlformats.org/officeDocument/2006/relationships/slide" Target="slides/slide212.xml"/><Relationship Id="rId242" Type="http://schemas.openxmlformats.org/officeDocument/2006/relationships/slide" Target="slides/slide233.xml"/><Relationship Id="rId263" Type="http://schemas.openxmlformats.org/officeDocument/2006/relationships/slide" Target="slides/slide254.xml"/><Relationship Id="rId284" Type="http://schemas.openxmlformats.org/officeDocument/2006/relationships/slide" Target="slides/slide275.xml"/><Relationship Id="rId319" Type="http://schemas.openxmlformats.org/officeDocument/2006/relationships/slide" Target="slides/slide310.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slide" Target="slides/slide135.xml"/><Relationship Id="rId330" Type="http://schemas.openxmlformats.org/officeDocument/2006/relationships/slide" Target="slides/slide321.xml"/><Relationship Id="rId90" Type="http://schemas.openxmlformats.org/officeDocument/2006/relationships/slide" Target="slides/slide81.xml"/><Relationship Id="rId165" Type="http://schemas.openxmlformats.org/officeDocument/2006/relationships/slide" Target="slides/slide156.xml"/><Relationship Id="rId186" Type="http://schemas.openxmlformats.org/officeDocument/2006/relationships/slide" Target="slides/slide177.xml"/><Relationship Id="rId211" Type="http://schemas.openxmlformats.org/officeDocument/2006/relationships/slide" Target="slides/slide202.xml"/><Relationship Id="rId232" Type="http://schemas.openxmlformats.org/officeDocument/2006/relationships/slide" Target="slides/slide223.xml"/><Relationship Id="rId253" Type="http://schemas.openxmlformats.org/officeDocument/2006/relationships/slide" Target="slides/slide244.xml"/><Relationship Id="rId274" Type="http://schemas.openxmlformats.org/officeDocument/2006/relationships/slide" Target="slides/slide265.xml"/><Relationship Id="rId295" Type="http://schemas.openxmlformats.org/officeDocument/2006/relationships/slide" Target="slides/slide286.xml"/><Relationship Id="rId309" Type="http://schemas.openxmlformats.org/officeDocument/2006/relationships/slide" Target="slides/slide300.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slide" Target="slides/slide125.xml"/><Relationship Id="rId320" Type="http://schemas.openxmlformats.org/officeDocument/2006/relationships/slide" Target="slides/slide311.xml"/><Relationship Id="rId80" Type="http://schemas.openxmlformats.org/officeDocument/2006/relationships/slide" Target="slides/slide71.xml"/><Relationship Id="rId155" Type="http://schemas.openxmlformats.org/officeDocument/2006/relationships/slide" Target="slides/slide146.xml"/><Relationship Id="rId176" Type="http://schemas.openxmlformats.org/officeDocument/2006/relationships/slide" Target="slides/slide167.xml"/><Relationship Id="rId197" Type="http://schemas.openxmlformats.org/officeDocument/2006/relationships/slide" Target="slides/slide188.xml"/><Relationship Id="rId341" Type="http://schemas.openxmlformats.org/officeDocument/2006/relationships/presProps" Target="presProps.xml"/><Relationship Id="rId201" Type="http://schemas.openxmlformats.org/officeDocument/2006/relationships/slide" Target="slides/slide192.xml"/><Relationship Id="rId222" Type="http://schemas.openxmlformats.org/officeDocument/2006/relationships/slide" Target="slides/slide213.xml"/><Relationship Id="rId243" Type="http://schemas.openxmlformats.org/officeDocument/2006/relationships/slide" Target="slides/slide234.xml"/><Relationship Id="rId264" Type="http://schemas.openxmlformats.org/officeDocument/2006/relationships/slide" Target="slides/slide255.xml"/><Relationship Id="rId285" Type="http://schemas.openxmlformats.org/officeDocument/2006/relationships/slide" Target="slides/slide276.xml"/><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 Id="rId310" Type="http://schemas.openxmlformats.org/officeDocument/2006/relationships/slide" Target="slides/slide301.xml"/><Relationship Id="rId70" Type="http://schemas.openxmlformats.org/officeDocument/2006/relationships/slide" Target="slides/slide61.xml"/><Relationship Id="rId91" Type="http://schemas.openxmlformats.org/officeDocument/2006/relationships/slide" Target="slides/slide82.xml"/><Relationship Id="rId145" Type="http://schemas.openxmlformats.org/officeDocument/2006/relationships/slide" Target="slides/slide136.xml"/><Relationship Id="rId166" Type="http://schemas.openxmlformats.org/officeDocument/2006/relationships/slide" Target="slides/slide157.xml"/><Relationship Id="rId187" Type="http://schemas.openxmlformats.org/officeDocument/2006/relationships/slide" Target="slides/slide178.xml"/><Relationship Id="rId331" Type="http://schemas.openxmlformats.org/officeDocument/2006/relationships/slide" Target="slides/slide322.xml"/><Relationship Id="rId1" Type="http://schemas.openxmlformats.org/officeDocument/2006/relationships/slideMaster" Target="slideMasters/slideMaster1.xml"/><Relationship Id="rId212" Type="http://schemas.openxmlformats.org/officeDocument/2006/relationships/slide" Target="slides/slide203.xml"/><Relationship Id="rId233" Type="http://schemas.openxmlformats.org/officeDocument/2006/relationships/slide" Target="slides/slide224.xml"/><Relationship Id="rId254" Type="http://schemas.openxmlformats.org/officeDocument/2006/relationships/slide" Target="slides/slide245.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275" Type="http://schemas.openxmlformats.org/officeDocument/2006/relationships/slide" Target="slides/slide266.xml"/><Relationship Id="rId296" Type="http://schemas.openxmlformats.org/officeDocument/2006/relationships/slide" Target="slides/slide287.xml"/><Relationship Id="rId300" Type="http://schemas.openxmlformats.org/officeDocument/2006/relationships/slide" Target="slides/slide291.xml"/><Relationship Id="rId60" Type="http://schemas.openxmlformats.org/officeDocument/2006/relationships/slide" Target="slides/slide51.xml"/><Relationship Id="rId81" Type="http://schemas.openxmlformats.org/officeDocument/2006/relationships/slide" Target="slides/slide72.xml"/><Relationship Id="rId135" Type="http://schemas.openxmlformats.org/officeDocument/2006/relationships/slide" Target="slides/slide126.xml"/><Relationship Id="rId156" Type="http://schemas.openxmlformats.org/officeDocument/2006/relationships/slide" Target="slides/slide147.xml"/><Relationship Id="rId177" Type="http://schemas.openxmlformats.org/officeDocument/2006/relationships/slide" Target="slides/slide168.xml"/><Relationship Id="rId198" Type="http://schemas.openxmlformats.org/officeDocument/2006/relationships/slide" Target="slides/slide189.xml"/><Relationship Id="rId321" Type="http://schemas.openxmlformats.org/officeDocument/2006/relationships/slide" Target="slides/slide312.xml"/><Relationship Id="rId342" Type="http://schemas.openxmlformats.org/officeDocument/2006/relationships/viewProps" Target="viewProps.xml"/><Relationship Id="rId202" Type="http://schemas.openxmlformats.org/officeDocument/2006/relationships/slide" Target="slides/slide193.xml"/><Relationship Id="rId223" Type="http://schemas.openxmlformats.org/officeDocument/2006/relationships/slide" Target="slides/slide214.xml"/><Relationship Id="rId244" Type="http://schemas.openxmlformats.org/officeDocument/2006/relationships/slide" Target="slides/slide235.xml"/><Relationship Id="rId18" Type="http://schemas.openxmlformats.org/officeDocument/2006/relationships/slide" Target="slides/slide9.xml"/><Relationship Id="rId39" Type="http://schemas.openxmlformats.org/officeDocument/2006/relationships/slide" Target="slides/slide30.xml"/><Relationship Id="rId265" Type="http://schemas.openxmlformats.org/officeDocument/2006/relationships/slide" Target="slides/slide256.xml"/><Relationship Id="rId286" Type="http://schemas.openxmlformats.org/officeDocument/2006/relationships/slide" Target="slides/slide277.xml"/><Relationship Id="rId50" Type="http://schemas.openxmlformats.org/officeDocument/2006/relationships/slide" Target="slides/slide41.xml"/><Relationship Id="rId104" Type="http://schemas.openxmlformats.org/officeDocument/2006/relationships/slide" Target="slides/slide95.xml"/><Relationship Id="rId125" Type="http://schemas.openxmlformats.org/officeDocument/2006/relationships/slide" Target="slides/slide116.xml"/><Relationship Id="rId146" Type="http://schemas.openxmlformats.org/officeDocument/2006/relationships/slide" Target="slides/slide137.xml"/><Relationship Id="rId167" Type="http://schemas.openxmlformats.org/officeDocument/2006/relationships/slide" Target="slides/slide158.xml"/><Relationship Id="rId188" Type="http://schemas.openxmlformats.org/officeDocument/2006/relationships/slide" Target="slides/slide179.xml"/><Relationship Id="rId311" Type="http://schemas.openxmlformats.org/officeDocument/2006/relationships/slide" Target="slides/slide302.xml"/><Relationship Id="rId332" Type="http://schemas.openxmlformats.org/officeDocument/2006/relationships/slide" Target="slides/slide323.xml"/><Relationship Id="rId71" Type="http://schemas.openxmlformats.org/officeDocument/2006/relationships/slide" Target="slides/slide62.xml"/><Relationship Id="rId92" Type="http://schemas.openxmlformats.org/officeDocument/2006/relationships/slide" Target="slides/slide83.xml"/><Relationship Id="rId213" Type="http://schemas.openxmlformats.org/officeDocument/2006/relationships/slide" Target="slides/slide204.xml"/><Relationship Id="rId234" Type="http://schemas.openxmlformats.org/officeDocument/2006/relationships/slide" Target="slides/slide225.xml"/><Relationship Id="rId2" Type="http://schemas.openxmlformats.org/officeDocument/2006/relationships/slideMaster" Target="slideMasters/slideMaster2.xml"/><Relationship Id="rId29" Type="http://schemas.openxmlformats.org/officeDocument/2006/relationships/slide" Target="slides/slide20.xml"/><Relationship Id="rId255" Type="http://schemas.openxmlformats.org/officeDocument/2006/relationships/slide" Target="slides/slide246.xml"/><Relationship Id="rId276" Type="http://schemas.openxmlformats.org/officeDocument/2006/relationships/slide" Target="slides/slide267.xml"/><Relationship Id="rId297" Type="http://schemas.openxmlformats.org/officeDocument/2006/relationships/slide" Target="slides/slide288.xml"/><Relationship Id="rId40" Type="http://schemas.openxmlformats.org/officeDocument/2006/relationships/slide" Target="slides/slide31.xml"/><Relationship Id="rId115" Type="http://schemas.openxmlformats.org/officeDocument/2006/relationships/slide" Target="slides/slide106.xml"/><Relationship Id="rId136" Type="http://schemas.openxmlformats.org/officeDocument/2006/relationships/slide" Target="slides/slide127.xml"/><Relationship Id="rId157" Type="http://schemas.openxmlformats.org/officeDocument/2006/relationships/slide" Target="slides/slide148.xml"/><Relationship Id="rId178" Type="http://schemas.openxmlformats.org/officeDocument/2006/relationships/slide" Target="slides/slide169.xml"/><Relationship Id="rId301" Type="http://schemas.openxmlformats.org/officeDocument/2006/relationships/slide" Target="slides/slide292.xml"/><Relationship Id="rId322" Type="http://schemas.openxmlformats.org/officeDocument/2006/relationships/slide" Target="slides/slide313.xml"/><Relationship Id="rId343" Type="http://schemas.openxmlformats.org/officeDocument/2006/relationships/theme" Target="theme/theme1.xml"/><Relationship Id="rId61" Type="http://schemas.openxmlformats.org/officeDocument/2006/relationships/slide" Target="slides/slide52.xml"/><Relationship Id="rId82" Type="http://schemas.openxmlformats.org/officeDocument/2006/relationships/slide" Target="slides/slide73.xml"/><Relationship Id="rId199" Type="http://schemas.openxmlformats.org/officeDocument/2006/relationships/slide" Target="slides/slide190.xml"/><Relationship Id="rId203" Type="http://schemas.openxmlformats.org/officeDocument/2006/relationships/slide" Target="slides/slide194.xml"/><Relationship Id="rId19" Type="http://schemas.openxmlformats.org/officeDocument/2006/relationships/slide" Target="slides/slide10.xml"/><Relationship Id="rId224" Type="http://schemas.openxmlformats.org/officeDocument/2006/relationships/slide" Target="slides/slide215.xml"/><Relationship Id="rId245" Type="http://schemas.openxmlformats.org/officeDocument/2006/relationships/slide" Target="slides/slide236.xml"/><Relationship Id="rId266" Type="http://schemas.openxmlformats.org/officeDocument/2006/relationships/slide" Target="slides/slide257.xml"/><Relationship Id="rId287" Type="http://schemas.openxmlformats.org/officeDocument/2006/relationships/slide" Target="slides/slide278.xml"/><Relationship Id="rId30" Type="http://schemas.openxmlformats.org/officeDocument/2006/relationships/slide" Target="slides/slide2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 Id="rId312" Type="http://schemas.openxmlformats.org/officeDocument/2006/relationships/slide" Target="slides/slide303.xml"/><Relationship Id="rId333" Type="http://schemas.openxmlformats.org/officeDocument/2006/relationships/slide" Target="slides/slide324.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189" Type="http://schemas.openxmlformats.org/officeDocument/2006/relationships/slide" Target="slides/slide180.xml"/><Relationship Id="rId3" Type="http://schemas.openxmlformats.org/officeDocument/2006/relationships/slideMaster" Target="slideMasters/slideMaster3.xml"/><Relationship Id="rId214" Type="http://schemas.openxmlformats.org/officeDocument/2006/relationships/slide" Target="slides/slide205.xml"/><Relationship Id="rId235" Type="http://schemas.openxmlformats.org/officeDocument/2006/relationships/slide" Target="slides/slide226.xml"/><Relationship Id="rId256" Type="http://schemas.openxmlformats.org/officeDocument/2006/relationships/slide" Target="slides/slide247.xml"/><Relationship Id="rId277" Type="http://schemas.openxmlformats.org/officeDocument/2006/relationships/slide" Target="slides/slide268.xml"/><Relationship Id="rId298" Type="http://schemas.openxmlformats.org/officeDocument/2006/relationships/slide" Target="slides/slide289.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302" Type="http://schemas.openxmlformats.org/officeDocument/2006/relationships/slide" Target="slides/slide293.xml"/><Relationship Id="rId323" Type="http://schemas.openxmlformats.org/officeDocument/2006/relationships/slide" Target="slides/slide314.xml"/><Relationship Id="rId344"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179" Type="http://schemas.openxmlformats.org/officeDocument/2006/relationships/slide" Target="slides/slide170.xml"/><Relationship Id="rId190" Type="http://schemas.openxmlformats.org/officeDocument/2006/relationships/slide" Target="slides/slide181.xml"/><Relationship Id="rId204" Type="http://schemas.openxmlformats.org/officeDocument/2006/relationships/slide" Target="slides/slide195.xml"/><Relationship Id="rId225" Type="http://schemas.openxmlformats.org/officeDocument/2006/relationships/slide" Target="slides/slide216.xml"/><Relationship Id="rId246" Type="http://schemas.openxmlformats.org/officeDocument/2006/relationships/slide" Target="slides/slide237.xml"/><Relationship Id="rId267" Type="http://schemas.openxmlformats.org/officeDocument/2006/relationships/slide" Target="slides/slide258.xml"/><Relationship Id="rId288" Type="http://schemas.openxmlformats.org/officeDocument/2006/relationships/slide" Target="slides/slide279.xml"/><Relationship Id="rId106" Type="http://schemas.openxmlformats.org/officeDocument/2006/relationships/slide" Target="slides/slide97.xml"/><Relationship Id="rId127" Type="http://schemas.openxmlformats.org/officeDocument/2006/relationships/slide" Target="slides/slide118.xml"/><Relationship Id="rId313" Type="http://schemas.openxmlformats.org/officeDocument/2006/relationships/slide" Target="slides/slide304.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94" Type="http://schemas.openxmlformats.org/officeDocument/2006/relationships/slide" Target="slides/slide85.xml"/><Relationship Id="rId148" Type="http://schemas.openxmlformats.org/officeDocument/2006/relationships/slide" Target="slides/slide139.xml"/><Relationship Id="rId169" Type="http://schemas.openxmlformats.org/officeDocument/2006/relationships/slide" Target="slides/slide160.xml"/><Relationship Id="rId334" Type="http://schemas.openxmlformats.org/officeDocument/2006/relationships/slide" Target="slides/slide325.xml"/><Relationship Id="rId4" Type="http://schemas.openxmlformats.org/officeDocument/2006/relationships/slideMaster" Target="slideMasters/slideMaster4.xml"/><Relationship Id="rId180" Type="http://schemas.openxmlformats.org/officeDocument/2006/relationships/slide" Target="slides/slide171.xml"/><Relationship Id="rId215" Type="http://schemas.openxmlformats.org/officeDocument/2006/relationships/slide" Target="slides/slide206.xml"/><Relationship Id="rId236" Type="http://schemas.openxmlformats.org/officeDocument/2006/relationships/slide" Target="slides/slide227.xml"/><Relationship Id="rId257" Type="http://schemas.openxmlformats.org/officeDocument/2006/relationships/slide" Target="slides/slide248.xml"/><Relationship Id="rId278" Type="http://schemas.openxmlformats.org/officeDocument/2006/relationships/slide" Target="slides/slide269.xml"/><Relationship Id="rId303" Type="http://schemas.openxmlformats.org/officeDocument/2006/relationships/slide" Target="slides/slide294.xml"/><Relationship Id="rId42" Type="http://schemas.openxmlformats.org/officeDocument/2006/relationships/slide" Target="slides/slide33.xml"/><Relationship Id="rId84" Type="http://schemas.openxmlformats.org/officeDocument/2006/relationships/slide" Target="slides/slide75.xml"/><Relationship Id="rId138" Type="http://schemas.openxmlformats.org/officeDocument/2006/relationships/slide" Target="slides/slide129.xml"/><Relationship Id="rId345" Type="http://schemas.microsoft.com/office/2016/11/relationships/changesInfo" Target="changesInfos/changesInfo1.xml"/><Relationship Id="rId191" Type="http://schemas.openxmlformats.org/officeDocument/2006/relationships/slide" Target="slides/slide182.xml"/><Relationship Id="rId205" Type="http://schemas.openxmlformats.org/officeDocument/2006/relationships/slide" Target="slides/slide196.xml"/><Relationship Id="rId247" Type="http://schemas.openxmlformats.org/officeDocument/2006/relationships/slide" Target="slides/slide238.xml"/><Relationship Id="rId107" Type="http://schemas.openxmlformats.org/officeDocument/2006/relationships/slide" Target="slides/slide98.xml"/><Relationship Id="rId289" Type="http://schemas.openxmlformats.org/officeDocument/2006/relationships/slide" Target="slides/slide280.xml"/><Relationship Id="rId11" Type="http://schemas.openxmlformats.org/officeDocument/2006/relationships/slide" Target="slides/slide2.xml"/><Relationship Id="rId53" Type="http://schemas.openxmlformats.org/officeDocument/2006/relationships/slide" Target="slides/slide44.xml"/><Relationship Id="rId149" Type="http://schemas.openxmlformats.org/officeDocument/2006/relationships/slide" Target="slides/slide140.xml"/><Relationship Id="rId314" Type="http://schemas.openxmlformats.org/officeDocument/2006/relationships/slide" Target="slides/slide305.xml"/><Relationship Id="rId95" Type="http://schemas.openxmlformats.org/officeDocument/2006/relationships/slide" Target="slides/slide86.xml"/><Relationship Id="rId160" Type="http://schemas.openxmlformats.org/officeDocument/2006/relationships/slide" Target="slides/slide151.xml"/><Relationship Id="rId216" Type="http://schemas.openxmlformats.org/officeDocument/2006/relationships/slide" Target="slides/slide207.xml"/><Relationship Id="rId258" Type="http://schemas.openxmlformats.org/officeDocument/2006/relationships/slide" Target="slides/slide249.xml"/><Relationship Id="rId22" Type="http://schemas.openxmlformats.org/officeDocument/2006/relationships/slide" Target="slides/slide13.xml"/><Relationship Id="rId64" Type="http://schemas.openxmlformats.org/officeDocument/2006/relationships/slide" Target="slides/slide55.xml"/><Relationship Id="rId118" Type="http://schemas.openxmlformats.org/officeDocument/2006/relationships/slide" Target="slides/slide109.xml"/><Relationship Id="rId325" Type="http://schemas.openxmlformats.org/officeDocument/2006/relationships/slide" Target="slides/slide316.xml"/><Relationship Id="rId171" Type="http://schemas.openxmlformats.org/officeDocument/2006/relationships/slide" Target="slides/slide162.xml"/><Relationship Id="rId227" Type="http://schemas.openxmlformats.org/officeDocument/2006/relationships/slide" Target="slides/slide218.xml"/><Relationship Id="rId269" Type="http://schemas.openxmlformats.org/officeDocument/2006/relationships/slide" Target="slides/slide260.xml"/><Relationship Id="rId33" Type="http://schemas.openxmlformats.org/officeDocument/2006/relationships/slide" Target="slides/slide24.xml"/><Relationship Id="rId129" Type="http://schemas.openxmlformats.org/officeDocument/2006/relationships/slide" Target="slides/slide120.xml"/><Relationship Id="rId280" Type="http://schemas.openxmlformats.org/officeDocument/2006/relationships/slide" Target="slides/slide271.xml"/><Relationship Id="rId336" Type="http://schemas.openxmlformats.org/officeDocument/2006/relationships/slide" Target="slides/slide327.xml"/><Relationship Id="rId75" Type="http://schemas.openxmlformats.org/officeDocument/2006/relationships/slide" Target="slides/slide66.xml"/><Relationship Id="rId140" Type="http://schemas.openxmlformats.org/officeDocument/2006/relationships/slide" Target="slides/slide131.xml"/><Relationship Id="rId182" Type="http://schemas.openxmlformats.org/officeDocument/2006/relationships/slide" Target="slides/slide173.xml"/><Relationship Id="rId6" Type="http://schemas.openxmlformats.org/officeDocument/2006/relationships/slideMaster" Target="slideMasters/slideMaster6.xml"/><Relationship Id="rId238" Type="http://schemas.openxmlformats.org/officeDocument/2006/relationships/slide" Target="slides/slide229.xml"/><Relationship Id="rId291" Type="http://schemas.openxmlformats.org/officeDocument/2006/relationships/slide" Target="slides/slide282.xml"/><Relationship Id="rId305" Type="http://schemas.openxmlformats.org/officeDocument/2006/relationships/slide" Target="slides/slide296.xml"/><Relationship Id="rId44" Type="http://schemas.openxmlformats.org/officeDocument/2006/relationships/slide" Target="slides/slide35.xml"/><Relationship Id="rId86" Type="http://schemas.openxmlformats.org/officeDocument/2006/relationships/slide" Target="slides/slide77.xml"/><Relationship Id="rId151" Type="http://schemas.openxmlformats.org/officeDocument/2006/relationships/slide" Target="slides/slide142.xml"/><Relationship Id="rId193" Type="http://schemas.openxmlformats.org/officeDocument/2006/relationships/slide" Target="slides/slide184.xml"/><Relationship Id="rId207" Type="http://schemas.openxmlformats.org/officeDocument/2006/relationships/slide" Target="slides/slide198.xml"/><Relationship Id="rId249" Type="http://schemas.openxmlformats.org/officeDocument/2006/relationships/slide" Target="slides/slide240.xml"/><Relationship Id="rId13" Type="http://schemas.openxmlformats.org/officeDocument/2006/relationships/slide" Target="slides/slide4.xml"/><Relationship Id="rId109" Type="http://schemas.openxmlformats.org/officeDocument/2006/relationships/slide" Target="slides/slide100.xml"/><Relationship Id="rId260" Type="http://schemas.openxmlformats.org/officeDocument/2006/relationships/slide" Target="slides/slide251.xml"/><Relationship Id="rId316" Type="http://schemas.openxmlformats.org/officeDocument/2006/relationships/slide" Target="slides/slide307.xml"/><Relationship Id="rId55" Type="http://schemas.openxmlformats.org/officeDocument/2006/relationships/slide" Target="slides/slide46.xml"/><Relationship Id="rId97" Type="http://schemas.openxmlformats.org/officeDocument/2006/relationships/slide" Target="slides/slide88.xml"/><Relationship Id="rId120" Type="http://schemas.openxmlformats.org/officeDocument/2006/relationships/slide" Target="slides/slide111.xml"/><Relationship Id="rId162" Type="http://schemas.openxmlformats.org/officeDocument/2006/relationships/slide" Target="slides/slide153.xml"/><Relationship Id="rId218" Type="http://schemas.openxmlformats.org/officeDocument/2006/relationships/slide" Target="slides/slide209.xml"/><Relationship Id="rId271" Type="http://schemas.openxmlformats.org/officeDocument/2006/relationships/slide" Target="slides/slide262.xml"/><Relationship Id="rId24" Type="http://schemas.openxmlformats.org/officeDocument/2006/relationships/slide" Target="slides/slide15.xml"/><Relationship Id="rId66" Type="http://schemas.openxmlformats.org/officeDocument/2006/relationships/slide" Target="slides/slide57.xml"/><Relationship Id="rId131" Type="http://schemas.openxmlformats.org/officeDocument/2006/relationships/slide" Target="slides/slide122.xml"/><Relationship Id="rId327" Type="http://schemas.openxmlformats.org/officeDocument/2006/relationships/slide" Target="slides/slide318.xml"/><Relationship Id="rId173" Type="http://schemas.openxmlformats.org/officeDocument/2006/relationships/slide" Target="slides/slide164.xml"/><Relationship Id="rId229" Type="http://schemas.openxmlformats.org/officeDocument/2006/relationships/slide" Target="slides/slide220.xml"/><Relationship Id="rId240" Type="http://schemas.openxmlformats.org/officeDocument/2006/relationships/slide" Target="slides/slide2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na Logvinenko" userId="f6fbaecb-6ef3-4e9a-8937-977630a541f2" providerId="ADAL" clId="{CBBADD7E-CE51-408E-929F-000E5FA13200}"/>
    <pc:docChg chg="custSel addSld delSld modSld sldOrd delMainMaster modSection">
      <pc:chgData name="Mariana Logvinenko" userId="f6fbaecb-6ef3-4e9a-8937-977630a541f2" providerId="ADAL" clId="{CBBADD7E-CE51-408E-929F-000E5FA13200}" dt="2021-09-17T07:19:31.202" v="11401" actId="2696"/>
      <pc:docMkLst>
        <pc:docMk/>
      </pc:docMkLst>
      <pc:sldChg chg="del">
        <pc:chgData name="Mariana Logvinenko" userId="f6fbaecb-6ef3-4e9a-8937-977630a541f2" providerId="ADAL" clId="{CBBADD7E-CE51-408E-929F-000E5FA13200}" dt="2021-09-07T18:30:30.237" v="1" actId="2696"/>
        <pc:sldMkLst>
          <pc:docMk/>
          <pc:sldMk cId="4247937135" sldId="256"/>
        </pc:sldMkLst>
      </pc:sldChg>
      <pc:sldChg chg="add">
        <pc:chgData name="Mariana Logvinenko" userId="f6fbaecb-6ef3-4e9a-8937-977630a541f2" providerId="ADAL" clId="{CBBADD7E-CE51-408E-929F-000E5FA13200}" dt="2021-09-07T18:30:21.114" v="0"/>
        <pc:sldMkLst>
          <pc:docMk/>
          <pc:sldMk cId="1970629809" sldId="258"/>
        </pc:sldMkLst>
      </pc:sldChg>
      <pc:sldChg chg="add">
        <pc:chgData name="Mariana Logvinenko" userId="f6fbaecb-6ef3-4e9a-8937-977630a541f2" providerId="ADAL" clId="{CBBADD7E-CE51-408E-929F-000E5FA13200}" dt="2021-09-07T18:30:21.114" v="0"/>
        <pc:sldMkLst>
          <pc:docMk/>
          <pc:sldMk cId="874517301" sldId="259"/>
        </pc:sldMkLst>
      </pc:sldChg>
      <pc:sldChg chg="add modNotesTx">
        <pc:chgData name="Mariana Logvinenko" userId="f6fbaecb-6ef3-4e9a-8937-977630a541f2" providerId="ADAL" clId="{CBBADD7E-CE51-408E-929F-000E5FA13200}" dt="2021-09-08T11:18:13.875" v="11358" actId="20577"/>
        <pc:sldMkLst>
          <pc:docMk/>
          <pc:sldMk cId="2941063814" sldId="260"/>
        </pc:sldMkLst>
      </pc:sldChg>
      <pc:sldChg chg="add">
        <pc:chgData name="Mariana Logvinenko" userId="f6fbaecb-6ef3-4e9a-8937-977630a541f2" providerId="ADAL" clId="{CBBADD7E-CE51-408E-929F-000E5FA13200}" dt="2021-09-07T18:30:21.114" v="0"/>
        <pc:sldMkLst>
          <pc:docMk/>
          <pc:sldMk cId="4114340332" sldId="262"/>
        </pc:sldMkLst>
      </pc:sldChg>
      <pc:sldChg chg="add modNotesTx">
        <pc:chgData name="Mariana Logvinenko" userId="f6fbaecb-6ef3-4e9a-8937-977630a541f2" providerId="ADAL" clId="{CBBADD7E-CE51-408E-929F-000E5FA13200}" dt="2021-09-08T11:21:29.227" v="11367" actId="20577"/>
        <pc:sldMkLst>
          <pc:docMk/>
          <pc:sldMk cId="876250965" sldId="264"/>
        </pc:sldMkLst>
      </pc:sldChg>
      <pc:sldChg chg="add">
        <pc:chgData name="Mariana Logvinenko" userId="f6fbaecb-6ef3-4e9a-8937-977630a541f2" providerId="ADAL" clId="{CBBADD7E-CE51-408E-929F-000E5FA13200}" dt="2021-09-07T18:30:21.114" v="0"/>
        <pc:sldMkLst>
          <pc:docMk/>
          <pc:sldMk cId="3706552238" sldId="265"/>
        </pc:sldMkLst>
      </pc:sldChg>
      <pc:sldChg chg="add">
        <pc:chgData name="Mariana Logvinenko" userId="f6fbaecb-6ef3-4e9a-8937-977630a541f2" providerId="ADAL" clId="{CBBADD7E-CE51-408E-929F-000E5FA13200}" dt="2021-09-07T18:30:21.114" v="0"/>
        <pc:sldMkLst>
          <pc:docMk/>
          <pc:sldMk cId="2784053018" sldId="266"/>
        </pc:sldMkLst>
      </pc:sldChg>
      <pc:sldChg chg="add">
        <pc:chgData name="Mariana Logvinenko" userId="f6fbaecb-6ef3-4e9a-8937-977630a541f2" providerId="ADAL" clId="{CBBADD7E-CE51-408E-929F-000E5FA13200}" dt="2021-09-07T18:30:21.114" v="0"/>
        <pc:sldMkLst>
          <pc:docMk/>
          <pc:sldMk cId="1369280617" sldId="267"/>
        </pc:sldMkLst>
      </pc:sldChg>
      <pc:sldChg chg="add">
        <pc:chgData name="Mariana Logvinenko" userId="f6fbaecb-6ef3-4e9a-8937-977630a541f2" providerId="ADAL" clId="{CBBADD7E-CE51-408E-929F-000E5FA13200}" dt="2021-09-07T18:30:21.114" v="0"/>
        <pc:sldMkLst>
          <pc:docMk/>
          <pc:sldMk cId="1468053678" sldId="268"/>
        </pc:sldMkLst>
      </pc:sldChg>
      <pc:sldChg chg="add">
        <pc:chgData name="Mariana Logvinenko" userId="f6fbaecb-6ef3-4e9a-8937-977630a541f2" providerId="ADAL" clId="{CBBADD7E-CE51-408E-929F-000E5FA13200}" dt="2021-09-07T18:30:21.114" v="0"/>
        <pc:sldMkLst>
          <pc:docMk/>
          <pc:sldMk cId="1906726624" sldId="269"/>
        </pc:sldMkLst>
      </pc:sldChg>
      <pc:sldChg chg="add mod modShow">
        <pc:chgData name="Mariana Logvinenko" userId="f6fbaecb-6ef3-4e9a-8937-977630a541f2" providerId="ADAL" clId="{CBBADD7E-CE51-408E-929F-000E5FA13200}" dt="2021-09-09T07:45:25.603" v="11394" actId="729"/>
        <pc:sldMkLst>
          <pc:docMk/>
          <pc:sldMk cId="1307732806" sldId="270"/>
        </pc:sldMkLst>
      </pc:sldChg>
      <pc:sldChg chg="add mod modShow modNotesTx">
        <pc:chgData name="Mariana Logvinenko" userId="f6fbaecb-6ef3-4e9a-8937-977630a541f2" providerId="ADAL" clId="{CBBADD7E-CE51-408E-929F-000E5FA13200}" dt="2021-09-09T07:43:02.215" v="11386" actId="729"/>
        <pc:sldMkLst>
          <pc:docMk/>
          <pc:sldMk cId="3114872505" sldId="271"/>
        </pc:sldMkLst>
      </pc:sldChg>
      <pc:sldChg chg="add">
        <pc:chgData name="Mariana Logvinenko" userId="f6fbaecb-6ef3-4e9a-8937-977630a541f2" providerId="ADAL" clId="{CBBADD7E-CE51-408E-929F-000E5FA13200}" dt="2021-09-07T18:30:21.114" v="0"/>
        <pc:sldMkLst>
          <pc:docMk/>
          <pc:sldMk cId="2115015061" sldId="272"/>
        </pc:sldMkLst>
      </pc:sldChg>
      <pc:sldChg chg="add mod modShow">
        <pc:chgData name="Mariana Logvinenko" userId="f6fbaecb-6ef3-4e9a-8937-977630a541f2" providerId="ADAL" clId="{CBBADD7E-CE51-408E-929F-000E5FA13200}" dt="2021-09-09T07:45:25.603" v="11394" actId="729"/>
        <pc:sldMkLst>
          <pc:docMk/>
          <pc:sldMk cId="2960151578" sldId="274"/>
        </pc:sldMkLst>
      </pc:sldChg>
      <pc:sldChg chg="add mod modShow">
        <pc:chgData name="Mariana Logvinenko" userId="f6fbaecb-6ef3-4e9a-8937-977630a541f2" providerId="ADAL" clId="{CBBADD7E-CE51-408E-929F-000E5FA13200}" dt="2021-09-09T07:43:02.215" v="11386" actId="729"/>
        <pc:sldMkLst>
          <pc:docMk/>
          <pc:sldMk cId="4147694129" sldId="275"/>
        </pc:sldMkLst>
      </pc:sldChg>
      <pc:sldChg chg="add">
        <pc:chgData name="Mariana Logvinenko" userId="f6fbaecb-6ef3-4e9a-8937-977630a541f2" providerId="ADAL" clId="{CBBADD7E-CE51-408E-929F-000E5FA13200}" dt="2021-09-07T18:30:21.114" v="0"/>
        <pc:sldMkLst>
          <pc:docMk/>
          <pc:sldMk cId="3925052038" sldId="276"/>
        </pc:sldMkLst>
      </pc:sldChg>
      <pc:sldChg chg="add mod modShow">
        <pc:chgData name="Mariana Logvinenko" userId="f6fbaecb-6ef3-4e9a-8937-977630a541f2" providerId="ADAL" clId="{CBBADD7E-CE51-408E-929F-000E5FA13200}" dt="2021-09-09T07:45:25.603" v="11394" actId="729"/>
        <pc:sldMkLst>
          <pc:docMk/>
          <pc:sldMk cId="373344990" sldId="277"/>
        </pc:sldMkLst>
      </pc:sldChg>
      <pc:sldChg chg="add mod modShow">
        <pc:chgData name="Mariana Logvinenko" userId="f6fbaecb-6ef3-4e9a-8937-977630a541f2" providerId="ADAL" clId="{CBBADD7E-CE51-408E-929F-000E5FA13200}" dt="2021-09-09T07:45:25.603" v="11394" actId="729"/>
        <pc:sldMkLst>
          <pc:docMk/>
          <pc:sldMk cId="1397385045" sldId="278"/>
        </pc:sldMkLst>
      </pc:sldChg>
      <pc:sldChg chg="add">
        <pc:chgData name="Mariana Logvinenko" userId="f6fbaecb-6ef3-4e9a-8937-977630a541f2" providerId="ADAL" clId="{CBBADD7E-CE51-408E-929F-000E5FA13200}" dt="2021-09-07T18:30:21.114" v="0"/>
        <pc:sldMkLst>
          <pc:docMk/>
          <pc:sldMk cId="728128856" sldId="279"/>
        </pc:sldMkLst>
      </pc:sldChg>
      <pc:sldChg chg="add">
        <pc:chgData name="Mariana Logvinenko" userId="f6fbaecb-6ef3-4e9a-8937-977630a541f2" providerId="ADAL" clId="{CBBADD7E-CE51-408E-929F-000E5FA13200}" dt="2021-09-07T18:30:21.114" v="0"/>
        <pc:sldMkLst>
          <pc:docMk/>
          <pc:sldMk cId="1842189609" sldId="280"/>
        </pc:sldMkLst>
      </pc:sldChg>
      <pc:sldChg chg="add">
        <pc:chgData name="Mariana Logvinenko" userId="f6fbaecb-6ef3-4e9a-8937-977630a541f2" providerId="ADAL" clId="{CBBADD7E-CE51-408E-929F-000E5FA13200}" dt="2021-09-07T18:30:21.114" v="0"/>
        <pc:sldMkLst>
          <pc:docMk/>
          <pc:sldMk cId="124077573" sldId="281"/>
        </pc:sldMkLst>
      </pc:sldChg>
      <pc:sldChg chg="add">
        <pc:chgData name="Mariana Logvinenko" userId="f6fbaecb-6ef3-4e9a-8937-977630a541f2" providerId="ADAL" clId="{CBBADD7E-CE51-408E-929F-000E5FA13200}" dt="2021-09-07T18:30:21.114" v="0"/>
        <pc:sldMkLst>
          <pc:docMk/>
          <pc:sldMk cId="4233086477" sldId="282"/>
        </pc:sldMkLst>
      </pc:sldChg>
      <pc:sldChg chg="add ord">
        <pc:chgData name="Mariana Logvinenko" userId="f6fbaecb-6ef3-4e9a-8937-977630a541f2" providerId="ADAL" clId="{CBBADD7E-CE51-408E-929F-000E5FA13200}" dt="2021-09-08T11:15:20.407" v="11349"/>
        <pc:sldMkLst>
          <pc:docMk/>
          <pc:sldMk cId="3586390243" sldId="285"/>
        </pc:sldMkLst>
      </pc:sldChg>
      <pc:sldChg chg="add ord">
        <pc:chgData name="Mariana Logvinenko" userId="f6fbaecb-6ef3-4e9a-8937-977630a541f2" providerId="ADAL" clId="{CBBADD7E-CE51-408E-929F-000E5FA13200}" dt="2021-09-08T11:15:20.407" v="11349"/>
        <pc:sldMkLst>
          <pc:docMk/>
          <pc:sldMk cId="1148905179" sldId="286"/>
        </pc:sldMkLst>
      </pc:sldChg>
      <pc:sldChg chg="add mod modShow">
        <pc:chgData name="Mariana Logvinenko" userId="f6fbaecb-6ef3-4e9a-8937-977630a541f2" providerId="ADAL" clId="{CBBADD7E-CE51-408E-929F-000E5FA13200}" dt="2021-09-09T07:45:25.603" v="11394" actId="729"/>
        <pc:sldMkLst>
          <pc:docMk/>
          <pc:sldMk cId="959855090" sldId="287"/>
        </pc:sldMkLst>
      </pc:sldChg>
      <pc:sldChg chg="add mod modShow">
        <pc:chgData name="Mariana Logvinenko" userId="f6fbaecb-6ef3-4e9a-8937-977630a541f2" providerId="ADAL" clId="{CBBADD7E-CE51-408E-929F-000E5FA13200}" dt="2021-09-09T07:43:05.578" v="11387" actId="729"/>
        <pc:sldMkLst>
          <pc:docMk/>
          <pc:sldMk cId="1003691614" sldId="288"/>
        </pc:sldMkLst>
      </pc:sldChg>
      <pc:sldChg chg="add mod modShow">
        <pc:chgData name="Mariana Logvinenko" userId="f6fbaecb-6ef3-4e9a-8937-977630a541f2" providerId="ADAL" clId="{CBBADD7E-CE51-408E-929F-000E5FA13200}" dt="2021-09-09T07:43:07.705" v="11388" actId="729"/>
        <pc:sldMkLst>
          <pc:docMk/>
          <pc:sldMk cId="283720539" sldId="289"/>
        </pc:sldMkLst>
      </pc:sldChg>
      <pc:sldChg chg="add">
        <pc:chgData name="Mariana Logvinenko" userId="f6fbaecb-6ef3-4e9a-8937-977630a541f2" providerId="ADAL" clId="{CBBADD7E-CE51-408E-929F-000E5FA13200}" dt="2021-09-07T18:30:21.114" v="0"/>
        <pc:sldMkLst>
          <pc:docMk/>
          <pc:sldMk cId="4261934824" sldId="290"/>
        </pc:sldMkLst>
      </pc:sldChg>
      <pc:sldChg chg="add modNotesTx">
        <pc:chgData name="Mariana Logvinenko" userId="f6fbaecb-6ef3-4e9a-8937-977630a541f2" providerId="ADAL" clId="{CBBADD7E-CE51-408E-929F-000E5FA13200}" dt="2021-09-08T06:39:40.786" v="6974" actId="20577"/>
        <pc:sldMkLst>
          <pc:docMk/>
          <pc:sldMk cId="4190817944" sldId="292"/>
        </pc:sldMkLst>
      </pc:sldChg>
      <pc:sldChg chg="add mod modShow">
        <pc:chgData name="Mariana Logvinenko" userId="f6fbaecb-6ef3-4e9a-8937-977630a541f2" providerId="ADAL" clId="{CBBADD7E-CE51-408E-929F-000E5FA13200}" dt="2021-09-09T07:43:27.417" v="11390" actId="729"/>
        <pc:sldMkLst>
          <pc:docMk/>
          <pc:sldMk cId="59105265" sldId="294"/>
        </pc:sldMkLst>
      </pc:sldChg>
      <pc:sldChg chg="add">
        <pc:chgData name="Mariana Logvinenko" userId="f6fbaecb-6ef3-4e9a-8937-977630a541f2" providerId="ADAL" clId="{CBBADD7E-CE51-408E-929F-000E5FA13200}" dt="2021-09-07T18:30:21.114" v="0"/>
        <pc:sldMkLst>
          <pc:docMk/>
          <pc:sldMk cId="3812291717" sldId="295"/>
        </pc:sldMkLst>
      </pc:sldChg>
      <pc:sldChg chg="add mod modShow">
        <pc:chgData name="Mariana Logvinenko" userId="f6fbaecb-6ef3-4e9a-8937-977630a541f2" providerId="ADAL" clId="{CBBADD7E-CE51-408E-929F-000E5FA13200}" dt="2021-09-09T07:43:27.417" v="11390" actId="729"/>
        <pc:sldMkLst>
          <pc:docMk/>
          <pc:sldMk cId="1261000777" sldId="296"/>
        </pc:sldMkLst>
      </pc:sldChg>
      <pc:sldChg chg="add">
        <pc:chgData name="Mariana Logvinenko" userId="f6fbaecb-6ef3-4e9a-8937-977630a541f2" providerId="ADAL" clId="{CBBADD7E-CE51-408E-929F-000E5FA13200}" dt="2021-09-07T18:30:21.114" v="0"/>
        <pc:sldMkLst>
          <pc:docMk/>
          <pc:sldMk cId="4226337938" sldId="297"/>
        </pc:sldMkLst>
      </pc:sldChg>
      <pc:sldChg chg="add">
        <pc:chgData name="Mariana Logvinenko" userId="f6fbaecb-6ef3-4e9a-8937-977630a541f2" providerId="ADAL" clId="{CBBADD7E-CE51-408E-929F-000E5FA13200}" dt="2021-09-07T18:30:21.114" v="0"/>
        <pc:sldMkLst>
          <pc:docMk/>
          <pc:sldMk cId="2901620989" sldId="298"/>
        </pc:sldMkLst>
      </pc:sldChg>
      <pc:sldChg chg="add modNotesTx">
        <pc:chgData name="Mariana Logvinenko" userId="f6fbaecb-6ef3-4e9a-8937-977630a541f2" providerId="ADAL" clId="{CBBADD7E-CE51-408E-929F-000E5FA13200}" dt="2021-09-08T06:55:39.609" v="9082" actId="20577"/>
        <pc:sldMkLst>
          <pc:docMk/>
          <pc:sldMk cId="3843901346" sldId="299"/>
        </pc:sldMkLst>
      </pc:sldChg>
      <pc:sldChg chg="add mod modShow">
        <pc:chgData name="Mariana Logvinenko" userId="f6fbaecb-6ef3-4e9a-8937-977630a541f2" providerId="ADAL" clId="{CBBADD7E-CE51-408E-929F-000E5FA13200}" dt="2021-09-09T07:39:27.996" v="11370" actId="729"/>
        <pc:sldMkLst>
          <pc:docMk/>
          <pc:sldMk cId="3393757995" sldId="300"/>
        </pc:sldMkLst>
      </pc:sldChg>
      <pc:sldChg chg="add mod modShow">
        <pc:chgData name="Mariana Logvinenko" userId="f6fbaecb-6ef3-4e9a-8937-977630a541f2" providerId="ADAL" clId="{CBBADD7E-CE51-408E-929F-000E5FA13200}" dt="2021-09-09T07:39:27.996" v="11370" actId="729"/>
        <pc:sldMkLst>
          <pc:docMk/>
          <pc:sldMk cId="1848173241" sldId="301"/>
        </pc:sldMkLst>
      </pc:sldChg>
      <pc:sldChg chg="add mod modShow">
        <pc:chgData name="Mariana Logvinenko" userId="f6fbaecb-6ef3-4e9a-8937-977630a541f2" providerId="ADAL" clId="{CBBADD7E-CE51-408E-929F-000E5FA13200}" dt="2021-09-09T07:43:27.417" v="11390" actId="729"/>
        <pc:sldMkLst>
          <pc:docMk/>
          <pc:sldMk cId="85073521" sldId="302"/>
        </pc:sldMkLst>
      </pc:sldChg>
      <pc:sldChg chg="add mod modShow">
        <pc:chgData name="Mariana Logvinenko" userId="f6fbaecb-6ef3-4e9a-8937-977630a541f2" providerId="ADAL" clId="{CBBADD7E-CE51-408E-929F-000E5FA13200}" dt="2021-09-09T07:43:27.417" v="11390" actId="729"/>
        <pc:sldMkLst>
          <pc:docMk/>
          <pc:sldMk cId="2822810171" sldId="303"/>
        </pc:sldMkLst>
      </pc:sldChg>
      <pc:sldChg chg="add">
        <pc:chgData name="Mariana Logvinenko" userId="f6fbaecb-6ef3-4e9a-8937-977630a541f2" providerId="ADAL" clId="{CBBADD7E-CE51-408E-929F-000E5FA13200}" dt="2021-09-07T18:30:21.114" v="0"/>
        <pc:sldMkLst>
          <pc:docMk/>
          <pc:sldMk cId="1480242789" sldId="304"/>
        </pc:sldMkLst>
      </pc:sldChg>
      <pc:sldChg chg="add mod modShow">
        <pc:chgData name="Mariana Logvinenko" userId="f6fbaecb-6ef3-4e9a-8937-977630a541f2" providerId="ADAL" clId="{CBBADD7E-CE51-408E-929F-000E5FA13200}" dt="2021-09-09T07:43:27.417" v="11390" actId="729"/>
        <pc:sldMkLst>
          <pc:docMk/>
          <pc:sldMk cId="4148009689" sldId="309"/>
        </pc:sldMkLst>
      </pc:sldChg>
      <pc:sldChg chg="add mod modShow">
        <pc:chgData name="Mariana Logvinenko" userId="f6fbaecb-6ef3-4e9a-8937-977630a541f2" providerId="ADAL" clId="{CBBADD7E-CE51-408E-929F-000E5FA13200}" dt="2021-09-09T07:43:02.215" v="11386" actId="729"/>
        <pc:sldMkLst>
          <pc:docMk/>
          <pc:sldMk cId="1068410433" sldId="312"/>
        </pc:sldMkLst>
      </pc:sldChg>
      <pc:sldChg chg="add mod modShow">
        <pc:chgData name="Mariana Logvinenko" userId="f6fbaecb-6ef3-4e9a-8937-977630a541f2" providerId="ADAL" clId="{CBBADD7E-CE51-408E-929F-000E5FA13200}" dt="2021-09-09T07:41:01.073" v="11374" actId="729"/>
        <pc:sldMkLst>
          <pc:docMk/>
          <pc:sldMk cId="3586455076" sldId="316"/>
        </pc:sldMkLst>
      </pc:sldChg>
      <pc:sldChg chg="add">
        <pc:chgData name="Mariana Logvinenko" userId="f6fbaecb-6ef3-4e9a-8937-977630a541f2" providerId="ADAL" clId="{CBBADD7E-CE51-408E-929F-000E5FA13200}" dt="2021-09-07T18:30:21.114" v="0"/>
        <pc:sldMkLst>
          <pc:docMk/>
          <pc:sldMk cId="263560172" sldId="320"/>
        </pc:sldMkLst>
      </pc:sldChg>
      <pc:sldChg chg="add">
        <pc:chgData name="Mariana Logvinenko" userId="f6fbaecb-6ef3-4e9a-8937-977630a541f2" providerId="ADAL" clId="{CBBADD7E-CE51-408E-929F-000E5FA13200}" dt="2021-09-07T18:30:21.114" v="0"/>
        <pc:sldMkLst>
          <pc:docMk/>
          <pc:sldMk cId="218694103" sldId="321"/>
        </pc:sldMkLst>
      </pc:sldChg>
      <pc:sldChg chg="add ord modNotesTx">
        <pc:chgData name="Mariana Logvinenko" userId="f6fbaecb-6ef3-4e9a-8937-977630a541f2" providerId="ADAL" clId="{CBBADD7E-CE51-408E-929F-000E5FA13200}" dt="2021-09-08T11:08:21.794" v="11325" actId="20577"/>
        <pc:sldMkLst>
          <pc:docMk/>
          <pc:sldMk cId="194490709" sldId="322"/>
        </pc:sldMkLst>
      </pc:sldChg>
      <pc:sldChg chg="add ord modNotesTx">
        <pc:chgData name="Mariana Logvinenko" userId="f6fbaecb-6ef3-4e9a-8937-977630a541f2" providerId="ADAL" clId="{CBBADD7E-CE51-408E-929F-000E5FA13200}" dt="2021-09-08T04:57:14.420" v="9"/>
        <pc:sldMkLst>
          <pc:docMk/>
          <pc:sldMk cId="3923625285" sldId="323"/>
        </pc:sldMkLst>
      </pc:sldChg>
      <pc:sldChg chg="add modNotesTx">
        <pc:chgData name="Mariana Logvinenko" userId="f6fbaecb-6ef3-4e9a-8937-977630a541f2" providerId="ADAL" clId="{CBBADD7E-CE51-408E-929F-000E5FA13200}" dt="2021-09-08T04:57:23.289" v="10"/>
        <pc:sldMkLst>
          <pc:docMk/>
          <pc:sldMk cId="919651409" sldId="324"/>
        </pc:sldMkLst>
      </pc:sldChg>
      <pc:sldChg chg="add modNotesTx">
        <pc:chgData name="Mariana Logvinenko" userId="f6fbaecb-6ef3-4e9a-8937-977630a541f2" providerId="ADAL" clId="{CBBADD7E-CE51-408E-929F-000E5FA13200}" dt="2021-09-08T05:08:56.528" v="716" actId="20577"/>
        <pc:sldMkLst>
          <pc:docMk/>
          <pc:sldMk cId="671427977" sldId="325"/>
        </pc:sldMkLst>
      </pc:sldChg>
      <pc:sldChg chg="add modNotesTx">
        <pc:chgData name="Mariana Logvinenko" userId="f6fbaecb-6ef3-4e9a-8937-977630a541f2" providerId="ADAL" clId="{CBBADD7E-CE51-408E-929F-000E5FA13200}" dt="2021-09-08T11:09:56.325" v="11333" actId="20577"/>
        <pc:sldMkLst>
          <pc:docMk/>
          <pc:sldMk cId="1174581283" sldId="326"/>
        </pc:sldMkLst>
      </pc:sldChg>
      <pc:sldChg chg="add modNotesTx">
        <pc:chgData name="Mariana Logvinenko" userId="f6fbaecb-6ef3-4e9a-8937-977630a541f2" providerId="ADAL" clId="{CBBADD7E-CE51-408E-929F-000E5FA13200}" dt="2021-09-08T05:11:28.850" v="1081" actId="20577"/>
        <pc:sldMkLst>
          <pc:docMk/>
          <pc:sldMk cId="3447680799" sldId="327"/>
        </pc:sldMkLst>
      </pc:sldChg>
      <pc:sldChg chg="add modNotesTx">
        <pc:chgData name="Mariana Logvinenko" userId="f6fbaecb-6ef3-4e9a-8937-977630a541f2" providerId="ADAL" clId="{CBBADD7E-CE51-408E-929F-000E5FA13200}" dt="2021-09-08T11:10:34.990" v="11339" actId="20577"/>
        <pc:sldMkLst>
          <pc:docMk/>
          <pc:sldMk cId="80574671" sldId="328"/>
        </pc:sldMkLst>
      </pc:sldChg>
      <pc:sldChg chg="add">
        <pc:chgData name="Mariana Logvinenko" userId="f6fbaecb-6ef3-4e9a-8937-977630a541f2" providerId="ADAL" clId="{CBBADD7E-CE51-408E-929F-000E5FA13200}" dt="2021-09-07T18:30:21.114" v="0"/>
        <pc:sldMkLst>
          <pc:docMk/>
          <pc:sldMk cId="3120271428" sldId="329"/>
        </pc:sldMkLst>
      </pc:sldChg>
      <pc:sldChg chg="add">
        <pc:chgData name="Mariana Logvinenko" userId="f6fbaecb-6ef3-4e9a-8937-977630a541f2" providerId="ADAL" clId="{CBBADD7E-CE51-408E-929F-000E5FA13200}" dt="2021-09-07T18:30:21.114" v="0"/>
        <pc:sldMkLst>
          <pc:docMk/>
          <pc:sldMk cId="2863874696" sldId="330"/>
        </pc:sldMkLst>
      </pc:sldChg>
      <pc:sldChg chg="add">
        <pc:chgData name="Mariana Logvinenko" userId="f6fbaecb-6ef3-4e9a-8937-977630a541f2" providerId="ADAL" clId="{CBBADD7E-CE51-408E-929F-000E5FA13200}" dt="2021-09-07T18:30:21.114" v="0"/>
        <pc:sldMkLst>
          <pc:docMk/>
          <pc:sldMk cId="2815429161" sldId="331"/>
        </pc:sldMkLst>
      </pc:sldChg>
      <pc:sldChg chg="add">
        <pc:chgData name="Mariana Logvinenko" userId="f6fbaecb-6ef3-4e9a-8937-977630a541f2" providerId="ADAL" clId="{CBBADD7E-CE51-408E-929F-000E5FA13200}" dt="2021-09-07T18:30:21.114" v="0"/>
        <pc:sldMkLst>
          <pc:docMk/>
          <pc:sldMk cId="1333378438" sldId="332"/>
        </pc:sldMkLst>
      </pc:sldChg>
      <pc:sldChg chg="add mod modShow modNotesTx">
        <pc:chgData name="Mariana Logvinenko" userId="f6fbaecb-6ef3-4e9a-8937-977630a541f2" providerId="ADAL" clId="{CBBADD7E-CE51-408E-929F-000E5FA13200}" dt="2021-09-09T07:43:27.417" v="11390" actId="729"/>
        <pc:sldMkLst>
          <pc:docMk/>
          <pc:sldMk cId="2415839098" sldId="333"/>
        </pc:sldMkLst>
      </pc:sldChg>
      <pc:sldChg chg="add">
        <pc:chgData name="Mariana Logvinenko" userId="f6fbaecb-6ef3-4e9a-8937-977630a541f2" providerId="ADAL" clId="{CBBADD7E-CE51-408E-929F-000E5FA13200}" dt="2021-09-07T18:30:21.114" v="0"/>
        <pc:sldMkLst>
          <pc:docMk/>
          <pc:sldMk cId="4272576881" sldId="334"/>
        </pc:sldMkLst>
      </pc:sldChg>
      <pc:sldChg chg="add">
        <pc:chgData name="Mariana Logvinenko" userId="f6fbaecb-6ef3-4e9a-8937-977630a541f2" providerId="ADAL" clId="{CBBADD7E-CE51-408E-929F-000E5FA13200}" dt="2021-09-07T18:30:21.114" v="0"/>
        <pc:sldMkLst>
          <pc:docMk/>
          <pc:sldMk cId="723175777" sldId="335"/>
        </pc:sldMkLst>
      </pc:sldChg>
      <pc:sldChg chg="add">
        <pc:chgData name="Mariana Logvinenko" userId="f6fbaecb-6ef3-4e9a-8937-977630a541f2" providerId="ADAL" clId="{CBBADD7E-CE51-408E-929F-000E5FA13200}" dt="2021-09-07T18:30:21.114" v="0"/>
        <pc:sldMkLst>
          <pc:docMk/>
          <pc:sldMk cId="2933214528" sldId="336"/>
        </pc:sldMkLst>
      </pc:sldChg>
      <pc:sldChg chg="add">
        <pc:chgData name="Mariana Logvinenko" userId="f6fbaecb-6ef3-4e9a-8937-977630a541f2" providerId="ADAL" clId="{CBBADD7E-CE51-408E-929F-000E5FA13200}" dt="2021-09-07T18:30:21.114" v="0"/>
        <pc:sldMkLst>
          <pc:docMk/>
          <pc:sldMk cId="3455817407" sldId="337"/>
        </pc:sldMkLst>
      </pc:sldChg>
      <pc:sldChg chg="add mod modShow">
        <pc:chgData name="Mariana Logvinenko" userId="f6fbaecb-6ef3-4e9a-8937-977630a541f2" providerId="ADAL" clId="{CBBADD7E-CE51-408E-929F-000E5FA13200}" dt="2021-09-09T07:42:10.584" v="11382" actId="729"/>
        <pc:sldMkLst>
          <pc:docMk/>
          <pc:sldMk cId="898812551" sldId="339"/>
        </pc:sldMkLst>
      </pc:sldChg>
      <pc:sldChg chg="add">
        <pc:chgData name="Mariana Logvinenko" userId="f6fbaecb-6ef3-4e9a-8937-977630a541f2" providerId="ADAL" clId="{CBBADD7E-CE51-408E-929F-000E5FA13200}" dt="2021-09-07T18:30:21.114" v="0"/>
        <pc:sldMkLst>
          <pc:docMk/>
          <pc:sldMk cId="1962374255" sldId="343"/>
        </pc:sldMkLst>
      </pc:sldChg>
      <pc:sldChg chg="add mod modShow">
        <pc:chgData name="Mariana Logvinenko" userId="f6fbaecb-6ef3-4e9a-8937-977630a541f2" providerId="ADAL" clId="{CBBADD7E-CE51-408E-929F-000E5FA13200}" dt="2021-09-09T07:40:22.707" v="11372" actId="729"/>
        <pc:sldMkLst>
          <pc:docMk/>
          <pc:sldMk cId="3239853966" sldId="346"/>
        </pc:sldMkLst>
      </pc:sldChg>
      <pc:sldChg chg="add">
        <pc:chgData name="Mariana Logvinenko" userId="f6fbaecb-6ef3-4e9a-8937-977630a541f2" providerId="ADAL" clId="{CBBADD7E-CE51-408E-929F-000E5FA13200}" dt="2021-09-07T18:30:21.114" v="0"/>
        <pc:sldMkLst>
          <pc:docMk/>
          <pc:sldMk cId="20377372" sldId="348"/>
        </pc:sldMkLst>
      </pc:sldChg>
      <pc:sldChg chg="add">
        <pc:chgData name="Mariana Logvinenko" userId="f6fbaecb-6ef3-4e9a-8937-977630a541f2" providerId="ADAL" clId="{CBBADD7E-CE51-408E-929F-000E5FA13200}" dt="2021-09-07T18:30:21.114" v="0"/>
        <pc:sldMkLst>
          <pc:docMk/>
          <pc:sldMk cId="174753734" sldId="350"/>
        </pc:sldMkLst>
      </pc:sldChg>
      <pc:sldChg chg="add">
        <pc:chgData name="Mariana Logvinenko" userId="f6fbaecb-6ef3-4e9a-8937-977630a541f2" providerId="ADAL" clId="{CBBADD7E-CE51-408E-929F-000E5FA13200}" dt="2021-09-07T18:30:21.114" v="0"/>
        <pc:sldMkLst>
          <pc:docMk/>
          <pc:sldMk cId="2163717117" sldId="354"/>
        </pc:sldMkLst>
      </pc:sldChg>
      <pc:sldChg chg="add">
        <pc:chgData name="Mariana Logvinenko" userId="f6fbaecb-6ef3-4e9a-8937-977630a541f2" providerId="ADAL" clId="{CBBADD7E-CE51-408E-929F-000E5FA13200}" dt="2021-09-07T18:30:21.114" v="0"/>
        <pc:sldMkLst>
          <pc:docMk/>
          <pc:sldMk cId="4134004119" sldId="355"/>
        </pc:sldMkLst>
      </pc:sldChg>
      <pc:sldChg chg="add mod modShow">
        <pc:chgData name="Mariana Logvinenko" userId="f6fbaecb-6ef3-4e9a-8937-977630a541f2" providerId="ADAL" clId="{CBBADD7E-CE51-408E-929F-000E5FA13200}" dt="2021-09-09T07:41:22.366" v="11377" actId="729"/>
        <pc:sldMkLst>
          <pc:docMk/>
          <pc:sldMk cId="3053825717" sldId="358"/>
        </pc:sldMkLst>
      </pc:sldChg>
      <pc:sldChg chg="add">
        <pc:chgData name="Mariana Logvinenko" userId="f6fbaecb-6ef3-4e9a-8937-977630a541f2" providerId="ADAL" clId="{CBBADD7E-CE51-408E-929F-000E5FA13200}" dt="2021-09-07T18:30:21.114" v="0"/>
        <pc:sldMkLst>
          <pc:docMk/>
          <pc:sldMk cId="452868091" sldId="359"/>
        </pc:sldMkLst>
      </pc:sldChg>
      <pc:sldChg chg="add mod modShow">
        <pc:chgData name="Mariana Logvinenko" userId="f6fbaecb-6ef3-4e9a-8937-977630a541f2" providerId="ADAL" clId="{CBBADD7E-CE51-408E-929F-000E5FA13200}" dt="2021-09-09T07:41:22.366" v="11377" actId="729"/>
        <pc:sldMkLst>
          <pc:docMk/>
          <pc:sldMk cId="2170939979" sldId="361"/>
        </pc:sldMkLst>
      </pc:sldChg>
      <pc:sldChg chg="add">
        <pc:chgData name="Mariana Logvinenko" userId="f6fbaecb-6ef3-4e9a-8937-977630a541f2" providerId="ADAL" clId="{CBBADD7E-CE51-408E-929F-000E5FA13200}" dt="2021-09-07T18:30:21.114" v="0"/>
        <pc:sldMkLst>
          <pc:docMk/>
          <pc:sldMk cId="3636013607" sldId="362"/>
        </pc:sldMkLst>
      </pc:sldChg>
      <pc:sldChg chg="add mod modShow">
        <pc:chgData name="Mariana Logvinenko" userId="f6fbaecb-6ef3-4e9a-8937-977630a541f2" providerId="ADAL" clId="{CBBADD7E-CE51-408E-929F-000E5FA13200}" dt="2021-09-09T07:41:22.366" v="11377" actId="729"/>
        <pc:sldMkLst>
          <pc:docMk/>
          <pc:sldMk cId="3716734699" sldId="363"/>
        </pc:sldMkLst>
      </pc:sldChg>
      <pc:sldChg chg="add">
        <pc:chgData name="Mariana Logvinenko" userId="f6fbaecb-6ef3-4e9a-8937-977630a541f2" providerId="ADAL" clId="{CBBADD7E-CE51-408E-929F-000E5FA13200}" dt="2021-09-07T18:30:21.114" v="0"/>
        <pc:sldMkLst>
          <pc:docMk/>
          <pc:sldMk cId="3550583525" sldId="364"/>
        </pc:sldMkLst>
      </pc:sldChg>
      <pc:sldChg chg="add mod modShow">
        <pc:chgData name="Mariana Logvinenko" userId="f6fbaecb-6ef3-4e9a-8937-977630a541f2" providerId="ADAL" clId="{CBBADD7E-CE51-408E-929F-000E5FA13200}" dt="2021-09-09T07:41:22.366" v="11377" actId="729"/>
        <pc:sldMkLst>
          <pc:docMk/>
          <pc:sldMk cId="1091058722" sldId="366"/>
        </pc:sldMkLst>
      </pc:sldChg>
      <pc:sldChg chg="add mod modShow">
        <pc:chgData name="Mariana Logvinenko" userId="f6fbaecb-6ef3-4e9a-8937-977630a541f2" providerId="ADAL" clId="{CBBADD7E-CE51-408E-929F-000E5FA13200}" dt="2021-09-09T07:41:22.366" v="11377" actId="729"/>
        <pc:sldMkLst>
          <pc:docMk/>
          <pc:sldMk cId="3316625911" sldId="367"/>
        </pc:sldMkLst>
      </pc:sldChg>
      <pc:sldChg chg="add mod modShow">
        <pc:chgData name="Mariana Logvinenko" userId="f6fbaecb-6ef3-4e9a-8937-977630a541f2" providerId="ADAL" clId="{CBBADD7E-CE51-408E-929F-000E5FA13200}" dt="2021-09-09T07:41:35.684" v="11378" actId="729"/>
        <pc:sldMkLst>
          <pc:docMk/>
          <pc:sldMk cId="2968327163" sldId="368"/>
        </pc:sldMkLst>
      </pc:sldChg>
      <pc:sldChg chg="add">
        <pc:chgData name="Mariana Logvinenko" userId="f6fbaecb-6ef3-4e9a-8937-977630a541f2" providerId="ADAL" clId="{CBBADD7E-CE51-408E-929F-000E5FA13200}" dt="2021-09-07T18:30:21.114" v="0"/>
        <pc:sldMkLst>
          <pc:docMk/>
          <pc:sldMk cId="1410980843" sldId="369"/>
        </pc:sldMkLst>
      </pc:sldChg>
      <pc:sldChg chg="add">
        <pc:chgData name="Mariana Logvinenko" userId="f6fbaecb-6ef3-4e9a-8937-977630a541f2" providerId="ADAL" clId="{CBBADD7E-CE51-408E-929F-000E5FA13200}" dt="2021-09-07T18:30:21.114" v="0"/>
        <pc:sldMkLst>
          <pc:docMk/>
          <pc:sldMk cId="2633223989" sldId="370"/>
        </pc:sldMkLst>
      </pc:sldChg>
      <pc:sldChg chg="add">
        <pc:chgData name="Mariana Logvinenko" userId="f6fbaecb-6ef3-4e9a-8937-977630a541f2" providerId="ADAL" clId="{CBBADD7E-CE51-408E-929F-000E5FA13200}" dt="2021-09-07T18:30:21.114" v="0"/>
        <pc:sldMkLst>
          <pc:docMk/>
          <pc:sldMk cId="1422913563" sldId="371"/>
        </pc:sldMkLst>
      </pc:sldChg>
      <pc:sldChg chg="add mod modShow">
        <pc:chgData name="Mariana Logvinenko" userId="f6fbaecb-6ef3-4e9a-8937-977630a541f2" providerId="ADAL" clId="{CBBADD7E-CE51-408E-929F-000E5FA13200}" dt="2021-09-09T07:42:10.584" v="11382" actId="729"/>
        <pc:sldMkLst>
          <pc:docMk/>
          <pc:sldMk cId="1867090512" sldId="373"/>
        </pc:sldMkLst>
      </pc:sldChg>
      <pc:sldChg chg="add">
        <pc:chgData name="Mariana Logvinenko" userId="f6fbaecb-6ef3-4e9a-8937-977630a541f2" providerId="ADAL" clId="{CBBADD7E-CE51-408E-929F-000E5FA13200}" dt="2021-09-07T18:30:21.114" v="0"/>
        <pc:sldMkLst>
          <pc:docMk/>
          <pc:sldMk cId="1265945765" sldId="380"/>
        </pc:sldMkLst>
      </pc:sldChg>
      <pc:sldChg chg="add">
        <pc:chgData name="Mariana Logvinenko" userId="f6fbaecb-6ef3-4e9a-8937-977630a541f2" providerId="ADAL" clId="{CBBADD7E-CE51-408E-929F-000E5FA13200}" dt="2021-09-07T18:30:21.114" v="0"/>
        <pc:sldMkLst>
          <pc:docMk/>
          <pc:sldMk cId="2780446889" sldId="391"/>
        </pc:sldMkLst>
      </pc:sldChg>
      <pc:sldChg chg="add">
        <pc:chgData name="Mariana Logvinenko" userId="f6fbaecb-6ef3-4e9a-8937-977630a541f2" providerId="ADAL" clId="{CBBADD7E-CE51-408E-929F-000E5FA13200}" dt="2021-09-07T18:30:21.114" v="0"/>
        <pc:sldMkLst>
          <pc:docMk/>
          <pc:sldMk cId="1751389036" sldId="392"/>
        </pc:sldMkLst>
      </pc:sldChg>
      <pc:sldChg chg="add">
        <pc:chgData name="Mariana Logvinenko" userId="f6fbaecb-6ef3-4e9a-8937-977630a541f2" providerId="ADAL" clId="{CBBADD7E-CE51-408E-929F-000E5FA13200}" dt="2021-09-07T18:30:21.114" v="0"/>
        <pc:sldMkLst>
          <pc:docMk/>
          <pc:sldMk cId="1160501555" sldId="401"/>
        </pc:sldMkLst>
      </pc:sldChg>
      <pc:sldChg chg="add mod modShow">
        <pc:chgData name="Mariana Logvinenko" userId="f6fbaecb-6ef3-4e9a-8937-977630a541f2" providerId="ADAL" clId="{CBBADD7E-CE51-408E-929F-000E5FA13200}" dt="2021-09-09T07:45:03.451" v="11393" actId="729"/>
        <pc:sldMkLst>
          <pc:docMk/>
          <pc:sldMk cId="819374775" sldId="421"/>
        </pc:sldMkLst>
      </pc:sldChg>
      <pc:sldChg chg="add mod modShow">
        <pc:chgData name="Mariana Logvinenko" userId="f6fbaecb-6ef3-4e9a-8937-977630a541f2" providerId="ADAL" clId="{CBBADD7E-CE51-408E-929F-000E5FA13200}" dt="2021-09-09T07:45:25.603" v="11394" actId="729"/>
        <pc:sldMkLst>
          <pc:docMk/>
          <pc:sldMk cId="1213002508" sldId="423"/>
        </pc:sldMkLst>
      </pc:sldChg>
      <pc:sldChg chg="add">
        <pc:chgData name="Mariana Logvinenko" userId="f6fbaecb-6ef3-4e9a-8937-977630a541f2" providerId="ADAL" clId="{CBBADD7E-CE51-408E-929F-000E5FA13200}" dt="2021-09-07T18:30:21.114" v="0"/>
        <pc:sldMkLst>
          <pc:docMk/>
          <pc:sldMk cId="1021098787" sldId="435"/>
        </pc:sldMkLst>
      </pc:sldChg>
      <pc:sldChg chg="add">
        <pc:chgData name="Mariana Logvinenko" userId="f6fbaecb-6ef3-4e9a-8937-977630a541f2" providerId="ADAL" clId="{CBBADD7E-CE51-408E-929F-000E5FA13200}" dt="2021-09-07T18:30:21.114" v="0"/>
        <pc:sldMkLst>
          <pc:docMk/>
          <pc:sldMk cId="2751776188" sldId="455"/>
        </pc:sldMkLst>
      </pc:sldChg>
      <pc:sldChg chg="add mod modShow">
        <pc:chgData name="Mariana Logvinenko" userId="f6fbaecb-6ef3-4e9a-8937-977630a541f2" providerId="ADAL" clId="{CBBADD7E-CE51-408E-929F-000E5FA13200}" dt="2021-09-09T07:41:42.633" v="11379" actId="729"/>
        <pc:sldMkLst>
          <pc:docMk/>
          <pc:sldMk cId="403660545" sldId="458"/>
        </pc:sldMkLst>
      </pc:sldChg>
      <pc:sldChg chg="add mod modShow">
        <pc:chgData name="Mariana Logvinenko" userId="f6fbaecb-6ef3-4e9a-8937-977630a541f2" providerId="ADAL" clId="{CBBADD7E-CE51-408E-929F-000E5FA13200}" dt="2021-09-09T07:43:12.622" v="11389" actId="729"/>
        <pc:sldMkLst>
          <pc:docMk/>
          <pc:sldMk cId="514022627" sldId="463"/>
        </pc:sldMkLst>
      </pc:sldChg>
      <pc:sldChg chg="add mod modShow">
        <pc:chgData name="Mariana Logvinenko" userId="f6fbaecb-6ef3-4e9a-8937-977630a541f2" providerId="ADAL" clId="{CBBADD7E-CE51-408E-929F-000E5FA13200}" dt="2021-09-09T07:42:10.584" v="11382" actId="729"/>
        <pc:sldMkLst>
          <pc:docMk/>
          <pc:sldMk cId="76358118" sldId="468"/>
        </pc:sldMkLst>
      </pc:sldChg>
      <pc:sldChg chg="add mod modShow">
        <pc:chgData name="Mariana Logvinenko" userId="f6fbaecb-6ef3-4e9a-8937-977630a541f2" providerId="ADAL" clId="{CBBADD7E-CE51-408E-929F-000E5FA13200}" dt="2021-09-09T07:40:30.977" v="11373" actId="729"/>
        <pc:sldMkLst>
          <pc:docMk/>
          <pc:sldMk cId="2903098308" sldId="478"/>
        </pc:sldMkLst>
      </pc:sldChg>
      <pc:sldChg chg="add">
        <pc:chgData name="Mariana Logvinenko" userId="f6fbaecb-6ef3-4e9a-8937-977630a541f2" providerId="ADAL" clId="{CBBADD7E-CE51-408E-929F-000E5FA13200}" dt="2021-09-07T18:30:21.114" v="0"/>
        <pc:sldMkLst>
          <pc:docMk/>
          <pc:sldMk cId="2975486681" sldId="495"/>
        </pc:sldMkLst>
      </pc:sldChg>
      <pc:sldChg chg="add modNotesTx">
        <pc:chgData name="Mariana Logvinenko" userId="f6fbaecb-6ef3-4e9a-8937-977630a541f2" providerId="ADAL" clId="{CBBADD7E-CE51-408E-929F-000E5FA13200}" dt="2021-09-08T05:40:40.393" v="3060" actId="20577"/>
        <pc:sldMkLst>
          <pc:docMk/>
          <pc:sldMk cId="3349654508" sldId="501"/>
        </pc:sldMkLst>
      </pc:sldChg>
      <pc:sldChg chg="add modNotesTx">
        <pc:chgData name="Mariana Logvinenko" userId="f6fbaecb-6ef3-4e9a-8937-977630a541f2" providerId="ADAL" clId="{CBBADD7E-CE51-408E-929F-000E5FA13200}" dt="2021-09-08T05:42:20.488" v="3344" actId="20577"/>
        <pc:sldMkLst>
          <pc:docMk/>
          <pc:sldMk cId="96025907" sldId="503"/>
        </pc:sldMkLst>
      </pc:sldChg>
      <pc:sldChg chg="add mod modShow">
        <pc:chgData name="Mariana Logvinenko" userId="f6fbaecb-6ef3-4e9a-8937-977630a541f2" providerId="ADAL" clId="{CBBADD7E-CE51-408E-929F-000E5FA13200}" dt="2021-09-09T07:42:10.584" v="11382" actId="729"/>
        <pc:sldMkLst>
          <pc:docMk/>
          <pc:sldMk cId="2340933294" sldId="505"/>
        </pc:sldMkLst>
      </pc:sldChg>
      <pc:sldChg chg="add mod modShow">
        <pc:chgData name="Mariana Logvinenko" userId="f6fbaecb-6ef3-4e9a-8937-977630a541f2" providerId="ADAL" clId="{CBBADD7E-CE51-408E-929F-000E5FA13200}" dt="2021-09-09T07:41:01.073" v="11374" actId="729"/>
        <pc:sldMkLst>
          <pc:docMk/>
          <pc:sldMk cId="1439975470" sldId="519"/>
        </pc:sldMkLst>
      </pc:sldChg>
      <pc:sldChg chg="add">
        <pc:chgData name="Mariana Logvinenko" userId="f6fbaecb-6ef3-4e9a-8937-977630a541f2" providerId="ADAL" clId="{CBBADD7E-CE51-408E-929F-000E5FA13200}" dt="2021-09-07T18:30:21.114" v="0"/>
        <pc:sldMkLst>
          <pc:docMk/>
          <pc:sldMk cId="383257297" sldId="521"/>
        </pc:sldMkLst>
      </pc:sldChg>
      <pc:sldChg chg="add">
        <pc:chgData name="Mariana Logvinenko" userId="f6fbaecb-6ef3-4e9a-8937-977630a541f2" providerId="ADAL" clId="{CBBADD7E-CE51-408E-929F-000E5FA13200}" dt="2021-09-07T18:30:21.114" v="0"/>
        <pc:sldMkLst>
          <pc:docMk/>
          <pc:sldMk cId="1029668685" sldId="522"/>
        </pc:sldMkLst>
      </pc:sldChg>
      <pc:sldChg chg="add">
        <pc:chgData name="Mariana Logvinenko" userId="f6fbaecb-6ef3-4e9a-8937-977630a541f2" providerId="ADAL" clId="{CBBADD7E-CE51-408E-929F-000E5FA13200}" dt="2021-09-07T18:30:21.114" v="0"/>
        <pc:sldMkLst>
          <pc:docMk/>
          <pc:sldMk cId="4142394993" sldId="523"/>
        </pc:sldMkLst>
      </pc:sldChg>
      <pc:sldChg chg="add">
        <pc:chgData name="Mariana Logvinenko" userId="f6fbaecb-6ef3-4e9a-8937-977630a541f2" providerId="ADAL" clId="{CBBADD7E-CE51-408E-929F-000E5FA13200}" dt="2021-09-07T18:30:21.114" v="0"/>
        <pc:sldMkLst>
          <pc:docMk/>
          <pc:sldMk cId="3188456279" sldId="529"/>
        </pc:sldMkLst>
      </pc:sldChg>
      <pc:sldChg chg="add mod modShow">
        <pc:chgData name="Mariana Logvinenko" userId="f6fbaecb-6ef3-4e9a-8937-977630a541f2" providerId="ADAL" clId="{CBBADD7E-CE51-408E-929F-000E5FA13200}" dt="2021-09-09T07:41:01.073" v="11374" actId="729"/>
        <pc:sldMkLst>
          <pc:docMk/>
          <pc:sldMk cId="4040585265" sldId="530"/>
        </pc:sldMkLst>
      </pc:sldChg>
      <pc:sldChg chg="add">
        <pc:chgData name="Mariana Logvinenko" userId="f6fbaecb-6ef3-4e9a-8937-977630a541f2" providerId="ADAL" clId="{CBBADD7E-CE51-408E-929F-000E5FA13200}" dt="2021-09-07T18:30:21.114" v="0"/>
        <pc:sldMkLst>
          <pc:docMk/>
          <pc:sldMk cId="1055897291" sldId="1565"/>
        </pc:sldMkLst>
      </pc:sldChg>
      <pc:sldChg chg="add">
        <pc:chgData name="Mariana Logvinenko" userId="f6fbaecb-6ef3-4e9a-8937-977630a541f2" providerId="ADAL" clId="{CBBADD7E-CE51-408E-929F-000E5FA13200}" dt="2021-09-07T18:30:21.114" v="0"/>
        <pc:sldMkLst>
          <pc:docMk/>
          <pc:sldMk cId="1299140457" sldId="1566"/>
        </pc:sldMkLst>
      </pc:sldChg>
      <pc:sldChg chg="add">
        <pc:chgData name="Mariana Logvinenko" userId="f6fbaecb-6ef3-4e9a-8937-977630a541f2" providerId="ADAL" clId="{CBBADD7E-CE51-408E-929F-000E5FA13200}" dt="2021-09-07T18:30:21.114" v="0"/>
        <pc:sldMkLst>
          <pc:docMk/>
          <pc:sldMk cId="33620360" sldId="1567"/>
        </pc:sldMkLst>
      </pc:sldChg>
      <pc:sldChg chg="add">
        <pc:chgData name="Mariana Logvinenko" userId="f6fbaecb-6ef3-4e9a-8937-977630a541f2" providerId="ADAL" clId="{CBBADD7E-CE51-408E-929F-000E5FA13200}" dt="2021-09-07T18:30:21.114" v="0"/>
        <pc:sldMkLst>
          <pc:docMk/>
          <pc:sldMk cId="3414200958" sldId="1568"/>
        </pc:sldMkLst>
      </pc:sldChg>
      <pc:sldChg chg="add">
        <pc:chgData name="Mariana Logvinenko" userId="f6fbaecb-6ef3-4e9a-8937-977630a541f2" providerId="ADAL" clId="{CBBADD7E-CE51-408E-929F-000E5FA13200}" dt="2021-09-07T18:30:21.114" v="0"/>
        <pc:sldMkLst>
          <pc:docMk/>
          <pc:sldMk cId="2873873579" sldId="1569"/>
        </pc:sldMkLst>
      </pc:sldChg>
      <pc:sldChg chg="add">
        <pc:chgData name="Mariana Logvinenko" userId="f6fbaecb-6ef3-4e9a-8937-977630a541f2" providerId="ADAL" clId="{CBBADD7E-CE51-408E-929F-000E5FA13200}" dt="2021-09-07T18:30:21.114" v="0"/>
        <pc:sldMkLst>
          <pc:docMk/>
          <pc:sldMk cId="493799319" sldId="1570"/>
        </pc:sldMkLst>
      </pc:sldChg>
      <pc:sldChg chg="add">
        <pc:chgData name="Mariana Logvinenko" userId="f6fbaecb-6ef3-4e9a-8937-977630a541f2" providerId="ADAL" clId="{CBBADD7E-CE51-408E-929F-000E5FA13200}" dt="2021-09-07T18:30:21.114" v="0"/>
        <pc:sldMkLst>
          <pc:docMk/>
          <pc:sldMk cId="2876390220" sldId="1571"/>
        </pc:sldMkLst>
      </pc:sldChg>
      <pc:sldChg chg="add">
        <pc:chgData name="Mariana Logvinenko" userId="f6fbaecb-6ef3-4e9a-8937-977630a541f2" providerId="ADAL" clId="{CBBADD7E-CE51-408E-929F-000E5FA13200}" dt="2021-09-07T18:30:21.114" v="0"/>
        <pc:sldMkLst>
          <pc:docMk/>
          <pc:sldMk cId="467079185" sldId="1572"/>
        </pc:sldMkLst>
      </pc:sldChg>
      <pc:sldChg chg="add mod modShow">
        <pc:chgData name="Mariana Logvinenko" userId="f6fbaecb-6ef3-4e9a-8937-977630a541f2" providerId="ADAL" clId="{CBBADD7E-CE51-408E-929F-000E5FA13200}" dt="2021-09-09T07:41:01.073" v="11374" actId="729"/>
        <pc:sldMkLst>
          <pc:docMk/>
          <pc:sldMk cId="3624743082" sldId="1573"/>
        </pc:sldMkLst>
      </pc:sldChg>
      <pc:sldChg chg="add modNotesTx">
        <pc:chgData name="Mariana Logvinenko" userId="f6fbaecb-6ef3-4e9a-8937-977630a541f2" providerId="ADAL" clId="{CBBADD7E-CE51-408E-929F-000E5FA13200}" dt="2021-09-08T05:36:07.713" v="2573" actId="20577"/>
        <pc:sldMkLst>
          <pc:docMk/>
          <pc:sldMk cId="977006302" sldId="1574"/>
        </pc:sldMkLst>
      </pc:sldChg>
      <pc:sldChg chg="modSp add modNotesTx">
        <pc:chgData name="Mariana Logvinenko" userId="f6fbaecb-6ef3-4e9a-8937-977630a541f2" providerId="ADAL" clId="{CBBADD7E-CE51-408E-929F-000E5FA13200}" dt="2021-09-08T11:08:00.937" v="11324" actId="20577"/>
        <pc:sldMkLst>
          <pc:docMk/>
          <pc:sldMk cId="3013241507" sldId="1575"/>
        </pc:sldMkLst>
        <pc:spChg chg="mod">
          <ac:chgData name="Mariana Logvinenko" userId="f6fbaecb-6ef3-4e9a-8937-977630a541f2" providerId="ADAL" clId="{CBBADD7E-CE51-408E-929F-000E5FA13200}" dt="2021-09-08T10:45:48.057" v="11316" actId="20577"/>
          <ac:spMkLst>
            <pc:docMk/>
            <pc:sldMk cId="3013241507" sldId="1575"/>
            <ac:spMk id="4" creationId="{1BD0DC51-4219-46E5-9245-5EED71183F11}"/>
          </ac:spMkLst>
        </pc:spChg>
      </pc:sldChg>
      <pc:sldChg chg="add mod modShow">
        <pc:chgData name="Mariana Logvinenko" userId="f6fbaecb-6ef3-4e9a-8937-977630a541f2" providerId="ADAL" clId="{CBBADD7E-CE51-408E-929F-000E5FA13200}" dt="2021-09-09T07:42:10.584" v="11382" actId="729"/>
        <pc:sldMkLst>
          <pc:docMk/>
          <pc:sldMk cId="2044510119" sldId="1576"/>
        </pc:sldMkLst>
      </pc:sldChg>
      <pc:sldChg chg="add">
        <pc:chgData name="Mariana Logvinenko" userId="f6fbaecb-6ef3-4e9a-8937-977630a541f2" providerId="ADAL" clId="{CBBADD7E-CE51-408E-929F-000E5FA13200}" dt="2021-09-07T18:30:21.114" v="0"/>
        <pc:sldMkLst>
          <pc:docMk/>
          <pc:sldMk cId="1347815751" sldId="1579"/>
        </pc:sldMkLst>
      </pc:sldChg>
      <pc:sldChg chg="add">
        <pc:chgData name="Mariana Logvinenko" userId="f6fbaecb-6ef3-4e9a-8937-977630a541f2" providerId="ADAL" clId="{CBBADD7E-CE51-408E-929F-000E5FA13200}" dt="2021-09-07T18:30:21.114" v="0"/>
        <pc:sldMkLst>
          <pc:docMk/>
          <pc:sldMk cId="1329170120" sldId="1583"/>
        </pc:sldMkLst>
      </pc:sldChg>
      <pc:sldChg chg="add">
        <pc:chgData name="Mariana Logvinenko" userId="f6fbaecb-6ef3-4e9a-8937-977630a541f2" providerId="ADAL" clId="{CBBADD7E-CE51-408E-929F-000E5FA13200}" dt="2021-09-07T18:30:21.114" v="0"/>
        <pc:sldMkLst>
          <pc:docMk/>
          <pc:sldMk cId="3089315698" sldId="1584"/>
        </pc:sldMkLst>
      </pc:sldChg>
      <pc:sldChg chg="add">
        <pc:chgData name="Mariana Logvinenko" userId="f6fbaecb-6ef3-4e9a-8937-977630a541f2" providerId="ADAL" clId="{CBBADD7E-CE51-408E-929F-000E5FA13200}" dt="2021-09-07T18:30:21.114" v="0"/>
        <pc:sldMkLst>
          <pc:docMk/>
          <pc:sldMk cId="977468245" sldId="8682"/>
        </pc:sldMkLst>
      </pc:sldChg>
      <pc:sldChg chg="add">
        <pc:chgData name="Mariana Logvinenko" userId="f6fbaecb-6ef3-4e9a-8937-977630a541f2" providerId="ADAL" clId="{CBBADD7E-CE51-408E-929F-000E5FA13200}" dt="2021-09-07T18:30:21.114" v="0"/>
        <pc:sldMkLst>
          <pc:docMk/>
          <pc:sldMk cId="3934423691" sldId="8784"/>
        </pc:sldMkLst>
      </pc:sldChg>
      <pc:sldChg chg="add">
        <pc:chgData name="Mariana Logvinenko" userId="f6fbaecb-6ef3-4e9a-8937-977630a541f2" providerId="ADAL" clId="{CBBADD7E-CE51-408E-929F-000E5FA13200}" dt="2021-09-07T18:30:21.114" v="0"/>
        <pc:sldMkLst>
          <pc:docMk/>
          <pc:sldMk cId="2606522720" sldId="8815"/>
        </pc:sldMkLst>
      </pc:sldChg>
      <pc:sldChg chg="add">
        <pc:chgData name="Mariana Logvinenko" userId="f6fbaecb-6ef3-4e9a-8937-977630a541f2" providerId="ADAL" clId="{CBBADD7E-CE51-408E-929F-000E5FA13200}" dt="2021-09-07T18:30:21.114" v="0"/>
        <pc:sldMkLst>
          <pc:docMk/>
          <pc:sldMk cId="3233746210" sldId="8818"/>
        </pc:sldMkLst>
      </pc:sldChg>
      <pc:sldChg chg="add">
        <pc:chgData name="Mariana Logvinenko" userId="f6fbaecb-6ef3-4e9a-8937-977630a541f2" providerId="ADAL" clId="{CBBADD7E-CE51-408E-929F-000E5FA13200}" dt="2021-09-07T18:30:21.114" v="0"/>
        <pc:sldMkLst>
          <pc:docMk/>
          <pc:sldMk cId="3342699643" sldId="8825"/>
        </pc:sldMkLst>
      </pc:sldChg>
      <pc:sldChg chg="add">
        <pc:chgData name="Mariana Logvinenko" userId="f6fbaecb-6ef3-4e9a-8937-977630a541f2" providerId="ADAL" clId="{CBBADD7E-CE51-408E-929F-000E5FA13200}" dt="2021-09-07T18:30:21.114" v="0"/>
        <pc:sldMkLst>
          <pc:docMk/>
          <pc:sldMk cId="2931037438" sldId="8827"/>
        </pc:sldMkLst>
      </pc:sldChg>
      <pc:sldChg chg="add">
        <pc:chgData name="Mariana Logvinenko" userId="f6fbaecb-6ef3-4e9a-8937-977630a541f2" providerId="ADAL" clId="{CBBADD7E-CE51-408E-929F-000E5FA13200}" dt="2021-09-07T18:30:21.114" v="0"/>
        <pc:sldMkLst>
          <pc:docMk/>
          <pc:sldMk cId="1245745810" sldId="8828"/>
        </pc:sldMkLst>
      </pc:sldChg>
      <pc:sldChg chg="add">
        <pc:chgData name="Mariana Logvinenko" userId="f6fbaecb-6ef3-4e9a-8937-977630a541f2" providerId="ADAL" clId="{CBBADD7E-CE51-408E-929F-000E5FA13200}" dt="2021-09-07T18:30:21.114" v="0"/>
        <pc:sldMkLst>
          <pc:docMk/>
          <pc:sldMk cId="100415033" sldId="8830"/>
        </pc:sldMkLst>
      </pc:sldChg>
      <pc:sldChg chg="add">
        <pc:chgData name="Mariana Logvinenko" userId="f6fbaecb-6ef3-4e9a-8937-977630a541f2" providerId="ADAL" clId="{CBBADD7E-CE51-408E-929F-000E5FA13200}" dt="2021-09-07T18:30:21.114" v="0"/>
        <pc:sldMkLst>
          <pc:docMk/>
          <pc:sldMk cId="1281131488" sldId="8831"/>
        </pc:sldMkLst>
      </pc:sldChg>
      <pc:sldChg chg="add">
        <pc:chgData name="Mariana Logvinenko" userId="f6fbaecb-6ef3-4e9a-8937-977630a541f2" providerId="ADAL" clId="{CBBADD7E-CE51-408E-929F-000E5FA13200}" dt="2021-09-07T18:30:21.114" v="0"/>
        <pc:sldMkLst>
          <pc:docMk/>
          <pc:sldMk cId="3389223637" sldId="8833"/>
        </pc:sldMkLst>
      </pc:sldChg>
      <pc:sldChg chg="add">
        <pc:chgData name="Mariana Logvinenko" userId="f6fbaecb-6ef3-4e9a-8937-977630a541f2" providerId="ADAL" clId="{CBBADD7E-CE51-408E-929F-000E5FA13200}" dt="2021-09-07T18:30:21.114" v="0"/>
        <pc:sldMkLst>
          <pc:docMk/>
          <pc:sldMk cId="1796141404" sldId="8834"/>
        </pc:sldMkLst>
      </pc:sldChg>
      <pc:sldChg chg="add">
        <pc:chgData name="Mariana Logvinenko" userId="f6fbaecb-6ef3-4e9a-8937-977630a541f2" providerId="ADAL" clId="{CBBADD7E-CE51-408E-929F-000E5FA13200}" dt="2021-09-07T18:30:21.114" v="0"/>
        <pc:sldMkLst>
          <pc:docMk/>
          <pc:sldMk cId="4098741698" sldId="8835"/>
        </pc:sldMkLst>
      </pc:sldChg>
      <pc:sldChg chg="add">
        <pc:chgData name="Mariana Logvinenko" userId="f6fbaecb-6ef3-4e9a-8937-977630a541f2" providerId="ADAL" clId="{CBBADD7E-CE51-408E-929F-000E5FA13200}" dt="2021-09-07T18:30:21.114" v="0"/>
        <pc:sldMkLst>
          <pc:docMk/>
          <pc:sldMk cId="106197359" sldId="8837"/>
        </pc:sldMkLst>
      </pc:sldChg>
      <pc:sldChg chg="add">
        <pc:chgData name="Mariana Logvinenko" userId="f6fbaecb-6ef3-4e9a-8937-977630a541f2" providerId="ADAL" clId="{CBBADD7E-CE51-408E-929F-000E5FA13200}" dt="2021-09-07T18:30:21.114" v="0"/>
        <pc:sldMkLst>
          <pc:docMk/>
          <pc:sldMk cId="918646377" sldId="8841"/>
        </pc:sldMkLst>
      </pc:sldChg>
      <pc:sldChg chg="add">
        <pc:chgData name="Mariana Logvinenko" userId="f6fbaecb-6ef3-4e9a-8937-977630a541f2" providerId="ADAL" clId="{CBBADD7E-CE51-408E-929F-000E5FA13200}" dt="2021-09-07T18:30:21.114" v="0"/>
        <pc:sldMkLst>
          <pc:docMk/>
          <pc:sldMk cId="3581269756" sldId="8843"/>
        </pc:sldMkLst>
      </pc:sldChg>
      <pc:sldChg chg="add">
        <pc:chgData name="Mariana Logvinenko" userId="f6fbaecb-6ef3-4e9a-8937-977630a541f2" providerId="ADAL" clId="{CBBADD7E-CE51-408E-929F-000E5FA13200}" dt="2021-09-07T18:30:21.114" v="0"/>
        <pc:sldMkLst>
          <pc:docMk/>
          <pc:sldMk cId="3956116663" sldId="8846"/>
        </pc:sldMkLst>
      </pc:sldChg>
      <pc:sldChg chg="add">
        <pc:chgData name="Mariana Logvinenko" userId="f6fbaecb-6ef3-4e9a-8937-977630a541f2" providerId="ADAL" clId="{CBBADD7E-CE51-408E-929F-000E5FA13200}" dt="2021-09-07T18:30:21.114" v="0"/>
        <pc:sldMkLst>
          <pc:docMk/>
          <pc:sldMk cId="832205011" sldId="8848"/>
        </pc:sldMkLst>
      </pc:sldChg>
      <pc:sldChg chg="add mod modShow">
        <pc:chgData name="Mariana Logvinenko" userId="f6fbaecb-6ef3-4e9a-8937-977630a541f2" providerId="ADAL" clId="{CBBADD7E-CE51-408E-929F-000E5FA13200}" dt="2021-09-09T07:45:25.603" v="11394" actId="729"/>
        <pc:sldMkLst>
          <pc:docMk/>
          <pc:sldMk cId="3977786440" sldId="8849"/>
        </pc:sldMkLst>
      </pc:sldChg>
      <pc:sldChg chg="add">
        <pc:chgData name="Mariana Logvinenko" userId="f6fbaecb-6ef3-4e9a-8937-977630a541f2" providerId="ADAL" clId="{CBBADD7E-CE51-408E-929F-000E5FA13200}" dt="2021-09-07T18:30:21.114" v="0"/>
        <pc:sldMkLst>
          <pc:docMk/>
          <pc:sldMk cId="2706807039" sldId="8850"/>
        </pc:sldMkLst>
      </pc:sldChg>
      <pc:sldChg chg="add">
        <pc:chgData name="Mariana Logvinenko" userId="f6fbaecb-6ef3-4e9a-8937-977630a541f2" providerId="ADAL" clId="{CBBADD7E-CE51-408E-929F-000E5FA13200}" dt="2021-09-07T18:30:21.114" v="0"/>
        <pc:sldMkLst>
          <pc:docMk/>
          <pc:sldMk cId="2252042619" sldId="8854"/>
        </pc:sldMkLst>
      </pc:sldChg>
      <pc:sldChg chg="add">
        <pc:chgData name="Mariana Logvinenko" userId="f6fbaecb-6ef3-4e9a-8937-977630a541f2" providerId="ADAL" clId="{CBBADD7E-CE51-408E-929F-000E5FA13200}" dt="2021-09-07T18:30:21.114" v="0"/>
        <pc:sldMkLst>
          <pc:docMk/>
          <pc:sldMk cId="863933846" sldId="8855"/>
        </pc:sldMkLst>
      </pc:sldChg>
      <pc:sldChg chg="add">
        <pc:chgData name="Mariana Logvinenko" userId="f6fbaecb-6ef3-4e9a-8937-977630a541f2" providerId="ADAL" clId="{CBBADD7E-CE51-408E-929F-000E5FA13200}" dt="2021-09-07T18:30:21.114" v="0"/>
        <pc:sldMkLst>
          <pc:docMk/>
          <pc:sldMk cId="1200099247" sldId="8856"/>
        </pc:sldMkLst>
      </pc:sldChg>
      <pc:sldChg chg="add">
        <pc:chgData name="Mariana Logvinenko" userId="f6fbaecb-6ef3-4e9a-8937-977630a541f2" providerId="ADAL" clId="{CBBADD7E-CE51-408E-929F-000E5FA13200}" dt="2021-09-07T18:30:21.114" v="0"/>
        <pc:sldMkLst>
          <pc:docMk/>
          <pc:sldMk cId="754363676" sldId="8861"/>
        </pc:sldMkLst>
      </pc:sldChg>
      <pc:sldChg chg="add">
        <pc:chgData name="Mariana Logvinenko" userId="f6fbaecb-6ef3-4e9a-8937-977630a541f2" providerId="ADAL" clId="{CBBADD7E-CE51-408E-929F-000E5FA13200}" dt="2021-09-07T18:30:21.114" v="0"/>
        <pc:sldMkLst>
          <pc:docMk/>
          <pc:sldMk cId="9383641" sldId="8862"/>
        </pc:sldMkLst>
      </pc:sldChg>
      <pc:sldChg chg="add">
        <pc:chgData name="Mariana Logvinenko" userId="f6fbaecb-6ef3-4e9a-8937-977630a541f2" providerId="ADAL" clId="{CBBADD7E-CE51-408E-929F-000E5FA13200}" dt="2021-09-07T18:30:21.114" v="0"/>
        <pc:sldMkLst>
          <pc:docMk/>
          <pc:sldMk cId="2240163915" sldId="8863"/>
        </pc:sldMkLst>
      </pc:sldChg>
      <pc:sldChg chg="add">
        <pc:chgData name="Mariana Logvinenko" userId="f6fbaecb-6ef3-4e9a-8937-977630a541f2" providerId="ADAL" clId="{CBBADD7E-CE51-408E-929F-000E5FA13200}" dt="2021-09-07T18:30:21.114" v="0"/>
        <pc:sldMkLst>
          <pc:docMk/>
          <pc:sldMk cId="550451494" sldId="8865"/>
        </pc:sldMkLst>
      </pc:sldChg>
      <pc:sldChg chg="add">
        <pc:chgData name="Mariana Logvinenko" userId="f6fbaecb-6ef3-4e9a-8937-977630a541f2" providerId="ADAL" clId="{CBBADD7E-CE51-408E-929F-000E5FA13200}" dt="2021-09-07T18:30:21.114" v="0"/>
        <pc:sldMkLst>
          <pc:docMk/>
          <pc:sldMk cId="1954723328" sldId="8866"/>
        </pc:sldMkLst>
      </pc:sldChg>
      <pc:sldChg chg="add">
        <pc:chgData name="Mariana Logvinenko" userId="f6fbaecb-6ef3-4e9a-8937-977630a541f2" providerId="ADAL" clId="{CBBADD7E-CE51-408E-929F-000E5FA13200}" dt="2021-09-07T18:30:21.114" v="0"/>
        <pc:sldMkLst>
          <pc:docMk/>
          <pc:sldMk cId="2693408093" sldId="8867"/>
        </pc:sldMkLst>
      </pc:sldChg>
      <pc:sldChg chg="add">
        <pc:chgData name="Mariana Logvinenko" userId="f6fbaecb-6ef3-4e9a-8937-977630a541f2" providerId="ADAL" clId="{CBBADD7E-CE51-408E-929F-000E5FA13200}" dt="2021-09-07T18:30:21.114" v="0"/>
        <pc:sldMkLst>
          <pc:docMk/>
          <pc:sldMk cId="1574312097" sldId="8868"/>
        </pc:sldMkLst>
      </pc:sldChg>
      <pc:sldChg chg="add">
        <pc:chgData name="Mariana Logvinenko" userId="f6fbaecb-6ef3-4e9a-8937-977630a541f2" providerId="ADAL" clId="{CBBADD7E-CE51-408E-929F-000E5FA13200}" dt="2021-09-07T18:30:21.114" v="0"/>
        <pc:sldMkLst>
          <pc:docMk/>
          <pc:sldMk cId="3182227084" sldId="8869"/>
        </pc:sldMkLst>
      </pc:sldChg>
      <pc:sldChg chg="add">
        <pc:chgData name="Mariana Logvinenko" userId="f6fbaecb-6ef3-4e9a-8937-977630a541f2" providerId="ADAL" clId="{CBBADD7E-CE51-408E-929F-000E5FA13200}" dt="2021-09-07T18:30:21.114" v="0"/>
        <pc:sldMkLst>
          <pc:docMk/>
          <pc:sldMk cId="302058887" sldId="8870"/>
        </pc:sldMkLst>
      </pc:sldChg>
      <pc:sldChg chg="add">
        <pc:chgData name="Mariana Logvinenko" userId="f6fbaecb-6ef3-4e9a-8937-977630a541f2" providerId="ADAL" clId="{CBBADD7E-CE51-408E-929F-000E5FA13200}" dt="2021-09-07T18:30:21.114" v="0"/>
        <pc:sldMkLst>
          <pc:docMk/>
          <pc:sldMk cId="1244907438" sldId="8871"/>
        </pc:sldMkLst>
      </pc:sldChg>
      <pc:sldChg chg="add">
        <pc:chgData name="Mariana Logvinenko" userId="f6fbaecb-6ef3-4e9a-8937-977630a541f2" providerId="ADAL" clId="{CBBADD7E-CE51-408E-929F-000E5FA13200}" dt="2021-09-07T18:30:21.114" v="0"/>
        <pc:sldMkLst>
          <pc:docMk/>
          <pc:sldMk cId="470356850" sldId="8872"/>
        </pc:sldMkLst>
      </pc:sldChg>
      <pc:sldChg chg="add">
        <pc:chgData name="Mariana Logvinenko" userId="f6fbaecb-6ef3-4e9a-8937-977630a541f2" providerId="ADAL" clId="{CBBADD7E-CE51-408E-929F-000E5FA13200}" dt="2021-09-07T18:30:21.114" v="0"/>
        <pc:sldMkLst>
          <pc:docMk/>
          <pc:sldMk cId="2176770001" sldId="8873"/>
        </pc:sldMkLst>
      </pc:sldChg>
      <pc:sldChg chg="add">
        <pc:chgData name="Mariana Logvinenko" userId="f6fbaecb-6ef3-4e9a-8937-977630a541f2" providerId="ADAL" clId="{CBBADD7E-CE51-408E-929F-000E5FA13200}" dt="2021-09-07T18:30:21.114" v="0"/>
        <pc:sldMkLst>
          <pc:docMk/>
          <pc:sldMk cId="4001989491" sldId="8874"/>
        </pc:sldMkLst>
      </pc:sldChg>
      <pc:sldChg chg="add mod modShow">
        <pc:chgData name="Mariana Logvinenko" userId="f6fbaecb-6ef3-4e9a-8937-977630a541f2" providerId="ADAL" clId="{CBBADD7E-CE51-408E-929F-000E5FA13200}" dt="2021-09-09T07:37:53.718" v="11369" actId="729"/>
        <pc:sldMkLst>
          <pc:docMk/>
          <pc:sldMk cId="1581174729" sldId="8875"/>
        </pc:sldMkLst>
      </pc:sldChg>
      <pc:sldChg chg="add">
        <pc:chgData name="Mariana Logvinenko" userId="f6fbaecb-6ef3-4e9a-8937-977630a541f2" providerId="ADAL" clId="{CBBADD7E-CE51-408E-929F-000E5FA13200}" dt="2021-09-07T18:30:21.114" v="0"/>
        <pc:sldMkLst>
          <pc:docMk/>
          <pc:sldMk cId="3950262723" sldId="8876"/>
        </pc:sldMkLst>
      </pc:sldChg>
      <pc:sldChg chg="add">
        <pc:chgData name="Mariana Logvinenko" userId="f6fbaecb-6ef3-4e9a-8937-977630a541f2" providerId="ADAL" clId="{CBBADD7E-CE51-408E-929F-000E5FA13200}" dt="2021-09-07T18:30:21.114" v="0"/>
        <pc:sldMkLst>
          <pc:docMk/>
          <pc:sldMk cId="2939018498" sldId="8877"/>
        </pc:sldMkLst>
      </pc:sldChg>
      <pc:sldChg chg="add">
        <pc:chgData name="Mariana Logvinenko" userId="f6fbaecb-6ef3-4e9a-8937-977630a541f2" providerId="ADAL" clId="{CBBADD7E-CE51-408E-929F-000E5FA13200}" dt="2021-09-07T18:30:21.114" v="0"/>
        <pc:sldMkLst>
          <pc:docMk/>
          <pc:sldMk cId="3528813744" sldId="8878"/>
        </pc:sldMkLst>
      </pc:sldChg>
      <pc:sldChg chg="add">
        <pc:chgData name="Mariana Logvinenko" userId="f6fbaecb-6ef3-4e9a-8937-977630a541f2" providerId="ADAL" clId="{CBBADD7E-CE51-408E-929F-000E5FA13200}" dt="2021-09-07T18:30:21.114" v="0"/>
        <pc:sldMkLst>
          <pc:docMk/>
          <pc:sldMk cId="1582852914" sldId="8879"/>
        </pc:sldMkLst>
      </pc:sldChg>
      <pc:sldChg chg="add">
        <pc:chgData name="Mariana Logvinenko" userId="f6fbaecb-6ef3-4e9a-8937-977630a541f2" providerId="ADAL" clId="{CBBADD7E-CE51-408E-929F-000E5FA13200}" dt="2021-09-07T18:30:21.114" v="0"/>
        <pc:sldMkLst>
          <pc:docMk/>
          <pc:sldMk cId="1351562223" sldId="8880"/>
        </pc:sldMkLst>
      </pc:sldChg>
      <pc:sldChg chg="add modNotesTx">
        <pc:chgData name="Mariana Logvinenko" userId="f6fbaecb-6ef3-4e9a-8937-977630a541f2" providerId="ADAL" clId="{CBBADD7E-CE51-408E-929F-000E5FA13200}" dt="2021-09-08T05:25:59.859" v="1745" actId="20577"/>
        <pc:sldMkLst>
          <pc:docMk/>
          <pc:sldMk cId="46365653" sldId="8881"/>
        </pc:sldMkLst>
      </pc:sldChg>
      <pc:sldChg chg="add">
        <pc:chgData name="Mariana Logvinenko" userId="f6fbaecb-6ef3-4e9a-8937-977630a541f2" providerId="ADAL" clId="{CBBADD7E-CE51-408E-929F-000E5FA13200}" dt="2021-09-07T18:30:21.114" v="0"/>
        <pc:sldMkLst>
          <pc:docMk/>
          <pc:sldMk cId="2757754045" sldId="8882"/>
        </pc:sldMkLst>
      </pc:sldChg>
      <pc:sldChg chg="add mod modShow">
        <pc:chgData name="Mariana Logvinenko" userId="f6fbaecb-6ef3-4e9a-8937-977630a541f2" providerId="ADAL" clId="{CBBADD7E-CE51-408E-929F-000E5FA13200}" dt="2021-09-09T07:41:01.073" v="11374" actId="729"/>
        <pc:sldMkLst>
          <pc:docMk/>
          <pc:sldMk cId="4060547655" sldId="8883"/>
        </pc:sldMkLst>
      </pc:sldChg>
      <pc:sldChg chg="add">
        <pc:chgData name="Mariana Logvinenko" userId="f6fbaecb-6ef3-4e9a-8937-977630a541f2" providerId="ADAL" clId="{CBBADD7E-CE51-408E-929F-000E5FA13200}" dt="2021-09-07T18:30:21.114" v="0"/>
        <pc:sldMkLst>
          <pc:docMk/>
          <pc:sldMk cId="2771855040" sldId="8885"/>
        </pc:sldMkLst>
      </pc:sldChg>
      <pc:sldChg chg="add">
        <pc:chgData name="Mariana Logvinenko" userId="f6fbaecb-6ef3-4e9a-8937-977630a541f2" providerId="ADAL" clId="{CBBADD7E-CE51-408E-929F-000E5FA13200}" dt="2021-09-07T18:30:21.114" v="0"/>
        <pc:sldMkLst>
          <pc:docMk/>
          <pc:sldMk cId="732711621" sldId="8886"/>
        </pc:sldMkLst>
      </pc:sldChg>
      <pc:sldChg chg="add">
        <pc:chgData name="Mariana Logvinenko" userId="f6fbaecb-6ef3-4e9a-8937-977630a541f2" providerId="ADAL" clId="{CBBADD7E-CE51-408E-929F-000E5FA13200}" dt="2021-09-07T18:30:21.114" v="0"/>
        <pc:sldMkLst>
          <pc:docMk/>
          <pc:sldMk cId="1460959221" sldId="8887"/>
        </pc:sldMkLst>
      </pc:sldChg>
      <pc:sldChg chg="add mod modShow">
        <pc:chgData name="Mariana Logvinenko" userId="f6fbaecb-6ef3-4e9a-8937-977630a541f2" providerId="ADAL" clId="{CBBADD7E-CE51-408E-929F-000E5FA13200}" dt="2021-09-09T07:41:22.366" v="11377" actId="729"/>
        <pc:sldMkLst>
          <pc:docMk/>
          <pc:sldMk cId="4098613062" sldId="8888"/>
        </pc:sldMkLst>
      </pc:sldChg>
      <pc:sldChg chg="add mod modShow">
        <pc:chgData name="Mariana Logvinenko" userId="f6fbaecb-6ef3-4e9a-8937-977630a541f2" providerId="ADAL" clId="{CBBADD7E-CE51-408E-929F-000E5FA13200}" dt="2021-09-09T07:41:22.366" v="11377" actId="729"/>
        <pc:sldMkLst>
          <pc:docMk/>
          <pc:sldMk cId="1046091709" sldId="8889"/>
        </pc:sldMkLst>
      </pc:sldChg>
      <pc:sldChg chg="add mod modShow">
        <pc:chgData name="Mariana Logvinenko" userId="f6fbaecb-6ef3-4e9a-8937-977630a541f2" providerId="ADAL" clId="{CBBADD7E-CE51-408E-929F-000E5FA13200}" dt="2021-09-09T07:41:22.366" v="11377" actId="729"/>
        <pc:sldMkLst>
          <pc:docMk/>
          <pc:sldMk cId="3966793709" sldId="8890"/>
        </pc:sldMkLst>
      </pc:sldChg>
      <pc:sldChg chg="add mod modShow">
        <pc:chgData name="Mariana Logvinenko" userId="f6fbaecb-6ef3-4e9a-8937-977630a541f2" providerId="ADAL" clId="{CBBADD7E-CE51-408E-929F-000E5FA13200}" dt="2021-09-09T07:41:22.366" v="11377" actId="729"/>
        <pc:sldMkLst>
          <pc:docMk/>
          <pc:sldMk cId="3508012978" sldId="8891"/>
        </pc:sldMkLst>
      </pc:sldChg>
      <pc:sldChg chg="add mod modShow">
        <pc:chgData name="Mariana Logvinenko" userId="f6fbaecb-6ef3-4e9a-8937-977630a541f2" providerId="ADAL" clId="{CBBADD7E-CE51-408E-929F-000E5FA13200}" dt="2021-09-09T07:41:35.684" v="11378" actId="729"/>
        <pc:sldMkLst>
          <pc:docMk/>
          <pc:sldMk cId="1905921646" sldId="8892"/>
        </pc:sldMkLst>
      </pc:sldChg>
      <pc:sldChg chg="add mod modShow">
        <pc:chgData name="Mariana Logvinenko" userId="f6fbaecb-6ef3-4e9a-8937-977630a541f2" providerId="ADAL" clId="{CBBADD7E-CE51-408E-929F-000E5FA13200}" dt="2021-09-09T07:41:35.684" v="11378" actId="729"/>
        <pc:sldMkLst>
          <pc:docMk/>
          <pc:sldMk cId="4058772866" sldId="8893"/>
        </pc:sldMkLst>
      </pc:sldChg>
      <pc:sldChg chg="add">
        <pc:chgData name="Mariana Logvinenko" userId="f6fbaecb-6ef3-4e9a-8937-977630a541f2" providerId="ADAL" clId="{CBBADD7E-CE51-408E-929F-000E5FA13200}" dt="2021-09-07T18:30:21.114" v="0"/>
        <pc:sldMkLst>
          <pc:docMk/>
          <pc:sldMk cId="3276248458" sldId="8894"/>
        </pc:sldMkLst>
      </pc:sldChg>
      <pc:sldChg chg="add mod modShow">
        <pc:chgData name="Mariana Logvinenko" userId="f6fbaecb-6ef3-4e9a-8937-977630a541f2" providerId="ADAL" clId="{CBBADD7E-CE51-408E-929F-000E5FA13200}" dt="2021-09-09T07:42:10.584" v="11382" actId="729"/>
        <pc:sldMkLst>
          <pc:docMk/>
          <pc:sldMk cId="24698689" sldId="8895"/>
        </pc:sldMkLst>
      </pc:sldChg>
      <pc:sldChg chg="add mod modShow">
        <pc:chgData name="Mariana Logvinenko" userId="f6fbaecb-6ef3-4e9a-8937-977630a541f2" providerId="ADAL" clId="{CBBADD7E-CE51-408E-929F-000E5FA13200}" dt="2021-09-09T07:42:10.584" v="11382" actId="729"/>
        <pc:sldMkLst>
          <pc:docMk/>
          <pc:sldMk cId="2852808739" sldId="8896"/>
        </pc:sldMkLst>
      </pc:sldChg>
      <pc:sldChg chg="add mod modShow">
        <pc:chgData name="Mariana Logvinenko" userId="f6fbaecb-6ef3-4e9a-8937-977630a541f2" providerId="ADAL" clId="{CBBADD7E-CE51-408E-929F-000E5FA13200}" dt="2021-09-09T07:42:20.850" v="11383" actId="729"/>
        <pc:sldMkLst>
          <pc:docMk/>
          <pc:sldMk cId="1153229538" sldId="8897"/>
        </pc:sldMkLst>
      </pc:sldChg>
      <pc:sldChg chg="add mod modShow">
        <pc:chgData name="Mariana Logvinenko" userId="f6fbaecb-6ef3-4e9a-8937-977630a541f2" providerId="ADAL" clId="{CBBADD7E-CE51-408E-929F-000E5FA13200}" dt="2021-09-09T07:42:20.850" v="11383" actId="729"/>
        <pc:sldMkLst>
          <pc:docMk/>
          <pc:sldMk cId="844301539" sldId="8898"/>
        </pc:sldMkLst>
      </pc:sldChg>
      <pc:sldChg chg="add mod modShow">
        <pc:chgData name="Mariana Logvinenko" userId="f6fbaecb-6ef3-4e9a-8937-977630a541f2" providerId="ADAL" clId="{CBBADD7E-CE51-408E-929F-000E5FA13200}" dt="2021-09-09T07:42:20.850" v="11383" actId="729"/>
        <pc:sldMkLst>
          <pc:docMk/>
          <pc:sldMk cId="2177540266" sldId="8899"/>
        </pc:sldMkLst>
      </pc:sldChg>
      <pc:sldChg chg="add mod modShow">
        <pc:chgData name="Mariana Logvinenko" userId="f6fbaecb-6ef3-4e9a-8937-977630a541f2" providerId="ADAL" clId="{CBBADD7E-CE51-408E-929F-000E5FA13200}" dt="2021-09-09T07:42:20.850" v="11383" actId="729"/>
        <pc:sldMkLst>
          <pc:docMk/>
          <pc:sldMk cId="1401909823" sldId="8900"/>
        </pc:sldMkLst>
      </pc:sldChg>
      <pc:sldChg chg="add mod modShow">
        <pc:chgData name="Mariana Logvinenko" userId="f6fbaecb-6ef3-4e9a-8937-977630a541f2" providerId="ADAL" clId="{CBBADD7E-CE51-408E-929F-000E5FA13200}" dt="2021-09-09T07:42:20.850" v="11383" actId="729"/>
        <pc:sldMkLst>
          <pc:docMk/>
          <pc:sldMk cId="4079025616" sldId="8901"/>
        </pc:sldMkLst>
      </pc:sldChg>
      <pc:sldChg chg="add mod modShow">
        <pc:chgData name="Mariana Logvinenko" userId="f6fbaecb-6ef3-4e9a-8937-977630a541f2" providerId="ADAL" clId="{CBBADD7E-CE51-408E-929F-000E5FA13200}" dt="2021-09-09T07:42:20.850" v="11383" actId="729"/>
        <pc:sldMkLst>
          <pc:docMk/>
          <pc:sldMk cId="749547584" sldId="8902"/>
        </pc:sldMkLst>
      </pc:sldChg>
      <pc:sldChg chg="add mod modShow">
        <pc:chgData name="Mariana Logvinenko" userId="f6fbaecb-6ef3-4e9a-8937-977630a541f2" providerId="ADAL" clId="{CBBADD7E-CE51-408E-929F-000E5FA13200}" dt="2021-09-09T07:42:26.206" v="11384" actId="729"/>
        <pc:sldMkLst>
          <pc:docMk/>
          <pc:sldMk cId="3054474984" sldId="8903"/>
        </pc:sldMkLst>
      </pc:sldChg>
      <pc:sldChg chg="add mod modShow">
        <pc:chgData name="Mariana Logvinenko" userId="f6fbaecb-6ef3-4e9a-8937-977630a541f2" providerId="ADAL" clId="{CBBADD7E-CE51-408E-929F-000E5FA13200}" dt="2021-09-09T07:42:26.206" v="11384" actId="729"/>
        <pc:sldMkLst>
          <pc:docMk/>
          <pc:sldMk cId="1033599783" sldId="8904"/>
        </pc:sldMkLst>
      </pc:sldChg>
      <pc:sldChg chg="add mod modShow">
        <pc:chgData name="Mariana Logvinenko" userId="f6fbaecb-6ef3-4e9a-8937-977630a541f2" providerId="ADAL" clId="{CBBADD7E-CE51-408E-929F-000E5FA13200}" dt="2021-09-09T07:42:42.243" v="11385" actId="729"/>
        <pc:sldMkLst>
          <pc:docMk/>
          <pc:sldMk cId="1471794964" sldId="8905"/>
        </pc:sldMkLst>
      </pc:sldChg>
      <pc:sldChg chg="add mod ord modShow">
        <pc:chgData name="Mariana Logvinenko" userId="f6fbaecb-6ef3-4e9a-8937-977630a541f2" providerId="ADAL" clId="{CBBADD7E-CE51-408E-929F-000E5FA13200}" dt="2021-09-09T07:43:02.215" v="11386" actId="729"/>
        <pc:sldMkLst>
          <pc:docMk/>
          <pc:sldMk cId="3493639260" sldId="8907"/>
        </pc:sldMkLst>
      </pc:sldChg>
      <pc:sldChg chg="add modNotesTx">
        <pc:chgData name="Mariana Logvinenko" userId="f6fbaecb-6ef3-4e9a-8937-977630a541f2" providerId="ADAL" clId="{CBBADD7E-CE51-408E-929F-000E5FA13200}" dt="2021-09-08T06:28:52.625" v="5807" actId="20577"/>
        <pc:sldMkLst>
          <pc:docMk/>
          <pc:sldMk cId="2280405265" sldId="8908"/>
        </pc:sldMkLst>
      </pc:sldChg>
      <pc:sldChg chg="add modNotesTx">
        <pc:chgData name="Mariana Logvinenko" userId="f6fbaecb-6ef3-4e9a-8937-977630a541f2" providerId="ADAL" clId="{CBBADD7E-CE51-408E-929F-000E5FA13200}" dt="2021-09-08T06:45:47.934" v="7951" actId="20577"/>
        <pc:sldMkLst>
          <pc:docMk/>
          <pc:sldMk cId="3636231626" sldId="8909"/>
        </pc:sldMkLst>
      </pc:sldChg>
      <pc:sldChg chg="add modNotesTx">
        <pc:chgData name="Mariana Logvinenko" userId="f6fbaecb-6ef3-4e9a-8937-977630a541f2" providerId="ADAL" clId="{CBBADD7E-CE51-408E-929F-000E5FA13200}" dt="2021-09-08T06:50:53.544" v="8518" actId="20577"/>
        <pc:sldMkLst>
          <pc:docMk/>
          <pc:sldMk cId="1127532155" sldId="8910"/>
        </pc:sldMkLst>
      </pc:sldChg>
      <pc:sldChg chg="add mod ord modShow">
        <pc:chgData name="Mariana Logvinenko" userId="f6fbaecb-6ef3-4e9a-8937-977630a541f2" providerId="ADAL" clId="{CBBADD7E-CE51-408E-929F-000E5FA13200}" dt="2021-09-08T06:46:14.538" v="7952" actId="729"/>
        <pc:sldMkLst>
          <pc:docMk/>
          <pc:sldMk cId="2140751882" sldId="8911"/>
        </pc:sldMkLst>
      </pc:sldChg>
      <pc:sldChg chg="add mod modShow modNotesTx">
        <pc:chgData name="Mariana Logvinenko" userId="f6fbaecb-6ef3-4e9a-8937-977630a541f2" providerId="ADAL" clId="{CBBADD7E-CE51-408E-929F-000E5FA13200}" dt="2021-09-09T07:43:02.215" v="11386" actId="729"/>
        <pc:sldMkLst>
          <pc:docMk/>
          <pc:sldMk cId="491567755" sldId="8913"/>
        </pc:sldMkLst>
      </pc:sldChg>
      <pc:sldChg chg="add mod modShow modNotesTx">
        <pc:chgData name="Mariana Logvinenko" userId="f6fbaecb-6ef3-4e9a-8937-977630a541f2" providerId="ADAL" clId="{CBBADD7E-CE51-408E-929F-000E5FA13200}" dt="2021-09-09T07:43:02.215" v="11386" actId="729"/>
        <pc:sldMkLst>
          <pc:docMk/>
          <pc:sldMk cId="411755460" sldId="8914"/>
        </pc:sldMkLst>
      </pc:sldChg>
      <pc:sldChg chg="add mod modShow">
        <pc:chgData name="Mariana Logvinenko" userId="f6fbaecb-6ef3-4e9a-8937-977630a541f2" providerId="ADAL" clId="{CBBADD7E-CE51-408E-929F-000E5FA13200}" dt="2021-09-09T07:43:02.215" v="11386" actId="729"/>
        <pc:sldMkLst>
          <pc:docMk/>
          <pc:sldMk cId="2342744891" sldId="8915"/>
        </pc:sldMkLst>
      </pc:sldChg>
      <pc:sldChg chg="add">
        <pc:chgData name="Mariana Logvinenko" userId="f6fbaecb-6ef3-4e9a-8937-977630a541f2" providerId="ADAL" clId="{CBBADD7E-CE51-408E-929F-000E5FA13200}" dt="2021-09-07T18:30:21.114" v="0"/>
        <pc:sldMkLst>
          <pc:docMk/>
          <pc:sldMk cId="2631486505" sldId="8916"/>
        </pc:sldMkLst>
      </pc:sldChg>
      <pc:sldChg chg="add">
        <pc:chgData name="Mariana Logvinenko" userId="f6fbaecb-6ef3-4e9a-8937-977630a541f2" providerId="ADAL" clId="{CBBADD7E-CE51-408E-929F-000E5FA13200}" dt="2021-09-07T18:30:21.114" v="0"/>
        <pc:sldMkLst>
          <pc:docMk/>
          <pc:sldMk cId="2984481853" sldId="8917"/>
        </pc:sldMkLst>
      </pc:sldChg>
      <pc:sldChg chg="add mod modShow">
        <pc:chgData name="Mariana Logvinenko" userId="f6fbaecb-6ef3-4e9a-8937-977630a541f2" providerId="ADAL" clId="{CBBADD7E-CE51-408E-929F-000E5FA13200}" dt="2021-09-09T07:43:27.417" v="11390" actId="729"/>
        <pc:sldMkLst>
          <pc:docMk/>
          <pc:sldMk cId="2546548404" sldId="8918"/>
        </pc:sldMkLst>
      </pc:sldChg>
      <pc:sldChg chg="add mod modShow">
        <pc:chgData name="Mariana Logvinenko" userId="f6fbaecb-6ef3-4e9a-8937-977630a541f2" providerId="ADAL" clId="{CBBADD7E-CE51-408E-929F-000E5FA13200}" dt="2021-09-09T07:43:27.417" v="11390" actId="729"/>
        <pc:sldMkLst>
          <pc:docMk/>
          <pc:sldMk cId="3843184696" sldId="8919"/>
        </pc:sldMkLst>
      </pc:sldChg>
      <pc:sldChg chg="add mod modShow">
        <pc:chgData name="Mariana Logvinenko" userId="f6fbaecb-6ef3-4e9a-8937-977630a541f2" providerId="ADAL" clId="{CBBADD7E-CE51-408E-929F-000E5FA13200}" dt="2021-09-09T07:43:27.417" v="11390" actId="729"/>
        <pc:sldMkLst>
          <pc:docMk/>
          <pc:sldMk cId="3860769045" sldId="8920"/>
        </pc:sldMkLst>
      </pc:sldChg>
      <pc:sldChg chg="add mod modShow">
        <pc:chgData name="Mariana Logvinenko" userId="f6fbaecb-6ef3-4e9a-8937-977630a541f2" providerId="ADAL" clId="{CBBADD7E-CE51-408E-929F-000E5FA13200}" dt="2021-09-09T07:43:27.417" v="11390" actId="729"/>
        <pc:sldMkLst>
          <pc:docMk/>
          <pc:sldMk cId="4090198649" sldId="8921"/>
        </pc:sldMkLst>
      </pc:sldChg>
      <pc:sldChg chg="add mod modShow">
        <pc:chgData name="Mariana Logvinenko" userId="f6fbaecb-6ef3-4e9a-8937-977630a541f2" providerId="ADAL" clId="{CBBADD7E-CE51-408E-929F-000E5FA13200}" dt="2021-09-09T07:43:27.417" v="11390" actId="729"/>
        <pc:sldMkLst>
          <pc:docMk/>
          <pc:sldMk cId="4178667000" sldId="8922"/>
        </pc:sldMkLst>
      </pc:sldChg>
      <pc:sldChg chg="add mod modShow modNotesTx">
        <pc:chgData name="Mariana Logvinenko" userId="f6fbaecb-6ef3-4e9a-8937-977630a541f2" providerId="ADAL" clId="{CBBADD7E-CE51-408E-929F-000E5FA13200}" dt="2021-09-09T07:43:02.215" v="11386" actId="729"/>
        <pc:sldMkLst>
          <pc:docMk/>
          <pc:sldMk cId="2006247537" sldId="8923"/>
        </pc:sldMkLst>
      </pc:sldChg>
      <pc:sldChg chg="add">
        <pc:chgData name="Mariana Logvinenko" userId="f6fbaecb-6ef3-4e9a-8937-977630a541f2" providerId="ADAL" clId="{CBBADD7E-CE51-408E-929F-000E5FA13200}" dt="2021-09-07T18:30:21.114" v="0"/>
        <pc:sldMkLst>
          <pc:docMk/>
          <pc:sldMk cId="1418220419" sldId="8926"/>
        </pc:sldMkLst>
      </pc:sldChg>
      <pc:sldChg chg="add mod modShow">
        <pc:chgData name="Mariana Logvinenko" userId="f6fbaecb-6ef3-4e9a-8937-977630a541f2" providerId="ADAL" clId="{CBBADD7E-CE51-408E-929F-000E5FA13200}" dt="2021-09-09T07:44:42.911" v="11391" actId="729"/>
        <pc:sldMkLst>
          <pc:docMk/>
          <pc:sldMk cId="2922893864" sldId="8927"/>
        </pc:sldMkLst>
      </pc:sldChg>
      <pc:sldChg chg="add mod modShow">
        <pc:chgData name="Mariana Logvinenko" userId="f6fbaecb-6ef3-4e9a-8937-977630a541f2" providerId="ADAL" clId="{CBBADD7E-CE51-408E-929F-000E5FA13200}" dt="2021-09-09T07:44:45.254" v="11392" actId="729"/>
        <pc:sldMkLst>
          <pc:docMk/>
          <pc:sldMk cId="2036738570" sldId="8928"/>
        </pc:sldMkLst>
      </pc:sldChg>
      <pc:sldChg chg="add mod modShow">
        <pc:chgData name="Mariana Logvinenko" userId="f6fbaecb-6ef3-4e9a-8937-977630a541f2" providerId="ADAL" clId="{CBBADD7E-CE51-408E-929F-000E5FA13200}" dt="2021-09-09T07:45:03.451" v="11393" actId="729"/>
        <pc:sldMkLst>
          <pc:docMk/>
          <pc:sldMk cId="3721987766" sldId="8929"/>
        </pc:sldMkLst>
      </pc:sldChg>
      <pc:sldChg chg="add mod modShow">
        <pc:chgData name="Mariana Logvinenko" userId="f6fbaecb-6ef3-4e9a-8937-977630a541f2" providerId="ADAL" clId="{CBBADD7E-CE51-408E-929F-000E5FA13200}" dt="2021-09-09T07:45:03.451" v="11393" actId="729"/>
        <pc:sldMkLst>
          <pc:docMk/>
          <pc:sldMk cId="2639976267" sldId="8930"/>
        </pc:sldMkLst>
      </pc:sldChg>
      <pc:sldChg chg="add mod modShow">
        <pc:chgData name="Mariana Logvinenko" userId="f6fbaecb-6ef3-4e9a-8937-977630a541f2" providerId="ADAL" clId="{CBBADD7E-CE51-408E-929F-000E5FA13200}" dt="2021-09-09T07:45:03.451" v="11393" actId="729"/>
        <pc:sldMkLst>
          <pc:docMk/>
          <pc:sldMk cId="1202128515" sldId="8931"/>
        </pc:sldMkLst>
      </pc:sldChg>
      <pc:sldChg chg="add mod modShow">
        <pc:chgData name="Mariana Logvinenko" userId="f6fbaecb-6ef3-4e9a-8937-977630a541f2" providerId="ADAL" clId="{CBBADD7E-CE51-408E-929F-000E5FA13200}" dt="2021-09-09T07:45:03.451" v="11393" actId="729"/>
        <pc:sldMkLst>
          <pc:docMk/>
          <pc:sldMk cId="1379777778" sldId="8932"/>
        </pc:sldMkLst>
      </pc:sldChg>
      <pc:sldChg chg="add mod modShow">
        <pc:chgData name="Mariana Logvinenko" userId="f6fbaecb-6ef3-4e9a-8937-977630a541f2" providerId="ADAL" clId="{CBBADD7E-CE51-408E-929F-000E5FA13200}" dt="2021-09-09T07:45:25.603" v="11394" actId="729"/>
        <pc:sldMkLst>
          <pc:docMk/>
          <pc:sldMk cId="2471592088" sldId="8933"/>
        </pc:sldMkLst>
      </pc:sldChg>
      <pc:sldChg chg="add">
        <pc:chgData name="Mariana Logvinenko" userId="f6fbaecb-6ef3-4e9a-8937-977630a541f2" providerId="ADAL" clId="{CBBADD7E-CE51-408E-929F-000E5FA13200}" dt="2021-09-07T18:30:21.114" v="0"/>
        <pc:sldMkLst>
          <pc:docMk/>
          <pc:sldMk cId="1563330628" sldId="8934"/>
        </pc:sldMkLst>
      </pc:sldChg>
      <pc:sldChg chg="add">
        <pc:chgData name="Mariana Logvinenko" userId="f6fbaecb-6ef3-4e9a-8937-977630a541f2" providerId="ADAL" clId="{CBBADD7E-CE51-408E-929F-000E5FA13200}" dt="2021-09-07T18:30:21.114" v="0"/>
        <pc:sldMkLst>
          <pc:docMk/>
          <pc:sldMk cId="4248496048" sldId="8935"/>
        </pc:sldMkLst>
      </pc:sldChg>
      <pc:sldChg chg="add mod modShow">
        <pc:chgData name="Mariana Logvinenko" userId="f6fbaecb-6ef3-4e9a-8937-977630a541f2" providerId="ADAL" clId="{CBBADD7E-CE51-408E-929F-000E5FA13200}" dt="2021-09-09T07:45:25.603" v="11394" actId="729"/>
        <pc:sldMkLst>
          <pc:docMk/>
          <pc:sldMk cId="3308252098" sldId="8936"/>
        </pc:sldMkLst>
      </pc:sldChg>
      <pc:sldChg chg="add mod modShow">
        <pc:chgData name="Mariana Logvinenko" userId="f6fbaecb-6ef3-4e9a-8937-977630a541f2" providerId="ADAL" clId="{CBBADD7E-CE51-408E-929F-000E5FA13200}" dt="2021-09-09T07:45:25.603" v="11394" actId="729"/>
        <pc:sldMkLst>
          <pc:docMk/>
          <pc:sldMk cId="3157603610" sldId="8937"/>
        </pc:sldMkLst>
      </pc:sldChg>
      <pc:sldChg chg="add">
        <pc:chgData name="Mariana Logvinenko" userId="f6fbaecb-6ef3-4e9a-8937-977630a541f2" providerId="ADAL" clId="{CBBADD7E-CE51-408E-929F-000E5FA13200}" dt="2021-09-07T18:30:21.114" v="0"/>
        <pc:sldMkLst>
          <pc:docMk/>
          <pc:sldMk cId="574834776" sldId="8938"/>
        </pc:sldMkLst>
      </pc:sldChg>
      <pc:sldChg chg="add modNotesTx">
        <pc:chgData name="Mariana Logvinenko" userId="f6fbaecb-6ef3-4e9a-8937-977630a541f2" providerId="ADAL" clId="{CBBADD7E-CE51-408E-929F-000E5FA13200}" dt="2021-09-08T07:16:46.723" v="10795" actId="20577"/>
        <pc:sldMkLst>
          <pc:docMk/>
          <pc:sldMk cId="683942111" sldId="8940"/>
        </pc:sldMkLst>
      </pc:sldChg>
      <pc:sldChg chg="add mod modShow">
        <pc:chgData name="Mariana Logvinenko" userId="f6fbaecb-6ef3-4e9a-8937-977630a541f2" providerId="ADAL" clId="{CBBADD7E-CE51-408E-929F-000E5FA13200}" dt="2021-09-09T07:39:27.996" v="11370" actId="729"/>
        <pc:sldMkLst>
          <pc:docMk/>
          <pc:sldMk cId="3018276485" sldId="8941"/>
        </pc:sldMkLst>
      </pc:sldChg>
      <pc:sldChg chg="add mod modShow">
        <pc:chgData name="Mariana Logvinenko" userId="f6fbaecb-6ef3-4e9a-8937-977630a541f2" providerId="ADAL" clId="{CBBADD7E-CE51-408E-929F-000E5FA13200}" dt="2021-09-09T07:39:27.996" v="11370" actId="729"/>
        <pc:sldMkLst>
          <pc:docMk/>
          <pc:sldMk cId="1115098920" sldId="8942"/>
        </pc:sldMkLst>
      </pc:sldChg>
      <pc:sldChg chg="add mod modShow">
        <pc:chgData name="Mariana Logvinenko" userId="f6fbaecb-6ef3-4e9a-8937-977630a541f2" providerId="ADAL" clId="{CBBADD7E-CE51-408E-929F-000E5FA13200}" dt="2021-09-09T07:39:27.996" v="11370" actId="729"/>
        <pc:sldMkLst>
          <pc:docMk/>
          <pc:sldMk cId="2113427851" sldId="8943"/>
        </pc:sldMkLst>
      </pc:sldChg>
      <pc:sldChg chg="add">
        <pc:chgData name="Mariana Logvinenko" userId="f6fbaecb-6ef3-4e9a-8937-977630a541f2" providerId="ADAL" clId="{CBBADD7E-CE51-408E-929F-000E5FA13200}" dt="2021-09-07T18:30:21.114" v="0"/>
        <pc:sldMkLst>
          <pc:docMk/>
          <pc:sldMk cId="1875368565" sldId="8944"/>
        </pc:sldMkLst>
      </pc:sldChg>
      <pc:sldChg chg="add mod modShow">
        <pc:chgData name="Mariana Logvinenko" userId="f6fbaecb-6ef3-4e9a-8937-977630a541f2" providerId="ADAL" clId="{CBBADD7E-CE51-408E-929F-000E5FA13200}" dt="2021-09-09T07:39:40.845" v="11371" actId="729"/>
        <pc:sldMkLst>
          <pc:docMk/>
          <pc:sldMk cId="772240527" sldId="8945"/>
        </pc:sldMkLst>
      </pc:sldChg>
      <pc:sldChg chg="add">
        <pc:chgData name="Mariana Logvinenko" userId="f6fbaecb-6ef3-4e9a-8937-977630a541f2" providerId="ADAL" clId="{CBBADD7E-CE51-408E-929F-000E5FA13200}" dt="2021-09-07T18:30:21.114" v="0"/>
        <pc:sldMkLst>
          <pc:docMk/>
          <pc:sldMk cId="3192677140" sldId="8946"/>
        </pc:sldMkLst>
      </pc:sldChg>
      <pc:sldChg chg="add">
        <pc:chgData name="Mariana Logvinenko" userId="f6fbaecb-6ef3-4e9a-8937-977630a541f2" providerId="ADAL" clId="{CBBADD7E-CE51-408E-929F-000E5FA13200}" dt="2021-09-07T18:30:21.114" v="0"/>
        <pc:sldMkLst>
          <pc:docMk/>
          <pc:sldMk cId="3033469614" sldId="8947"/>
        </pc:sldMkLst>
      </pc:sldChg>
      <pc:sldChg chg="add">
        <pc:chgData name="Mariana Logvinenko" userId="f6fbaecb-6ef3-4e9a-8937-977630a541f2" providerId="ADAL" clId="{CBBADD7E-CE51-408E-929F-000E5FA13200}" dt="2021-09-07T18:30:21.114" v="0"/>
        <pc:sldMkLst>
          <pc:docMk/>
          <pc:sldMk cId="3378164834" sldId="8950"/>
        </pc:sldMkLst>
      </pc:sldChg>
      <pc:sldChg chg="add">
        <pc:chgData name="Mariana Logvinenko" userId="f6fbaecb-6ef3-4e9a-8937-977630a541f2" providerId="ADAL" clId="{CBBADD7E-CE51-408E-929F-000E5FA13200}" dt="2021-09-07T18:30:21.114" v="0"/>
        <pc:sldMkLst>
          <pc:docMk/>
          <pc:sldMk cId="1245035682" sldId="8952"/>
        </pc:sldMkLst>
      </pc:sldChg>
      <pc:sldChg chg="add">
        <pc:chgData name="Mariana Logvinenko" userId="f6fbaecb-6ef3-4e9a-8937-977630a541f2" providerId="ADAL" clId="{CBBADD7E-CE51-408E-929F-000E5FA13200}" dt="2021-09-07T18:30:21.114" v="0"/>
        <pc:sldMkLst>
          <pc:docMk/>
          <pc:sldMk cId="928805320" sldId="8954"/>
        </pc:sldMkLst>
      </pc:sldChg>
      <pc:sldChg chg="add">
        <pc:chgData name="Mariana Logvinenko" userId="f6fbaecb-6ef3-4e9a-8937-977630a541f2" providerId="ADAL" clId="{CBBADD7E-CE51-408E-929F-000E5FA13200}" dt="2021-09-07T18:30:21.114" v="0"/>
        <pc:sldMkLst>
          <pc:docMk/>
          <pc:sldMk cId="819364008" sldId="8957"/>
        </pc:sldMkLst>
      </pc:sldChg>
      <pc:sldChg chg="add">
        <pc:chgData name="Mariana Logvinenko" userId="f6fbaecb-6ef3-4e9a-8937-977630a541f2" providerId="ADAL" clId="{CBBADD7E-CE51-408E-929F-000E5FA13200}" dt="2021-09-07T18:30:21.114" v="0"/>
        <pc:sldMkLst>
          <pc:docMk/>
          <pc:sldMk cId="1981356276" sldId="8960"/>
        </pc:sldMkLst>
      </pc:sldChg>
      <pc:sldChg chg="add">
        <pc:chgData name="Mariana Logvinenko" userId="f6fbaecb-6ef3-4e9a-8937-977630a541f2" providerId="ADAL" clId="{CBBADD7E-CE51-408E-929F-000E5FA13200}" dt="2021-09-07T18:30:21.114" v="0"/>
        <pc:sldMkLst>
          <pc:docMk/>
          <pc:sldMk cId="3370916131" sldId="8961"/>
        </pc:sldMkLst>
      </pc:sldChg>
      <pc:sldChg chg="add">
        <pc:chgData name="Mariana Logvinenko" userId="f6fbaecb-6ef3-4e9a-8937-977630a541f2" providerId="ADAL" clId="{CBBADD7E-CE51-408E-929F-000E5FA13200}" dt="2021-09-07T18:30:21.114" v="0"/>
        <pc:sldMkLst>
          <pc:docMk/>
          <pc:sldMk cId="3115854776" sldId="8966"/>
        </pc:sldMkLst>
      </pc:sldChg>
      <pc:sldChg chg="add del">
        <pc:chgData name="Mariana Logvinenko" userId="f6fbaecb-6ef3-4e9a-8937-977630a541f2" providerId="ADAL" clId="{CBBADD7E-CE51-408E-929F-000E5FA13200}" dt="2021-09-17T07:19:31.202" v="11401" actId="2696"/>
        <pc:sldMkLst>
          <pc:docMk/>
          <pc:sldMk cId="3353881184" sldId="8967"/>
        </pc:sldMkLst>
      </pc:sldChg>
      <pc:sldChg chg="add">
        <pc:chgData name="Mariana Logvinenko" userId="f6fbaecb-6ef3-4e9a-8937-977630a541f2" providerId="ADAL" clId="{CBBADD7E-CE51-408E-929F-000E5FA13200}" dt="2021-09-07T18:30:21.114" v="0"/>
        <pc:sldMkLst>
          <pc:docMk/>
          <pc:sldMk cId="3504200804" sldId="8970"/>
        </pc:sldMkLst>
      </pc:sldChg>
      <pc:sldChg chg="add">
        <pc:chgData name="Mariana Logvinenko" userId="f6fbaecb-6ef3-4e9a-8937-977630a541f2" providerId="ADAL" clId="{CBBADD7E-CE51-408E-929F-000E5FA13200}" dt="2021-09-07T18:30:21.114" v="0"/>
        <pc:sldMkLst>
          <pc:docMk/>
          <pc:sldMk cId="2327406966" sldId="8972"/>
        </pc:sldMkLst>
      </pc:sldChg>
      <pc:sldChg chg="add modNotesTx">
        <pc:chgData name="Mariana Logvinenko" userId="f6fbaecb-6ef3-4e9a-8937-977630a541f2" providerId="ADAL" clId="{CBBADD7E-CE51-408E-929F-000E5FA13200}" dt="2021-09-08T07:39:22.456" v="11296" actId="20577"/>
        <pc:sldMkLst>
          <pc:docMk/>
          <pc:sldMk cId="276133387" sldId="8973"/>
        </pc:sldMkLst>
      </pc:sldChg>
      <pc:sldChg chg="add">
        <pc:chgData name="Mariana Logvinenko" userId="f6fbaecb-6ef3-4e9a-8937-977630a541f2" providerId="ADAL" clId="{CBBADD7E-CE51-408E-929F-000E5FA13200}" dt="2021-09-07T18:30:21.114" v="0"/>
        <pc:sldMkLst>
          <pc:docMk/>
          <pc:sldMk cId="2256721079" sldId="8975"/>
        </pc:sldMkLst>
      </pc:sldChg>
      <pc:sldChg chg="add">
        <pc:chgData name="Mariana Logvinenko" userId="f6fbaecb-6ef3-4e9a-8937-977630a541f2" providerId="ADAL" clId="{CBBADD7E-CE51-408E-929F-000E5FA13200}" dt="2021-09-07T18:30:21.114" v="0"/>
        <pc:sldMkLst>
          <pc:docMk/>
          <pc:sldMk cId="1494139118" sldId="8976"/>
        </pc:sldMkLst>
      </pc:sldChg>
      <pc:sldChg chg="add">
        <pc:chgData name="Mariana Logvinenko" userId="f6fbaecb-6ef3-4e9a-8937-977630a541f2" providerId="ADAL" clId="{CBBADD7E-CE51-408E-929F-000E5FA13200}" dt="2021-09-07T18:30:21.114" v="0"/>
        <pc:sldMkLst>
          <pc:docMk/>
          <pc:sldMk cId="3711408420" sldId="8977"/>
        </pc:sldMkLst>
      </pc:sldChg>
      <pc:sldChg chg="add">
        <pc:chgData name="Mariana Logvinenko" userId="f6fbaecb-6ef3-4e9a-8937-977630a541f2" providerId="ADAL" clId="{CBBADD7E-CE51-408E-929F-000E5FA13200}" dt="2021-09-07T18:30:21.114" v="0"/>
        <pc:sldMkLst>
          <pc:docMk/>
          <pc:sldMk cId="3259336603" sldId="8979"/>
        </pc:sldMkLst>
      </pc:sldChg>
      <pc:sldChg chg="add">
        <pc:chgData name="Mariana Logvinenko" userId="f6fbaecb-6ef3-4e9a-8937-977630a541f2" providerId="ADAL" clId="{CBBADD7E-CE51-408E-929F-000E5FA13200}" dt="2021-09-07T18:30:21.114" v="0"/>
        <pc:sldMkLst>
          <pc:docMk/>
          <pc:sldMk cId="1326415073" sldId="8980"/>
        </pc:sldMkLst>
      </pc:sldChg>
      <pc:sldChg chg="add">
        <pc:chgData name="Mariana Logvinenko" userId="f6fbaecb-6ef3-4e9a-8937-977630a541f2" providerId="ADAL" clId="{CBBADD7E-CE51-408E-929F-000E5FA13200}" dt="2021-09-07T18:30:21.114" v="0"/>
        <pc:sldMkLst>
          <pc:docMk/>
          <pc:sldMk cId="742792177" sldId="8981"/>
        </pc:sldMkLst>
      </pc:sldChg>
      <pc:sldChg chg="add">
        <pc:chgData name="Mariana Logvinenko" userId="f6fbaecb-6ef3-4e9a-8937-977630a541f2" providerId="ADAL" clId="{CBBADD7E-CE51-408E-929F-000E5FA13200}" dt="2021-09-07T18:30:21.114" v="0"/>
        <pc:sldMkLst>
          <pc:docMk/>
          <pc:sldMk cId="2944658616" sldId="8982"/>
        </pc:sldMkLst>
      </pc:sldChg>
      <pc:sldChg chg="add">
        <pc:chgData name="Mariana Logvinenko" userId="f6fbaecb-6ef3-4e9a-8937-977630a541f2" providerId="ADAL" clId="{CBBADD7E-CE51-408E-929F-000E5FA13200}" dt="2021-09-07T18:30:21.114" v="0"/>
        <pc:sldMkLst>
          <pc:docMk/>
          <pc:sldMk cId="2508650365" sldId="8983"/>
        </pc:sldMkLst>
      </pc:sldChg>
      <pc:sldChg chg="add">
        <pc:chgData name="Mariana Logvinenko" userId="f6fbaecb-6ef3-4e9a-8937-977630a541f2" providerId="ADAL" clId="{CBBADD7E-CE51-408E-929F-000E5FA13200}" dt="2021-09-07T18:30:21.114" v="0"/>
        <pc:sldMkLst>
          <pc:docMk/>
          <pc:sldMk cId="1263298532" sldId="8987"/>
        </pc:sldMkLst>
      </pc:sldChg>
      <pc:sldChg chg="add">
        <pc:chgData name="Mariana Logvinenko" userId="f6fbaecb-6ef3-4e9a-8937-977630a541f2" providerId="ADAL" clId="{CBBADD7E-CE51-408E-929F-000E5FA13200}" dt="2021-09-07T18:30:21.114" v="0"/>
        <pc:sldMkLst>
          <pc:docMk/>
          <pc:sldMk cId="4168990504" sldId="8990"/>
        </pc:sldMkLst>
      </pc:sldChg>
      <pc:sldChg chg="add ord modNotesTx">
        <pc:chgData name="Mariana Logvinenko" userId="f6fbaecb-6ef3-4e9a-8937-977630a541f2" providerId="ADAL" clId="{CBBADD7E-CE51-408E-929F-000E5FA13200}" dt="2021-09-08T11:14:51.300" v="11343"/>
        <pc:sldMkLst>
          <pc:docMk/>
          <pc:sldMk cId="1677708775" sldId="8991"/>
        </pc:sldMkLst>
      </pc:sldChg>
      <pc:sldChg chg="add">
        <pc:chgData name="Mariana Logvinenko" userId="f6fbaecb-6ef3-4e9a-8937-977630a541f2" providerId="ADAL" clId="{CBBADD7E-CE51-408E-929F-000E5FA13200}" dt="2021-09-07T18:30:21.114" v="0"/>
        <pc:sldMkLst>
          <pc:docMk/>
          <pc:sldMk cId="2589045090" sldId="8993"/>
        </pc:sldMkLst>
      </pc:sldChg>
      <pc:sldChg chg="add">
        <pc:chgData name="Mariana Logvinenko" userId="f6fbaecb-6ef3-4e9a-8937-977630a541f2" providerId="ADAL" clId="{CBBADD7E-CE51-408E-929F-000E5FA13200}" dt="2021-09-07T18:30:21.114" v="0"/>
        <pc:sldMkLst>
          <pc:docMk/>
          <pc:sldMk cId="2642018546" sldId="8994"/>
        </pc:sldMkLst>
      </pc:sldChg>
      <pc:sldChg chg="add ord">
        <pc:chgData name="Mariana Logvinenko" userId="f6fbaecb-6ef3-4e9a-8937-977630a541f2" providerId="ADAL" clId="{CBBADD7E-CE51-408E-929F-000E5FA13200}" dt="2021-09-08T11:14:56.178" v="11345"/>
        <pc:sldMkLst>
          <pc:docMk/>
          <pc:sldMk cId="3965697311" sldId="8995"/>
        </pc:sldMkLst>
      </pc:sldChg>
      <pc:sldChg chg="add">
        <pc:chgData name="Mariana Logvinenko" userId="f6fbaecb-6ef3-4e9a-8937-977630a541f2" providerId="ADAL" clId="{CBBADD7E-CE51-408E-929F-000E5FA13200}" dt="2021-09-07T18:30:21.114" v="0"/>
        <pc:sldMkLst>
          <pc:docMk/>
          <pc:sldMk cId="2288361829" sldId="8997"/>
        </pc:sldMkLst>
      </pc:sldChg>
      <pc:sldChg chg="add">
        <pc:chgData name="Mariana Logvinenko" userId="f6fbaecb-6ef3-4e9a-8937-977630a541f2" providerId="ADAL" clId="{CBBADD7E-CE51-408E-929F-000E5FA13200}" dt="2021-09-07T18:30:21.114" v="0"/>
        <pc:sldMkLst>
          <pc:docMk/>
          <pc:sldMk cId="3485320090" sldId="8998"/>
        </pc:sldMkLst>
      </pc:sldChg>
      <pc:sldChg chg="add">
        <pc:chgData name="Mariana Logvinenko" userId="f6fbaecb-6ef3-4e9a-8937-977630a541f2" providerId="ADAL" clId="{CBBADD7E-CE51-408E-929F-000E5FA13200}" dt="2021-09-07T18:30:21.114" v="0"/>
        <pc:sldMkLst>
          <pc:docMk/>
          <pc:sldMk cId="3485499101" sldId="9000"/>
        </pc:sldMkLst>
      </pc:sldChg>
      <pc:sldChg chg="add">
        <pc:chgData name="Mariana Logvinenko" userId="f6fbaecb-6ef3-4e9a-8937-977630a541f2" providerId="ADAL" clId="{CBBADD7E-CE51-408E-929F-000E5FA13200}" dt="2021-09-07T18:30:21.114" v="0"/>
        <pc:sldMkLst>
          <pc:docMk/>
          <pc:sldMk cId="2102815606" sldId="9001"/>
        </pc:sldMkLst>
      </pc:sldChg>
      <pc:sldChg chg="add">
        <pc:chgData name="Mariana Logvinenko" userId="f6fbaecb-6ef3-4e9a-8937-977630a541f2" providerId="ADAL" clId="{CBBADD7E-CE51-408E-929F-000E5FA13200}" dt="2021-09-07T18:30:21.114" v="0"/>
        <pc:sldMkLst>
          <pc:docMk/>
          <pc:sldMk cId="1529410724" sldId="9003"/>
        </pc:sldMkLst>
      </pc:sldChg>
      <pc:sldChg chg="add">
        <pc:chgData name="Mariana Logvinenko" userId="f6fbaecb-6ef3-4e9a-8937-977630a541f2" providerId="ADAL" clId="{CBBADD7E-CE51-408E-929F-000E5FA13200}" dt="2021-09-07T18:30:21.114" v="0"/>
        <pc:sldMkLst>
          <pc:docMk/>
          <pc:sldMk cId="3138716629" sldId="9005"/>
        </pc:sldMkLst>
      </pc:sldChg>
      <pc:sldChg chg="add">
        <pc:chgData name="Mariana Logvinenko" userId="f6fbaecb-6ef3-4e9a-8937-977630a541f2" providerId="ADAL" clId="{CBBADD7E-CE51-408E-929F-000E5FA13200}" dt="2021-09-07T18:30:21.114" v="0"/>
        <pc:sldMkLst>
          <pc:docMk/>
          <pc:sldMk cId="1682400665" sldId="9006"/>
        </pc:sldMkLst>
      </pc:sldChg>
      <pc:sldChg chg="add">
        <pc:chgData name="Mariana Logvinenko" userId="f6fbaecb-6ef3-4e9a-8937-977630a541f2" providerId="ADAL" clId="{CBBADD7E-CE51-408E-929F-000E5FA13200}" dt="2021-09-07T18:30:21.114" v="0"/>
        <pc:sldMkLst>
          <pc:docMk/>
          <pc:sldMk cId="2553772540" sldId="9007"/>
        </pc:sldMkLst>
      </pc:sldChg>
      <pc:sldChg chg="add modNotesTx">
        <pc:chgData name="Mariana Logvinenko" userId="f6fbaecb-6ef3-4e9a-8937-977630a541f2" providerId="ADAL" clId="{CBBADD7E-CE51-408E-929F-000E5FA13200}" dt="2021-09-08T07:34:00.379" v="11060" actId="20577"/>
        <pc:sldMkLst>
          <pc:docMk/>
          <pc:sldMk cId="875618837" sldId="9010"/>
        </pc:sldMkLst>
      </pc:sldChg>
      <pc:sldChg chg="modSp add modNotesTx">
        <pc:chgData name="Mariana Logvinenko" userId="f6fbaecb-6ef3-4e9a-8937-977630a541f2" providerId="ADAL" clId="{CBBADD7E-CE51-408E-929F-000E5FA13200}" dt="2021-09-09T08:00:41.257" v="11400" actId="20577"/>
        <pc:sldMkLst>
          <pc:docMk/>
          <pc:sldMk cId="885506989" sldId="9011"/>
        </pc:sldMkLst>
        <pc:spChg chg="mod">
          <ac:chgData name="Mariana Logvinenko" userId="f6fbaecb-6ef3-4e9a-8937-977630a541f2" providerId="ADAL" clId="{CBBADD7E-CE51-408E-929F-000E5FA13200}" dt="2021-09-09T08:00:41.257" v="11400" actId="20577"/>
          <ac:spMkLst>
            <pc:docMk/>
            <pc:sldMk cId="885506989" sldId="9011"/>
            <ac:spMk id="3" creationId="{0F0DB2D2-06E8-4570-8BC7-B72F7D06EE40}"/>
          </ac:spMkLst>
        </pc:spChg>
      </pc:sldChg>
      <pc:sldChg chg="add modNotesTx">
        <pc:chgData name="Mariana Logvinenko" userId="f6fbaecb-6ef3-4e9a-8937-977630a541f2" providerId="ADAL" clId="{CBBADD7E-CE51-408E-929F-000E5FA13200}" dt="2021-09-08T07:35:13.118" v="11257" actId="20577"/>
        <pc:sldMkLst>
          <pc:docMk/>
          <pc:sldMk cId="1558862058" sldId="9012"/>
        </pc:sldMkLst>
      </pc:sldChg>
      <pc:sldChg chg="add">
        <pc:chgData name="Mariana Logvinenko" userId="f6fbaecb-6ef3-4e9a-8937-977630a541f2" providerId="ADAL" clId="{CBBADD7E-CE51-408E-929F-000E5FA13200}" dt="2021-09-07T18:30:21.114" v="0"/>
        <pc:sldMkLst>
          <pc:docMk/>
          <pc:sldMk cId="604663418" sldId="9014"/>
        </pc:sldMkLst>
      </pc:sldChg>
      <pc:sldChg chg="add">
        <pc:chgData name="Mariana Logvinenko" userId="f6fbaecb-6ef3-4e9a-8937-977630a541f2" providerId="ADAL" clId="{CBBADD7E-CE51-408E-929F-000E5FA13200}" dt="2021-09-07T18:30:21.114" v="0"/>
        <pc:sldMkLst>
          <pc:docMk/>
          <pc:sldMk cId="280536936" sldId="2076138412"/>
        </pc:sldMkLst>
      </pc:sldChg>
      <pc:sldChg chg="add">
        <pc:chgData name="Mariana Logvinenko" userId="f6fbaecb-6ef3-4e9a-8937-977630a541f2" providerId="ADAL" clId="{CBBADD7E-CE51-408E-929F-000E5FA13200}" dt="2021-09-07T18:30:21.114" v="0"/>
        <pc:sldMkLst>
          <pc:docMk/>
          <pc:sldMk cId="2590693906" sldId="2076138414"/>
        </pc:sldMkLst>
      </pc:sldChg>
      <pc:sldChg chg="add">
        <pc:chgData name="Mariana Logvinenko" userId="f6fbaecb-6ef3-4e9a-8937-977630a541f2" providerId="ADAL" clId="{CBBADD7E-CE51-408E-929F-000E5FA13200}" dt="2021-09-07T18:30:21.114" v="0"/>
        <pc:sldMkLst>
          <pc:docMk/>
          <pc:sldMk cId="4087483373" sldId="2076138416"/>
        </pc:sldMkLst>
      </pc:sldChg>
      <pc:sldChg chg="add">
        <pc:chgData name="Mariana Logvinenko" userId="f6fbaecb-6ef3-4e9a-8937-977630a541f2" providerId="ADAL" clId="{CBBADD7E-CE51-408E-929F-000E5FA13200}" dt="2021-09-07T18:30:21.114" v="0"/>
        <pc:sldMkLst>
          <pc:docMk/>
          <pc:sldMk cId="978573218" sldId="2076138418"/>
        </pc:sldMkLst>
      </pc:sldChg>
      <pc:sldChg chg="add">
        <pc:chgData name="Mariana Logvinenko" userId="f6fbaecb-6ef3-4e9a-8937-977630a541f2" providerId="ADAL" clId="{CBBADD7E-CE51-408E-929F-000E5FA13200}" dt="2021-09-07T18:30:21.114" v="0"/>
        <pc:sldMkLst>
          <pc:docMk/>
          <pc:sldMk cId="4146419119" sldId="2076138420"/>
        </pc:sldMkLst>
      </pc:sldChg>
      <pc:sldChg chg="add modNotesTx">
        <pc:chgData name="Mariana Logvinenko" userId="f6fbaecb-6ef3-4e9a-8937-977630a541f2" providerId="ADAL" clId="{CBBADD7E-CE51-408E-929F-000E5FA13200}" dt="2021-09-08T07:26:40.001" v="10881" actId="20577"/>
        <pc:sldMkLst>
          <pc:docMk/>
          <pc:sldMk cId="521078407" sldId="2076138421"/>
        </pc:sldMkLst>
      </pc:sldChg>
      <pc:sldChg chg="modSp add mod modNotesTx">
        <pc:chgData name="Mariana Logvinenko" userId="f6fbaecb-6ef3-4e9a-8937-977630a541f2" providerId="ADAL" clId="{CBBADD7E-CE51-408E-929F-000E5FA13200}" dt="2021-09-08T07:31:39.820" v="10962" actId="20577"/>
        <pc:sldMkLst>
          <pc:docMk/>
          <pc:sldMk cId="2500901594" sldId="2076138422"/>
        </pc:sldMkLst>
        <pc:spChg chg="mod">
          <ac:chgData name="Mariana Logvinenko" userId="f6fbaecb-6ef3-4e9a-8937-977630a541f2" providerId="ADAL" clId="{CBBADD7E-CE51-408E-929F-000E5FA13200}" dt="2021-09-08T07:31:22.847" v="10961" actId="20577"/>
          <ac:spMkLst>
            <pc:docMk/>
            <pc:sldMk cId="2500901594" sldId="2076138422"/>
            <ac:spMk id="2" creationId="{511C5C82-0180-421F-BEB9-99CDF41A8B1E}"/>
          </ac:spMkLst>
        </pc:spChg>
      </pc:sldChg>
      <pc:sldChg chg="add">
        <pc:chgData name="Mariana Logvinenko" userId="f6fbaecb-6ef3-4e9a-8937-977630a541f2" providerId="ADAL" clId="{CBBADD7E-CE51-408E-929F-000E5FA13200}" dt="2021-09-07T18:30:21.114" v="0"/>
        <pc:sldMkLst>
          <pc:docMk/>
          <pc:sldMk cId="844750055" sldId="2076138424"/>
        </pc:sldMkLst>
      </pc:sldChg>
      <pc:sldChg chg="add modNotesTx">
        <pc:chgData name="Mariana Logvinenko" userId="f6fbaecb-6ef3-4e9a-8937-977630a541f2" providerId="ADAL" clId="{CBBADD7E-CE51-408E-929F-000E5FA13200}" dt="2021-09-08T07:26:21.464" v="10880" actId="20577"/>
        <pc:sldMkLst>
          <pc:docMk/>
          <pc:sldMk cId="1422519332" sldId="2076138425"/>
        </pc:sldMkLst>
      </pc:sldChg>
      <pc:sldChg chg="add">
        <pc:chgData name="Mariana Logvinenko" userId="f6fbaecb-6ef3-4e9a-8937-977630a541f2" providerId="ADAL" clId="{CBBADD7E-CE51-408E-929F-000E5FA13200}" dt="2021-09-07T18:30:21.114" v="0"/>
        <pc:sldMkLst>
          <pc:docMk/>
          <pc:sldMk cId="2906675787" sldId="2076138426"/>
        </pc:sldMkLst>
      </pc:sldChg>
      <pc:sldChg chg="add">
        <pc:chgData name="Mariana Logvinenko" userId="f6fbaecb-6ef3-4e9a-8937-977630a541f2" providerId="ADAL" clId="{CBBADD7E-CE51-408E-929F-000E5FA13200}" dt="2021-09-07T18:30:21.114" v="0"/>
        <pc:sldMkLst>
          <pc:docMk/>
          <pc:sldMk cId="2054665306" sldId="2076138427"/>
        </pc:sldMkLst>
      </pc:sldChg>
      <pc:sldChg chg="add">
        <pc:chgData name="Mariana Logvinenko" userId="f6fbaecb-6ef3-4e9a-8937-977630a541f2" providerId="ADAL" clId="{CBBADD7E-CE51-408E-929F-000E5FA13200}" dt="2021-09-07T18:30:21.114" v="0"/>
        <pc:sldMkLst>
          <pc:docMk/>
          <pc:sldMk cId="4284760993" sldId="2076138428"/>
        </pc:sldMkLst>
      </pc:sldChg>
      <pc:sldChg chg="add">
        <pc:chgData name="Mariana Logvinenko" userId="f6fbaecb-6ef3-4e9a-8937-977630a541f2" providerId="ADAL" clId="{CBBADD7E-CE51-408E-929F-000E5FA13200}" dt="2021-09-07T18:30:21.114" v="0"/>
        <pc:sldMkLst>
          <pc:docMk/>
          <pc:sldMk cId="3884331910" sldId="2076138429"/>
        </pc:sldMkLst>
      </pc:sldChg>
      <pc:sldChg chg="add">
        <pc:chgData name="Mariana Logvinenko" userId="f6fbaecb-6ef3-4e9a-8937-977630a541f2" providerId="ADAL" clId="{CBBADD7E-CE51-408E-929F-000E5FA13200}" dt="2021-09-07T18:30:21.114" v="0"/>
        <pc:sldMkLst>
          <pc:docMk/>
          <pc:sldMk cId="970904601" sldId="2076138432"/>
        </pc:sldMkLst>
      </pc:sldChg>
      <pc:sldChg chg="add">
        <pc:chgData name="Mariana Logvinenko" userId="f6fbaecb-6ef3-4e9a-8937-977630a541f2" providerId="ADAL" clId="{CBBADD7E-CE51-408E-929F-000E5FA13200}" dt="2021-09-07T18:30:21.114" v="0"/>
        <pc:sldMkLst>
          <pc:docMk/>
          <pc:sldMk cId="2047948795" sldId="2076138433"/>
        </pc:sldMkLst>
      </pc:sldChg>
      <pc:sldChg chg="add modNotesTx">
        <pc:chgData name="Mariana Logvinenko" userId="f6fbaecb-6ef3-4e9a-8937-977630a541f2" providerId="ADAL" clId="{CBBADD7E-CE51-408E-929F-000E5FA13200}" dt="2021-09-08T11:16:32.903" v="11354" actId="20577"/>
        <pc:sldMkLst>
          <pc:docMk/>
          <pc:sldMk cId="1402695572" sldId="2076138435"/>
        </pc:sldMkLst>
      </pc:sldChg>
      <pc:sldChg chg="add modNotesTx">
        <pc:chgData name="Mariana Logvinenko" userId="f6fbaecb-6ef3-4e9a-8937-977630a541f2" providerId="ADAL" clId="{CBBADD7E-CE51-408E-929F-000E5FA13200}" dt="2021-09-08T11:17:34.758" v="11355" actId="20577"/>
        <pc:sldMkLst>
          <pc:docMk/>
          <pc:sldMk cId="79743137" sldId="2076138436"/>
        </pc:sldMkLst>
      </pc:sldChg>
      <pc:sldChg chg="modSp add mod modNotesTx">
        <pc:chgData name="Mariana Logvinenko" userId="f6fbaecb-6ef3-4e9a-8937-977630a541f2" providerId="ADAL" clId="{CBBADD7E-CE51-408E-929F-000E5FA13200}" dt="2021-09-08T11:20:00.742" v="11362" actId="20577"/>
        <pc:sldMkLst>
          <pc:docMk/>
          <pc:sldMk cId="2169931161" sldId="2076138437"/>
        </pc:sldMkLst>
        <pc:spChg chg="mod">
          <ac:chgData name="Mariana Logvinenko" userId="f6fbaecb-6ef3-4e9a-8937-977630a541f2" providerId="ADAL" clId="{CBBADD7E-CE51-408E-929F-000E5FA13200}" dt="2021-09-08T11:20:00.742" v="11362" actId="20577"/>
          <ac:spMkLst>
            <pc:docMk/>
            <pc:sldMk cId="2169931161" sldId="2076138437"/>
            <ac:spMk id="17" creationId="{1345F3D6-EE4A-45F8-8FF3-9841C2B76716}"/>
          </ac:spMkLst>
        </pc:spChg>
      </pc:sldChg>
      <pc:sldChg chg="add">
        <pc:chgData name="Mariana Logvinenko" userId="f6fbaecb-6ef3-4e9a-8937-977630a541f2" providerId="ADAL" clId="{CBBADD7E-CE51-408E-929F-000E5FA13200}" dt="2021-09-07T18:30:21.114" v="0"/>
        <pc:sldMkLst>
          <pc:docMk/>
          <pc:sldMk cId="1346145385" sldId="2076138438"/>
        </pc:sldMkLst>
      </pc:sldChg>
      <pc:sldChg chg="add">
        <pc:chgData name="Mariana Logvinenko" userId="f6fbaecb-6ef3-4e9a-8937-977630a541f2" providerId="ADAL" clId="{CBBADD7E-CE51-408E-929F-000E5FA13200}" dt="2021-09-07T18:30:21.114" v="0"/>
        <pc:sldMkLst>
          <pc:docMk/>
          <pc:sldMk cId="1310590061" sldId="2076138439"/>
        </pc:sldMkLst>
      </pc:sldChg>
      <pc:sldChg chg="add">
        <pc:chgData name="Mariana Logvinenko" userId="f6fbaecb-6ef3-4e9a-8937-977630a541f2" providerId="ADAL" clId="{CBBADD7E-CE51-408E-929F-000E5FA13200}" dt="2021-09-07T18:30:21.114" v="0"/>
        <pc:sldMkLst>
          <pc:docMk/>
          <pc:sldMk cId="3712019576" sldId="2076138440"/>
        </pc:sldMkLst>
      </pc:sldChg>
      <pc:sldChg chg="add">
        <pc:chgData name="Mariana Logvinenko" userId="f6fbaecb-6ef3-4e9a-8937-977630a541f2" providerId="ADAL" clId="{CBBADD7E-CE51-408E-929F-000E5FA13200}" dt="2021-09-07T18:30:21.114" v="0"/>
        <pc:sldMkLst>
          <pc:docMk/>
          <pc:sldMk cId="1263675684" sldId="2076138441"/>
        </pc:sldMkLst>
      </pc:sldChg>
      <pc:sldChg chg="add">
        <pc:chgData name="Mariana Logvinenko" userId="f6fbaecb-6ef3-4e9a-8937-977630a541f2" providerId="ADAL" clId="{CBBADD7E-CE51-408E-929F-000E5FA13200}" dt="2021-09-07T18:30:21.114" v="0"/>
        <pc:sldMkLst>
          <pc:docMk/>
          <pc:sldMk cId="2303835237" sldId="2076138442"/>
        </pc:sldMkLst>
      </pc:sldChg>
      <pc:sldChg chg="add modNotesTx">
        <pc:chgData name="Mariana Logvinenko" userId="f6fbaecb-6ef3-4e9a-8937-977630a541f2" providerId="ADAL" clId="{CBBADD7E-CE51-408E-929F-000E5FA13200}" dt="2021-09-08T04:55:51.842" v="3"/>
        <pc:sldMkLst>
          <pc:docMk/>
          <pc:sldMk cId="697730127" sldId="2076138444"/>
        </pc:sldMkLst>
      </pc:sldChg>
      <pc:sldChg chg="add modNotesTx">
        <pc:chgData name="Mariana Logvinenko" userId="f6fbaecb-6ef3-4e9a-8937-977630a541f2" providerId="ADAL" clId="{CBBADD7E-CE51-408E-929F-000E5FA13200}" dt="2021-09-08T11:09:13.469" v="11327" actId="20577"/>
        <pc:sldMkLst>
          <pc:docMk/>
          <pc:sldMk cId="3648315449" sldId="2076138445"/>
        </pc:sldMkLst>
      </pc:sldChg>
      <pc:sldChg chg="add">
        <pc:chgData name="Mariana Logvinenko" userId="f6fbaecb-6ef3-4e9a-8937-977630a541f2" providerId="ADAL" clId="{CBBADD7E-CE51-408E-929F-000E5FA13200}" dt="2021-09-07T18:30:21.114" v="0"/>
        <pc:sldMkLst>
          <pc:docMk/>
          <pc:sldMk cId="2460768957" sldId="2076138446"/>
        </pc:sldMkLst>
      </pc:sldChg>
      <pc:sldChg chg="add">
        <pc:chgData name="Mariana Logvinenko" userId="f6fbaecb-6ef3-4e9a-8937-977630a541f2" providerId="ADAL" clId="{CBBADD7E-CE51-408E-929F-000E5FA13200}" dt="2021-09-07T18:30:21.114" v="0"/>
        <pc:sldMkLst>
          <pc:docMk/>
          <pc:sldMk cId="1709960971" sldId="2076138447"/>
        </pc:sldMkLst>
      </pc:sldChg>
      <pc:sldChg chg="add">
        <pc:chgData name="Mariana Logvinenko" userId="f6fbaecb-6ef3-4e9a-8937-977630a541f2" providerId="ADAL" clId="{CBBADD7E-CE51-408E-929F-000E5FA13200}" dt="2021-09-07T18:30:21.114" v="0"/>
        <pc:sldMkLst>
          <pc:docMk/>
          <pc:sldMk cId="739086260" sldId="2076138448"/>
        </pc:sldMkLst>
      </pc:sldChg>
      <pc:sldChg chg="add">
        <pc:chgData name="Mariana Logvinenko" userId="f6fbaecb-6ef3-4e9a-8937-977630a541f2" providerId="ADAL" clId="{CBBADD7E-CE51-408E-929F-000E5FA13200}" dt="2021-09-07T18:30:21.114" v="0"/>
        <pc:sldMkLst>
          <pc:docMk/>
          <pc:sldMk cId="1139790127" sldId="2076138449"/>
        </pc:sldMkLst>
      </pc:sldChg>
      <pc:sldChg chg="add">
        <pc:chgData name="Mariana Logvinenko" userId="f6fbaecb-6ef3-4e9a-8937-977630a541f2" providerId="ADAL" clId="{CBBADD7E-CE51-408E-929F-000E5FA13200}" dt="2021-09-07T18:30:21.114" v="0"/>
        <pc:sldMkLst>
          <pc:docMk/>
          <pc:sldMk cId="2918610001" sldId="2076138450"/>
        </pc:sldMkLst>
      </pc:sldChg>
      <pc:sldChg chg="add">
        <pc:chgData name="Mariana Logvinenko" userId="f6fbaecb-6ef3-4e9a-8937-977630a541f2" providerId="ADAL" clId="{CBBADD7E-CE51-408E-929F-000E5FA13200}" dt="2021-09-07T18:30:21.114" v="0"/>
        <pc:sldMkLst>
          <pc:docMk/>
          <pc:sldMk cId="2778380889" sldId="2076138451"/>
        </pc:sldMkLst>
      </pc:sldChg>
      <pc:sldChg chg="add">
        <pc:chgData name="Mariana Logvinenko" userId="f6fbaecb-6ef3-4e9a-8937-977630a541f2" providerId="ADAL" clId="{CBBADD7E-CE51-408E-929F-000E5FA13200}" dt="2021-09-07T18:30:21.114" v="0"/>
        <pc:sldMkLst>
          <pc:docMk/>
          <pc:sldMk cId="4042974201" sldId="2076138452"/>
        </pc:sldMkLst>
      </pc:sldChg>
      <pc:sldChg chg="add">
        <pc:chgData name="Mariana Logvinenko" userId="f6fbaecb-6ef3-4e9a-8937-977630a541f2" providerId="ADAL" clId="{CBBADD7E-CE51-408E-929F-000E5FA13200}" dt="2021-09-07T18:30:21.114" v="0"/>
        <pc:sldMkLst>
          <pc:docMk/>
          <pc:sldMk cId="2396657238" sldId="2076138453"/>
        </pc:sldMkLst>
      </pc:sldChg>
      <pc:sldChg chg="add">
        <pc:chgData name="Mariana Logvinenko" userId="f6fbaecb-6ef3-4e9a-8937-977630a541f2" providerId="ADAL" clId="{CBBADD7E-CE51-408E-929F-000E5FA13200}" dt="2021-09-07T18:30:21.114" v="0"/>
        <pc:sldMkLst>
          <pc:docMk/>
          <pc:sldMk cId="1413703957" sldId="2076138454"/>
        </pc:sldMkLst>
      </pc:sldChg>
      <pc:sldChg chg="add">
        <pc:chgData name="Mariana Logvinenko" userId="f6fbaecb-6ef3-4e9a-8937-977630a541f2" providerId="ADAL" clId="{CBBADD7E-CE51-408E-929F-000E5FA13200}" dt="2021-09-07T18:30:21.114" v="0"/>
        <pc:sldMkLst>
          <pc:docMk/>
          <pc:sldMk cId="2696245335" sldId="2076138455"/>
        </pc:sldMkLst>
      </pc:sldChg>
      <pc:sldChg chg="add">
        <pc:chgData name="Mariana Logvinenko" userId="f6fbaecb-6ef3-4e9a-8937-977630a541f2" providerId="ADAL" clId="{CBBADD7E-CE51-408E-929F-000E5FA13200}" dt="2021-09-07T18:30:21.114" v="0"/>
        <pc:sldMkLst>
          <pc:docMk/>
          <pc:sldMk cId="957373859" sldId="2076138456"/>
        </pc:sldMkLst>
      </pc:sldChg>
      <pc:sldChg chg="add">
        <pc:chgData name="Mariana Logvinenko" userId="f6fbaecb-6ef3-4e9a-8937-977630a541f2" providerId="ADAL" clId="{CBBADD7E-CE51-408E-929F-000E5FA13200}" dt="2021-09-07T18:30:21.114" v="0"/>
        <pc:sldMkLst>
          <pc:docMk/>
          <pc:sldMk cId="4273774983" sldId="2076138458"/>
        </pc:sldMkLst>
      </pc:sldChg>
      <pc:sldChg chg="add">
        <pc:chgData name="Mariana Logvinenko" userId="f6fbaecb-6ef3-4e9a-8937-977630a541f2" providerId="ADAL" clId="{CBBADD7E-CE51-408E-929F-000E5FA13200}" dt="2021-09-07T18:30:21.114" v="0"/>
        <pc:sldMkLst>
          <pc:docMk/>
          <pc:sldMk cId="3818397620" sldId="2076138460"/>
        </pc:sldMkLst>
      </pc:sldChg>
      <pc:sldChg chg="add">
        <pc:chgData name="Mariana Logvinenko" userId="f6fbaecb-6ef3-4e9a-8937-977630a541f2" providerId="ADAL" clId="{CBBADD7E-CE51-408E-929F-000E5FA13200}" dt="2021-09-07T18:30:21.114" v="0"/>
        <pc:sldMkLst>
          <pc:docMk/>
          <pc:sldMk cId="42930766" sldId="2076138462"/>
        </pc:sldMkLst>
      </pc:sldChg>
      <pc:sldChg chg="add">
        <pc:chgData name="Mariana Logvinenko" userId="f6fbaecb-6ef3-4e9a-8937-977630a541f2" providerId="ADAL" clId="{CBBADD7E-CE51-408E-929F-000E5FA13200}" dt="2021-09-07T18:30:21.114" v="0"/>
        <pc:sldMkLst>
          <pc:docMk/>
          <pc:sldMk cId="3830672810" sldId="2076138463"/>
        </pc:sldMkLst>
      </pc:sldChg>
      <pc:sldChg chg="add">
        <pc:chgData name="Mariana Logvinenko" userId="f6fbaecb-6ef3-4e9a-8937-977630a541f2" providerId="ADAL" clId="{CBBADD7E-CE51-408E-929F-000E5FA13200}" dt="2021-09-07T18:30:21.114" v="0"/>
        <pc:sldMkLst>
          <pc:docMk/>
          <pc:sldMk cId="1282716446" sldId="2076138464"/>
        </pc:sldMkLst>
      </pc:sldChg>
      <pc:sldChg chg="add">
        <pc:chgData name="Mariana Logvinenko" userId="f6fbaecb-6ef3-4e9a-8937-977630a541f2" providerId="ADAL" clId="{CBBADD7E-CE51-408E-929F-000E5FA13200}" dt="2021-09-07T18:30:21.114" v="0"/>
        <pc:sldMkLst>
          <pc:docMk/>
          <pc:sldMk cId="2613895525" sldId="2076138465"/>
        </pc:sldMkLst>
      </pc:sldChg>
      <pc:sldChg chg="add">
        <pc:chgData name="Mariana Logvinenko" userId="f6fbaecb-6ef3-4e9a-8937-977630a541f2" providerId="ADAL" clId="{CBBADD7E-CE51-408E-929F-000E5FA13200}" dt="2021-09-07T18:30:21.114" v="0"/>
        <pc:sldMkLst>
          <pc:docMk/>
          <pc:sldMk cId="2609227506" sldId="2076138466"/>
        </pc:sldMkLst>
      </pc:sldChg>
      <pc:sldChg chg="add modNotesTx">
        <pc:chgData name="Mariana Logvinenko" userId="f6fbaecb-6ef3-4e9a-8937-977630a541f2" providerId="ADAL" clId="{CBBADD7E-CE51-408E-929F-000E5FA13200}" dt="2021-09-08T07:05:51.741" v="9490"/>
        <pc:sldMkLst>
          <pc:docMk/>
          <pc:sldMk cId="2499540495" sldId="2076138467"/>
        </pc:sldMkLst>
      </pc:sldChg>
      <pc:sldChg chg="add">
        <pc:chgData name="Mariana Logvinenko" userId="f6fbaecb-6ef3-4e9a-8937-977630a541f2" providerId="ADAL" clId="{CBBADD7E-CE51-408E-929F-000E5FA13200}" dt="2021-09-07T18:30:21.114" v="0"/>
        <pc:sldMkLst>
          <pc:docMk/>
          <pc:sldMk cId="489252166" sldId="2076138468"/>
        </pc:sldMkLst>
      </pc:sldChg>
      <pc:sldChg chg="add">
        <pc:chgData name="Mariana Logvinenko" userId="f6fbaecb-6ef3-4e9a-8937-977630a541f2" providerId="ADAL" clId="{CBBADD7E-CE51-408E-929F-000E5FA13200}" dt="2021-09-07T18:30:21.114" v="0"/>
        <pc:sldMkLst>
          <pc:docMk/>
          <pc:sldMk cId="891788290" sldId="2076138470"/>
        </pc:sldMkLst>
      </pc:sldChg>
      <pc:sldChg chg="add">
        <pc:chgData name="Mariana Logvinenko" userId="f6fbaecb-6ef3-4e9a-8937-977630a541f2" providerId="ADAL" clId="{CBBADD7E-CE51-408E-929F-000E5FA13200}" dt="2021-09-07T18:30:21.114" v="0"/>
        <pc:sldMkLst>
          <pc:docMk/>
          <pc:sldMk cId="691318678" sldId="2076138471"/>
        </pc:sldMkLst>
      </pc:sldChg>
      <pc:sldChg chg="add modNotesTx">
        <pc:chgData name="Mariana Logvinenko" userId="f6fbaecb-6ef3-4e9a-8937-977630a541f2" providerId="ADAL" clId="{CBBADD7E-CE51-408E-929F-000E5FA13200}" dt="2021-09-08T11:12:42.307" v="11341" actId="20577"/>
        <pc:sldMkLst>
          <pc:docMk/>
          <pc:sldMk cId="3691044692" sldId="2076138472"/>
        </pc:sldMkLst>
      </pc:sldChg>
      <pc:sldChg chg="add">
        <pc:chgData name="Mariana Logvinenko" userId="f6fbaecb-6ef3-4e9a-8937-977630a541f2" providerId="ADAL" clId="{CBBADD7E-CE51-408E-929F-000E5FA13200}" dt="2021-09-07T18:30:21.114" v="0"/>
        <pc:sldMkLst>
          <pc:docMk/>
          <pc:sldMk cId="1098297574" sldId="2076138473"/>
        </pc:sldMkLst>
      </pc:sldChg>
      <pc:sldChg chg="add">
        <pc:chgData name="Mariana Logvinenko" userId="f6fbaecb-6ef3-4e9a-8937-977630a541f2" providerId="ADAL" clId="{CBBADD7E-CE51-408E-929F-000E5FA13200}" dt="2021-09-07T18:30:21.114" v="0"/>
        <pc:sldMkLst>
          <pc:docMk/>
          <pc:sldMk cId="1317036260" sldId="2076138474"/>
        </pc:sldMkLst>
      </pc:sldChg>
      <pc:sldChg chg="add modNotesTx">
        <pc:chgData name="Mariana Logvinenko" userId="f6fbaecb-6ef3-4e9a-8937-977630a541f2" providerId="ADAL" clId="{CBBADD7E-CE51-408E-929F-000E5FA13200}" dt="2021-09-08T06:22:23.188" v="4887"/>
        <pc:sldMkLst>
          <pc:docMk/>
          <pc:sldMk cId="1355570916" sldId="2076138475"/>
        </pc:sldMkLst>
      </pc:sldChg>
      <pc:sldChg chg="add">
        <pc:chgData name="Mariana Logvinenko" userId="f6fbaecb-6ef3-4e9a-8937-977630a541f2" providerId="ADAL" clId="{CBBADD7E-CE51-408E-929F-000E5FA13200}" dt="2021-09-07T18:30:21.114" v="0"/>
        <pc:sldMkLst>
          <pc:docMk/>
          <pc:sldMk cId="2571335751" sldId="2076138476"/>
        </pc:sldMkLst>
      </pc:sldChg>
      <pc:sldChg chg="add modNotesTx">
        <pc:chgData name="Mariana Logvinenko" userId="f6fbaecb-6ef3-4e9a-8937-977630a541f2" providerId="ADAL" clId="{CBBADD7E-CE51-408E-929F-000E5FA13200}" dt="2021-09-08T07:07:55.787" v="9501"/>
        <pc:sldMkLst>
          <pc:docMk/>
          <pc:sldMk cId="1751321012" sldId="2076138477"/>
        </pc:sldMkLst>
      </pc:sldChg>
      <pc:sldChg chg="add">
        <pc:chgData name="Mariana Logvinenko" userId="f6fbaecb-6ef3-4e9a-8937-977630a541f2" providerId="ADAL" clId="{CBBADD7E-CE51-408E-929F-000E5FA13200}" dt="2021-09-07T18:30:21.114" v="0"/>
        <pc:sldMkLst>
          <pc:docMk/>
          <pc:sldMk cId="2584550357" sldId="2076138478"/>
        </pc:sldMkLst>
      </pc:sldChg>
      <pc:sldChg chg="add">
        <pc:chgData name="Mariana Logvinenko" userId="f6fbaecb-6ef3-4e9a-8937-977630a541f2" providerId="ADAL" clId="{CBBADD7E-CE51-408E-929F-000E5FA13200}" dt="2021-09-07T18:30:21.114" v="0"/>
        <pc:sldMkLst>
          <pc:docMk/>
          <pc:sldMk cId="1687038123" sldId="2076138479"/>
        </pc:sldMkLst>
      </pc:sldChg>
      <pc:sldChg chg="add">
        <pc:chgData name="Mariana Logvinenko" userId="f6fbaecb-6ef3-4e9a-8937-977630a541f2" providerId="ADAL" clId="{CBBADD7E-CE51-408E-929F-000E5FA13200}" dt="2021-09-07T18:30:21.114" v="0"/>
        <pc:sldMkLst>
          <pc:docMk/>
          <pc:sldMk cId="3736888017" sldId="2076138480"/>
        </pc:sldMkLst>
      </pc:sldChg>
      <pc:sldChg chg="add">
        <pc:chgData name="Mariana Logvinenko" userId="f6fbaecb-6ef3-4e9a-8937-977630a541f2" providerId="ADAL" clId="{CBBADD7E-CE51-408E-929F-000E5FA13200}" dt="2021-09-07T18:30:21.114" v="0"/>
        <pc:sldMkLst>
          <pc:docMk/>
          <pc:sldMk cId="1035084217" sldId="2076138481"/>
        </pc:sldMkLst>
      </pc:sldChg>
      <pc:sldChg chg="add">
        <pc:chgData name="Mariana Logvinenko" userId="f6fbaecb-6ef3-4e9a-8937-977630a541f2" providerId="ADAL" clId="{CBBADD7E-CE51-408E-929F-000E5FA13200}" dt="2021-09-07T18:30:21.114" v="0"/>
        <pc:sldMkLst>
          <pc:docMk/>
          <pc:sldMk cId="2826068891" sldId="2076138482"/>
        </pc:sldMkLst>
      </pc:sldChg>
      <pc:sldChg chg="add">
        <pc:chgData name="Mariana Logvinenko" userId="f6fbaecb-6ef3-4e9a-8937-977630a541f2" providerId="ADAL" clId="{CBBADD7E-CE51-408E-929F-000E5FA13200}" dt="2021-09-07T18:30:21.114" v="0"/>
        <pc:sldMkLst>
          <pc:docMk/>
          <pc:sldMk cId="3840431851" sldId="2076138483"/>
        </pc:sldMkLst>
      </pc:sldChg>
      <pc:sldChg chg="add">
        <pc:chgData name="Mariana Logvinenko" userId="f6fbaecb-6ef3-4e9a-8937-977630a541f2" providerId="ADAL" clId="{CBBADD7E-CE51-408E-929F-000E5FA13200}" dt="2021-09-07T18:30:21.114" v="0"/>
        <pc:sldMkLst>
          <pc:docMk/>
          <pc:sldMk cId="2933991364" sldId="2076138484"/>
        </pc:sldMkLst>
      </pc:sldChg>
      <pc:sldChg chg="add">
        <pc:chgData name="Mariana Logvinenko" userId="f6fbaecb-6ef3-4e9a-8937-977630a541f2" providerId="ADAL" clId="{CBBADD7E-CE51-408E-929F-000E5FA13200}" dt="2021-09-07T18:30:21.114" v="0"/>
        <pc:sldMkLst>
          <pc:docMk/>
          <pc:sldMk cId="3762366088" sldId="2076138485"/>
        </pc:sldMkLst>
      </pc:sldChg>
      <pc:sldChg chg="add mod modShow">
        <pc:chgData name="Mariana Logvinenko" userId="f6fbaecb-6ef3-4e9a-8937-977630a541f2" providerId="ADAL" clId="{CBBADD7E-CE51-408E-929F-000E5FA13200}" dt="2021-09-09T07:41:47.771" v="11380" actId="729"/>
        <pc:sldMkLst>
          <pc:docMk/>
          <pc:sldMk cId="804796417" sldId="2076138486"/>
        </pc:sldMkLst>
      </pc:sldChg>
      <pc:sldChg chg="add">
        <pc:chgData name="Mariana Logvinenko" userId="f6fbaecb-6ef3-4e9a-8937-977630a541f2" providerId="ADAL" clId="{CBBADD7E-CE51-408E-929F-000E5FA13200}" dt="2021-09-07T18:30:21.114" v="0"/>
        <pc:sldMkLst>
          <pc:docMk/>
          <pc:sldMk cId="618516151" sldId="2076138487"/>
        </pc:sldMkLst>
      </pc:sldChg>
      <pc:sldChg chg="add mod modShow">
        <pc:chgData name="Mariana Logvinenko" userId="f6fbaecb-6ef3-4e9a-8937-977630a541f2" providerId="ADAL" clId="{CBBADD7E-CE51-408E-929F-000E5FA13200}" dt="2021-09-08T11:12:09.727" v="11340" actId="729"/>
        <pc:sldMkLst>
          <pc:docMk/>
          <pc:sldMk cId="338150133" sldId="2076138488"/>
        </pc:sldMkLst>
      </pc:sldChg>
      <pc:sldChg chg="add">
        <pc:chgData name="Mariana Logvinenko" userId="f6fbaecb-6ef3-4e9a-8937-977630a541f2" providerId="ADAL" clId="{CBBADD7E-CE51-408E-929F-000E5FA13200}" dt="2021-09-07T18:30:21.114" v="0"/>
        <pc:sldMkLst>
          <pc:docMk/>
          <pc:sldMk cId="2434339912" sldId="2076138489"/>
        </pc:sldMkLst>
      </pc:sldChg>
      <pc:sldChg chg="add">
        <pc:chgData name="Mariana Logvinenko" userId="f6fbaecb-6ef3-4e9a-8937-977630a541f2" providerId="ADAL" clId="{CBBADD7E-CE51-408E-929F-000E5FA13200}" dt="2021-09-07T18:30:21.114" v="0"/>
        <pc:sldMkLst>
          <pc:docMk/>
          <pc:sldMk cId="2273186333" sldId="2076138491"/>
        </pc:sldMkLst>
      </pc:sldChg>
      <pc:sldChg chg="add">
        <pc:chgData name="Mariana Logvinenko" userId="f6fbaecb-6ef3-4e9a-8937-977630a541f2" providerId="ADAL" clId="{CBBADD7E-CE51-408E-929F-000E5FA13200}" dt="2021-09-07T18:30:21.114" v="0"/>
        <pc:sldMkLst>
          <pc:docMk/>
          <pc:sldMk cId="2195742092" sldId="2076138492"/>
        </pc:sldMkLst>
      </pc:sldChg>
      <pc:sldChg chg="add">
        <pc:chgData name="Mariana Logvinenko" userId="f6fbaecb-6ef3-4e9a-8937-977630a541f2" providerId="ADAL" clId="{CBBADD7E-CE51-408E-929F-000E5FA13200}" dt="2021-09-07T18:30:21.114" v="0"/>
        <pc:sldMkLst>
          <pc:docMk/>
          <pc:sldMk cId="3245192614" sldId="2076138493"/>
        </pc:sldMkLst>
      </pc:sldChg>
      <pc:sldChg chg="add">
        <pc:chgData name="Mariana Logvinenko" userId="f6fbaecb-6ef3-4e9a-8937-977630a541f2" providerId="ADAL" clId="{CBBADD7E-CE51-408E-929F-000E5FA13200}" dt="2021-09-07T18:30:21.114" v="0"/>
        <pc:sldMkLst>
          <pc:docMk/>
          <pc:sldMk cId="3100300612" sldId="2076138494"/>
        </pc:sldMkLst>
      </pc:sldChg>
      <pc:sldChg chg="add">
        <pc:chgData name="Mariana Logvinenko" userId="f6fbaecb-6ef3-4e9a-8937-977630a541f2" providerId="ADAL" clId="{CBBADD7E-CE51-408E-929F-000E5FA13200}" dt="2021-09-07T18:30:21.114" v="0"/>
        <pc:sldMkLst>
          <pc:docMk/>
          <pc:sldMk cId="2680707958" sldId="2076138495"/>
        </pc:sldMkLst>
      </pc:sldChg>
      <pc:sldChg chg="add">
        <pc:chgData name="Mariana Logvinenko" userId="f6fbaecb-6ef3-4e9a-8937-977630a541f2" providerId="ADAL" clId="{CBBADD7E-CE51-408E-929F-000E5FA13200}" dt="2021-09-07T18:30:21.114" v="0"/>
        <pc:sldMkLst>
          <pc:docMk/>
          <pc:sldMk cId="3585766776" sldId="2076138496"/>
        </pc:sldMkLst>
      </pc:sldChg>
      <pc:sldChg chg="add">
        <pc:chgData name="Mariana Logvinenko" userId="f6fbaecb-6ef3-4e9a-8937-977630a541f2" providerId="ADAL" clId="{CBBADD7E-CE51-408E-929F-000E5FA13200}" dt="2021-09-07T18:30:21.114" v="0"/>
        <pc:sldMkLst>
          <pc:docMk/>
          <pc:sldMk cId="1400011542" sldId="2076138497"/>
        </pc:sldMkLst>
      </pc:sldChg>
      <pc:sldChg chg="add">
        <pc:chgData name="Mariana Logvinenko" userId="f6fbaecb-6ef3-4e9a-8937-977630a541f2" providerId="ADAL" clId="{CBBADD7E-CE51-408E-929F-000E5FA13200}" dt="2021-09-07T18:30:21.114" v="0"/>
        <pc:sldMkLst>
          <pc:docMk/>
          <pc:sldMk cId="3238757696" sldId="2076138498"/>
        </pc:sldMkLst>
      </pc:sldChg>
      <pc:sldChg chg="add">
        <pc:chgData name="Mariana Logvinenko" userId="f6fbaecb-6ef3-4e9a-8937-977630a541f2" providerId="ADAL" clId="{CBBADD7E-CE51-408E-929F-000E5FA13200}" dt="2021-09-07T18:30:21.114" v="0"/>
        <pc:sldMkLst>
          <pc:docMk/>
          <pc:sldMk cId="4062528150" sldId="2076138499"/>
        </pc:sldMkLst>
      </pc:sldChg>
      <pc:sldChg chg="add">
        <pc:chgData name="Mariana Logvinenko" userId="f6fbaecb-6ef3-4e9a-8937-977630a541f2" providerId="ADAL" clId="{CBBADD7E-CE51-408E-929F-000E5FA13200}" dt="2021-09-07T18:30:21.114" v="0"/>
        <pc:sldMkLst>
          <pc:docMk/>
          <pc:sldMk cId="3335358026" sldId="2076138500"/>
        </pc:sldMkLst>
      </pc:sldChg>
      <pc:sldChg chg="add">
        <pc:chgData name="Mariana Logvinenko" userId="f6fbaecb-6ef3-4e9a-8937-977630a541f2" providerId="ADAL" clId="{CBBADD7E-CE51-408E-929F-000E5FA13200}" dt="2021-09-07T18:30:21.114" v="0"/>
        <pc:sldMkLst>
          <pc:docMk/>
          <pc:sldMk cId="1426901491" sldId="2076138501"/>
        </pc:sldMkLst>
      </pc:sldChg>
      <pc:sldChg chg="add">
        <pc:chgData name="Mariana Logvinenko" userId="f6fbaecb-6ef3-4e9a-8937-977630a541f2" providerId="ADAL" clId="{CBBADD7E-CE51-408E-929F-000E5FA13200}" dt="2021-09-07T18:30:21.114" v="0"/>
        <pc:sldMkLst>
          <pc:docMk/>
          <pc:sldMk cId="2809221915" sldId="2076138502"/>
        </pc:sldMkLst>
      </pc:sldChg>
      <pc:sldChg chg="add">
        <pc:chgData name="Mariana Logvinenko" userId="f6fbaecb-6ef3-4e9a-8937-977630a541f2" providerId="ADAL" clId="{CBBADD7E-CE51-408E-929F-000E5FA13200}" dt="2021-09-07T18:30:21.114" v="0"/>
        <pc:sldMkLst>
          <pc:docMk/>
          <pc:sldMk cId="2632032229" sldId="2076138503"/>
        </pc:sldMkLst>
      </pc:sldChg>
      <pc:sldChg chg="add">
        <pc:chgData name="Mariana Logvinenko" userId="f6fbaecb-6ef3-4e9a-8937-977630a541f2" providerId="ADAL" clId="{CBBADD7E-CE51-408E-929F-000E5FA13200}" dt="2021-09-07T18:30:21.114" v="0"/>
        <pc:sldMkLst>
          <pc:docMk/>
          <pc:sldMk cId="908127468" sldId="2076138504"/>
        </pc:sldMkLst>
      </pc:sldChg>
      <pc:sldChg chg="add modNotesTx">
        <pc:chgData name="Mariana Logvinenko" userId="f6fbaecb-6ef3-4e9a-8937-977630a541f2" providerId="ADAL" clId="{CBBADD7E-CE51-408E-929F-000E5FA13200}" dt="2021-09-08T07:29:16.024" v="10884" actId="20577"/>
        <pc:sldMkLst>
          <pc:docMk/>
          <pc:sldMk cId="1853938443" sldId="2076138505"/>
        </pc:sldMkLst>
      </pc:sldChg>
      <pc:sldChg chg="mod modShow">
        <pc:chgData name="Mariana Logvinenko" userId="f6fbaecb-6ef3-4e9a-8937-977630a541f2" providerId="ADAL" clId="{CBBADD7E-CE51-408E-929F-000E5FA13200}" dt="2021-09-09T07:41:58.618" v="11381" actId="729"/>
        <pc:sldMkLst>
          <pc:docMk/>
          <pc:sldMk cId="3338834420" sldId="2076138509"/>
        </pc:sldMkLst>
      </pc:sldChg>
      <pc:sldChg chg="del">
        <pc:chgData name="Mariana Logvinenko" userId="f6fbaecb-6ef3-4e9a-8937-977630a541f2" providerId="ADAL" clId="{CBBADD7E-CE51-408E-929F-000E5FA13200}" dt="2021-09-09T07:36:01.323" v="11368" actId="2696"/>
        <pc:sldMkLst>
          <pc:docMk/>
          <pc:sldMk cId="2579121959" sldId="2076138511"/>
        </pc:sldMkLst>
      </pc:sldChg>
      <pc:sldMasterChg chg="del delSldLayout">
        <pc:chgData name="Mariana Logvinenko" userId="f6fbaecb-6ef3-4e9a-8937-977630a541f2" providerId="ADAL" clId="{CBBADD7E-CE51-408E-929F-000E5FA13200}" dt="2021-09-07T18:30:30.237" v="1" actId="2696"/>
        <pc:sldMasterMkLst>
          <pc:docMk/>
          <pc:sldMasterMk cId="1017081749" sldId="2147483648"/>
        </pc:sldMasterMkLst>
        <pc:sldLayoutChg chg="del">
          <pc:chgData name="Mariana Logvinenko" userId="f6fbaecb-6ef3-4e9a-8937-977630a541f2" providerId="ADAL" clId="{CBBADD7E-CE51-408E-929F-000E5FA13200}" dt="2021-09-07T18:30:30.237" v="1" actId="2696"/>
          <pc:sldLayoutMkLst>
            <pc:docMk/>
            <pc:sldMasterMk cId="1017081749" sldId="2147483648"/>
            <pc:sldLayoutMk cId="9275125" sldId="2147483649"/>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2529167361" sldId="2147483650"/>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2301982511" sldId="2147483651"/>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460430142" sldId="2147483652"/>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117668579" sldId="2147483653"/>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391477091" sldId="2147483654"/>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823935963" sldId="2147483655"/>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3257440133" sldId="2147483656"/>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59933692" sldId="2147483657"/>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1072241197" sldId="2147483658"/>
          </pc:sldLayoutMkLst>
        </pc:sldLayoutChg>
        <pc:sldLayoutChg chg="del">
          <pc:chgData name="Mariana Logvinenko" userId="f6fbaecb-6ef3-4e9a-8937-977630a541f2" providerId="ADAL" clId="{CBBADD7E-CE51-408E-929F-000E5FA13200}" dt="2021-09-07T18:30:30.237" v="1" actId="2696"/>
          <pc:sldLayoutMkLst>
            <pc:docMk/>
            <pc:sldMasterMk cId="1017081749" sldId="2147483648"/>
            <pc:sldLayoutMk cId="1357394684" sldId="2147483659"/>
          </pc:sldLayoutMkLst>
        </pc:sldLayoutChg>
      </pc:sldMasterChg>
    </pc:docChg>
  </pc:docChgLst>
  <pc:docChgLst>
    <pc:chgData name="Nicole Pham" userId="fcf2fd0b-d239-447a-af66-38aa065618c6" providerId="ADAL" clId="{1CD6A200-24F4-4E2B-97A0-483811F1C7F4}"/>
    <pc:docChg chg="undo custSel addSld delSld modSld sldOrd delMainMaster modSection">
      <pc:chgData name="Nicole Pham" userId="fcf2fd0b-d239-447a-af66-38aa065618c6" providerId="ADAL" clId="{1CD6A200-24F4-4E2B-97A0-483811F1C7F4}" dt="2021-09-09T08:03:42.057" v="18560" actId="729"/>
      <pc:docMkLst>
        <pc:docMk/>
      </pc:docMkLst>
      <pc:sldChg chg="new">
        <pc:chgData name="Nicole Pham" userId="fcf2fd0b-d239-447a-af66-38aa065618c6" providerId="ADAL" clId="{1CD6A200-24F4-4E2B-97A0-483811F1C7F4}" dt="2021-09-07T18:27:49.003" v="0" actId="680"/>
        <pc:sldMkLst>
          <pc:docMk/>
          <pc:sldMk cId="4247937135" sldId="256"/>
        </pc:sldMkLst>
      </pc:sldChg>
      <pc:sldChg chg="modTransition modNotesTx">
        <pc:chgData name="Nicole Pham" userId="fcf2fd0b-d239-447a-af66-38aa065618c6" providerId="ADAL" clId="{1CD6A200-24F4-4E2B-97A0-483811F1C7F4}" dt="2021-09-08T07:54:54.748" v="18354"/>
        <pc:sldMkLst>
          <pc:docMk/>
          <pc:sldMk cId="874517301" sldId="259"/>
        </pc:sldMkLst>
      </pc:sldChg>
      <pc:sldChg chg="modTransition">
        <pc:chgData name="Nicole Pham" userId="fcf2fd0b-d239-447a-af66-38aa065618c6" providerId="ADAL" clId="{1CD6A200-24F4-4E2B-97A0-483811F1C7F4}" dt="2021-09-08T09:34:50.423" v="18373"/>
        <pc:sldMkLst>
          <pc:docMk/>
          <pc:sldMk cId="4114340332" sldId="262"/>
        </pc:sldMkLst>
      </pc:sldChg>
      <pc:sldChg chg="modTransition">
        <pc:chgData name="Nicole Pham" userId="fcf2fd0b-d239-447a-af66-38aa065618c6" providerId="ADAL" clId="{1CD6A200-24F4-4E2B-97A0-483811F1C7F4}" dt="2021-09-07T20:21:08.606" v="116"/>
        <pc:sldMkLst>
          <pc:docMk/>
          <pc:sldMk cId="3706552238" sldId="265"/>
        </pc:sldMkLst>
      </pc:sldChg>
      <pc:sldChg chg="mod modTransition modShow">
        <pc:chgData name="Nicole Pham" userId="fcf2fd0b-d239-447a-af66-38aa065618c6" providerId="ADAL" clId="{1CD6A200-24F4-4E2B-97A0-483811F1C7F4}" dt="2021-09-09T07:49:40.639" v="18504" actId="729"/>
        <pc:sldMkLst>
          <pc:docMk/>
          <pc:sldMk cId="2784053018" sldId="266"/>
        </pc:sldMkLst>
      </pc:sldChg>
      <pc:sldChg chg="modTransition modNotesTx">
        <pc:chgData name="Nicole Pham" userId="fcf2fd0b-d239-447a-af66-38aa065618c6" providerId="ADAL" clId="{1CD6A200-24F4-4E2B-97A0-483811F1C7F4}" dt="2021-09-08T07:55:01.828" v="18356"/>
        <pc:sldMkLst>
          <pc:docMk/>
          <pc:sldMk cId="1369280617" sldId="267"/>
        </pc:sldMkLst>
      </pc:sldChg>
      <pc:sldChg chg="modTransition">
        <pc:chgData name="Nicole Pham" userId="fcf2fd0b-d239-447a-af66-38aa065618c6" providerId="ADAL" clId="{1CD6A200-24F4-4E2B-97A0-483811F1C7F4}" dt="2021-09-07T20:21:16.913" v="118"/>
        <pc:sldMkLst>
          <pc:docMk/>
          <pc:sldMk cId="1468053678" sldId="268"/>
        </pc:sldMkLst>
      </pc:sldChg>
      <pc:sldChg chg="modTransition">
        <pc:chgData name="Nicole Pham" userId="fcf2fd0b-d239-447a-af66-38aa065618c6" providerId="ADAL" clId="{1CD6A200-24F4-4E2B-97A0-483811F1C7F4}" dt="2021-09-08T10:52:09.642" v="18393"/>
        <pc:sldMkLst>
          <pc:docMk/>
          <pc:sldMk cId="1906726624" sldId="269"/>
        </pc:sldMkLst>
      </pc:sldChg>
      <pc:sldChg chg="delSp modSp mod modTransition modAnim modNotesTx">
        <pc:chgData name="Nicole Pham" userId="fcf2fd0b-d239-447a-af66-38aa065618c6" providerId="ADAL" clId="{1CD6A200-24F4-4E2B-97A0-483811F1C7F4}" dt="2021-09-09T07:53:06.798" v="18530" actId="1035"/>
        <pc:sldMkLst>
          <pc:docMk/>
          <pc:sldMk cId="2115015061" sldId="272"/>
        </pc:sldMkLst>
        <pc:spChg chg="mod">
          <ac:chgData name="Nicole Pham" userId="fcf2fd0b-d239-447a-af66-38aa065618c6" providerId="ADAL" clId="{1CD6A200-24F4-4E2B-97A0-483811F1C7F4}" dt="2021-09-09T07:53:06.798" v="18530" actId="1035"/>
          <ac:spMkLst>
            <pc:docMk/>
            <pc:sldMk cId="2115015061" sldId="272"/>
            <ac:spMk id="4" creationId="{00000000-0000-0000-0000-000000000000}"/>
          </ac:spMkLst>
        </pc:spChg>
        <pc:spChg chg="del mod">
          <ac:chgData name="Nicole Pham" userId="fcf2fd0b-d239-447a-af66-38aa065618c6" providerId="ADAL" clId="{1CD6A200-24F4-4E2B-97A0-483811F1C7F4}" dt="2021-09-07T23:08:39.663" v="734" actId="478"/>
          <ac:spMkLst>
            <pc:docMk/>
            <pc:sldMk cId="2115015061" sldId="272"/>
            <ac:spMk id="7" creationId="{00000000-0000-0000-0000-000000000000}"/>
          </ac:spMkLst>
        </pc:spChg>
        <pc:picChg chg="mod">
          <ac:chgData name="Nicole Pham" userId="fcf2fd0b-d239-447a-af66-38aa065618c6" providerId="ADAL" clId="{1CD6A200-24F4-4E2B-97A0-483811F1C7F4}" dt="2021-09-09T07:53:06.798" v="18530" actId="1035"/>
          <ac:picMkLst>
            <pc:docMk/>
            <pc:sldMk cId="2115015061" sldId="272"/>
            <ac:picMk id="5" creationId="{3760482C-60CC-418F-848D-2F574D716423}"/>
          </ac:picMkLst>
        </pc:picChg>
        <pc:picChg chg="mod">
          <ac:chgData name="Nicole Pham" userId="fcf2fd0b-d239-447a-af66-38aa065618c6" providerId="ADAL" clId="{1CD6A200-24F4-4E2B-97A0-483811F1C7F4}" dt="2021-09-09T07:53:06.798" v="18530" actId="1035"/>
          <ac:picMkLst>
            <pc:docMk/>
            <pc:sldMk cId="2115015061" sldId="272"/>
            <ac:picMk id="10" creationId="{31E581DC-76BD-4024-93BB-2D808172D058}"/>
          </ac:picMkLst>
        </pc:picChg>
        <pc:picChg chg="mod">
          <ac:chgData name="Nicole Pham" userId="fcf2fd0b-d239-447a-af66-38aa065618c6" providerId="ADAL" clId="{1CD6A200-24F4-4E2B-97A0-483811F1C7F4}" dt="2021-09-09T07:53:06.798" v="18530" actId="1035"/>
          <ac:picMkLst>
            <pc:docMk/>
            <pc:sldMk cId="2115015061" sldId="272"/>
            <ac:picMk id="12" creationId="{193EA5D3-A0C8-45E6-BCF5-C47B943C846D}"/>
          </ac:picMkLst>
        </pc:picChg>
        <pc:picChg chg="mod">
          <ac:chgData name="Nicole Pham" userId="fcf2fd0b-d239-447a-af66-38aa065618c6" providerId="ADAL" clId="{1CD6A200-24F4-4E2B-97A0-483811F1C7F4}" dt="2021-09-09T07:53:06.798" v="18530" actId="1035"/>
          <ac:picMkLst>
            <pc:docMk/>
            <pc:sldMk cId="2115015061" sldId="272"/>
            <ac:picMk id="57" creationId="{DB193E12-5C82-409F-81F9-0E59F7ED703A}"/>
          </ac:picMkLst>
        </pc:picChg>
      </pc:sldChg>
      <pc:sldChg chg="mod modShow">
        <pc:chgData name="Nicole Pham" userId="fcf2fd0b-d239-447a-af66-38aa065618c6" providerId="ADAL" clId="{1CD6A200-24F4-4E2B-97A0-483811F1C7F4}" dt="2021-09-07T19:42:17.185" v="29" actId="729"/>
        <pc:sldMkLst>
          <pc:docMk/>
          <pc:sldMk cId="4147694129" sldId="275"/>
        </pc:sldMkLst>
      </pc:sldChg>
      <pc:sldChg chg="modTransition modNotesTx">
        <pc:chgData name="Nicole Pham" userId="fcf2fd0b-d239-447a-af66-38aa065618c6" providerId="ADAL" clId="{1CD6A200-24F4-4E2B-97A0-483811F1C7F4}" dt="2021-09-08T10:51:46.775" v="18383"/>
        <pc:sldMkLst>
          <pc:docMk/>
          <pc:sldMk cId="728128856" sldId="279"/>
        </pc:sldMkLst>
      </pc:sldChg>
      <pc:sldChg chg="modTransition modNotesTx">
        <pc:chgData name="Nicole Pham" userId="fcf2fd0b-d239-447a-af66-38aa065618c6" providerId="ADAL" clId="{1CD6A200-24F4-4E2B-97A0-483811F1C7F4}" dt="2021-09-08T10:51:48.891" v="18384"/>
        <pc:sldMkLst>
          <pc:docMk/>
          <pc:sldMk cId="1842189609" sldId="280"/>
        </pc:sldMkLst>
      </pc:sldChg>
      <pc:sldChg chg="modTransition">
        <pc:chgData name="Nicole Pham" userId="fcf2fd0b-d239-447a-af66-38aa065618c6" providerId="ADAL" clId="{1CD6A200-24F4-4E2B-97A0-483811F1C7F4}" dt="2021-09-08T07:21:39.017" v="18102"/>
        <pc:sldMkLst>
          <pc:docMk/>
          <pc:sldMk cId="3586390243" sldId="285"/>
        </pc:sldMkLst>
      </pc:sldChg>
      <pc:sldChg chg="modTransition">
        <pc:chgData name="Nicole Pham" userId="fcf2fd0b-d239-447a-af66-38aa065618c6" providerId="ADAL" clId="{1CD6A200-24F4-4E2B-97A0-483811F1C7F4}" dt="2021-09-08T07:21:41.078" v="18103"/>
        <pc:sldMkLst>
          <pc:docMk/>
          <pc:sldMk cId="1148905179" sldId="286"/>
        </pc:sldMkLst>
      </pc:sldChg>
      <pc:sldChg chg="mod ord modShow">
        <pc:chgData name="Nicole Pham" userId="fcf2fd0b-d239-447a-af66-38aa065618c6" providerId="ADAL" clId="{1CD6A200-24F4-4E2B-97A0-483811F1C7F4}" dt="2021-09-09T07:38:24.931" v="18484" actId="729"/>
        <pc:sldMkLst>
          <pc:docMk/>
          <pc:sldMk cId="4261934824" sldId="290"/>
        </pc:sldMkLst>
      </pc:sldChg>
      <pc:sldChg chg="modTransition">
        <pc:chgData name="Nicole Pham" userId="fcf2fd0b-d239-447a-af66-38aa065618c6" providerId="ADAL" clId="{1CD6A200-24F4-4E2B-97A0-483811F1C7F4}" dt="2021-09-08T10:52:54.540" v="18410"/>
        <pc:sldMkLst>
          <pc:docMk/>
          <pc:sldMk cId="4190817944" sldId="292"/>
        </pc:sldMkLst>
      </pc:sldChg>
      <pc:sldChg chg="mod modShow modNotesTx">
        <pc:chgData name="Nicole Pham" userId="fcf2fd0b-d239-447a-af66-38aa065618c6" providerId="ADAL" clId="{1CD6A200-24F4-4E2B-97A0-483811F1C7F4}" dt="2021-09-09T07:40:42.336" v="18491" actId="729"/>
        <pc:sldMkLst>
          <pc:docMk/>
          <pc:sldMk cId="3812291717" sldId="295"/>
        </pc:sldMkLst>
      </pc:sldChg>
      <pc:sldChg chg="mod ord modShow">
        <pc:chgData name="Nicole Pham" userId="fcf2fd0b-d239-447a-af66-38aa065618c6" providerId="ADAL" clId="{1CD6A200-24F4-4E2B-97A0-483811F1C7F4}" dt="2021-09-09T07:37:49.942" v="18478" actId="729"/>
        <pc:sldMkLst>
          <pc:docMk/>
          <pc:sldMk cId="4226337938" sldId="297"/>
        </pc:sldMkLst>
      </pc:sldChg>
      <pc:sldChg chg="mod ord modShow">
        <pc:chgData name="Nicole Pham" userId="fcf2fd0b-d239-447a-af66-38aa065618c6" providerId="ADAL" clId="{1CD6A200-24F4-4E2B-97A0-483811F1C7F4}" dt="2021-09-09T07:37:49.942" v="18478" actId="729"/>
        <pc:sldMkLst>
          <pc:docMk/>
          <pc:sldMk cId="2901620989" sldId="298"/>
        </pc:sldMkLst>
      </pc:sldChg>
      <pc:sldChg chg="modTransition">
        <pc:chgData name="Nicole Pham" userId="fcf2fd0b-d239-447a-af66-38aa065618c6" providerId="ADAL" clId="{1CD6A200-24F4-4E2B-97A0-483811F1C7F4}" dt="2021-09-08T10:53:08.558" v="18414"/>
        <pc:sldMkLst>
          <pc:docMk/>
          <pc:sldMk cId="3843901346" sldId="299"/>
        </pc:sldMkLst>
      </pc:sldChg>
      <pc:sldChg chg="modTransition">
        <pc:chgData name="Nicole Pham" userId="fcf2fd0b-d239-447a-af66-38aa065618c6" providerId="ADAL" clId="{1CD6A200-24F4-4E2B-97A0-483811F1C7F4}" dt="2021-09-08T10:51:22.783" v="18378"/>
        <pc:sldMkLst>
          <pc:docMk/>
          <pc:sldMk cId="1480242789" sldId="304"/>
        </pc:sldMkLst>
      </pc:sldChg>
      <pc:sldChg chg="mod modTransition modShow">
        <pc:chgData name="Nicole Pham" userId="fcf2fd0b-d239-447a-af66-38aa065618c6" providerId="ADAL" clId="{1CD6A200-24F4-4E2B-97A0-483811F1C7F4}" dt="2021-09-09T07:37:32.472" v="18476" actId="729"/>
        <pc:sldMkLst>
          <pc:docMk/>
          <pc:sldMk cId="263560172" sldId="320"/>
        </pc:sldMkLst>
      </pc:sldChg>
      <pc:sldChg chg="mod ord modTransition modShow modNotesTx">
        <pc:chgData name="Nicole Pham" userId="fcf2fd0b-d239-447a-af66-38aa065618c6" providerId="ADAL" clId="{1CD6A200-24F4-4E2B-97A0-483811F1C7F4}" dt="2021-09-08T10:52:11.465" v="18394"/>
        <pc:sldMkLst>
          <pc:docMk/>
          <pc:sldMk cId="218694103" sldId="321"/>
        </pc:sldMkLst>
      </pc:sldChg>
      <pc:sldChg chg="modTransition">
        <pc:chgData name="Nicole Pham" userId="fcf2fd0b-d239-447a-af66-38aa065618c6" providerId="ADAL" clId="{1CD6A200-24F4-4E2B-97A0-483811F1C7F4}" dt="2021-09-08T09:20:30.082" v="18363"/>
        <pc:sldMkLst>
          <pc:docMk/>
          <pc:sldMk cId="194490709" sldId="322"/>
        </pc:sldMkLst>
      </pc:sldChg>
      <pc:sldChg chg="modTransition">
        <pc:chgData name="Nicole Pham" userId="fcf2fd0b-d239-447a-af66-38aa065618c6" providerId="ADAL" clId="{1CD6A200-24F4-4E2B-97A0-483811F1C7F4}" dt="2021-09-08T09:20:47.999" v="18370"/>
        <pc:sldMkLst>
          <pc:docMk/>
          <pc:sldMk cId="3923625285" sldId="323"/>
        </pc:sldMkLst>
      </pc:sldChg>
      <pc:sldChg chg="modTransition">
        <pc:chgData name="Nicole Pham" userId="fcf2fd0b-d239-447a-af66-38aa065618c6" providerId="ADAL" clId="{1CD6A200-24F4-4E2B-97A0-483811F1C7F4}" dt="2021-09-08T09:20:52.813" v="18372"/>
        <pc:sldMkLst>
          <pc:docMk/>
          <pc:sldMk cId="919651409" sldId="324"/>
        </pc:sldMkLst>
      </pc:sldChg>
      <pc:sldChg chg="modTransition">
        <pc:chgData name="Nicole Pham" userId="fcf2fd0b-d239-447a-af66-38aa065618c6" providerId="ADAL" clId="{1CD6A200-24F4-4E2B-97A0-483811F1C7F4}" dt="2021-09-08T09:20:44.054" v="18368"/>
        <pc:sldMkLst>
          <pc:docMk/>
          <pc:sldMk cId="671427977" sldId="325"/>
        </pc:sldMkLst>
      </pc:sldChg>
      <pc:sldChg chg="modTransition">
        <pc:chgData name="Nicole Pham" userId="fcf2fd0b-d239-447a-af66-38aa065618c6" providerId="ADAL" clId="{1CD6A200-24F4-4E2B-97A0-483811F1C7F4}" dt="2021-09-08T09:20:42.330" v="18367"/>
        <pc:sldMkLst>
          <pc:docMk/>
          <pc:sldMk cId="1174581283" sldId="326"/>
        </pc:sldMkLst>
      </pc:sldChg>
      <pc:sldChg chg="modTransition">
        <pc:chgData name="Nicole Pham" userId="fcf2fd0b-d239-447a-af66-38aa065618c6" providerId="ADAL" clId="{1CD6A200-24F4-4E2B-97A0-483811F1C7F4}" dt="2021-09-08T09:20:50.063" v="18371"/>
        <pc:sldMkLst>
          <pc:docMk/>
          <pc:sldMk cId="3447680799" sldId="327"/>
        </pc:sldMkLst>
      </pc:sldChg>
      <pc:sldChg chg="modTransition">
        <pc:chgData name="Nicole Pham" userId="fcf2fd0b-d239-447a-af66-38aa065618c6" providerId="ADAL" clId="{1CD6A200-24F4-4E2B-97A0-483811F1C7F4}" dt="2021-09-08T09:20:46.034" v="18369"/>
        <pc:sldMkLst>
          <pc:docMk/>
          <pc:sldMk cId="80574671" sldId="328"/>
        </pc:sldMkLst>
      </pc:sldChg>
      <pc:sldChg chg="mod modShow">
        <pc:chgData name="Nicole Pham" userId="fcf2fd0b-d239-447a-af66-38aa065618c6" providerId="ADAL" clId="{1CD6A200-24F4-4E2B-97A0-483811F1C7F4}" dt="2021-09-09T07:38:04.923" v="18479" actId="729"/>
        <pc:sldMkLst>
          <pc:docMk/>
          <pc:sldMk cId="3120271428" sldId="329"/>
        </pc:sldMkLst>
      </pc:sldChg>
      <pc:sldChg chg="mod modShow">
        <pc:chgData name="Nicole Pham" userId="fcf2fd0b-d239-447a-af66-38aa065618c6" providerId="ADAL" clId="{1CD6A200-24F4-4E2B-97A0-483811F1C7F4}" dt="2021-09-09T07:38:04.923" v="18479" actId="729"/>
        <pc:sldMkLst>
          <pc:docMk/>
          <pc:sldMk cId="2863874696" sldId="330"/>
        </pc:sldMkLst>
      </pc:sldChg>
      <pc:sldChg chg="mod ord modShow">
        <pc:chgData name="Nicole Pham" userId="fcf2fd0b-d239-447a-af66-38aa065618c6" providerId="ADAL" clId="{1CD6A200-24F4-4E2B-97A0-483811F1C7F4}" dt="2021-09-09T07:37:49.942" v="18478" actId="729"/>
        <pc:sldMkLst>
          <pc:docMk/>
          <pc:sldMk cId="2815429161" sldId="331"/>
        </pc:sldMkLst>
      </pc:sldChg>
      <pc:sldChg chg="modTransition">
        <pc:chgData name="Nicole Pham" userId="fcf2fd0b-d239-447a-af66-38aa065618c6" providerId="ADAL" clId="{1CD6A200-24F4-4E2B-97A0-483811F1C7F4}" dt="2021-09-08T10:53:04.738" v="18413"/>
        <pc:sldMkLst>
          <pc:docMk/>
          <pc:sldMk cId="1333378438" sldId="332"/>
        </pc:sldMkLst>
      </pc:sldChg>
      <pc:sldChg chg="mod modShow">
        <pc:chgData name="Nicole Pham" userId="fcf2fd0b-d239-447a-af66-38aa065618c6" providerId="ADAL" clId="{1CD6A200-24F4-4E2B-97A0-483811F1C7F4}" dt="2021-09-09T07:44:12.154" v="18497" actId="729"/>
        <pc:sldMkLst>
          <pc:docMk/>
          <pc:sldMk cId="4272576881" sldId="334"/>
        </pc:sldMkLst>
      </pc:sldChg>
      <pc:sldChg chg="mod modShow">
        <pc:chgData name="Nicole Pham" userId="fcf2fd0b-d239-447a-af66-38aa065618c6" providerId="ADAL" clId="{1CD6A200-24F4-4E2B-97A0-483811F1C7F4}" dt="2021-09-09T07:43:50.006" v="18496" actId="729"/>
        <pc:sldMkLst>
          <pc:docMk/>
          <pc:sldMk cId="723175777" sldId="335"/>
        </pc:sldMkLst>
      </pc:sldChg>
      <pc:sldChg chg="modTransition">
        <pc:chgData name="Nicole Pham" userId="fcf2fd0b-d239-447a-af66-38aa065618c6" providerId="ADAL" clId="{1CD6A200-24F4-4E2B-97A0-483811F1C7F4}" dt="2021-09-07T20:21:45.808" v="124"/>
        <pc:sldMkLst>
          <pc:docMk/>
          <pc:sldMk cId="1962374255" sldId="343"/>
        </pc:sldMkLst>
      </pc:sldChg>
      <pc:sldChg chg="modTransition modNotesTx">
        <pc:chgData name="Nicole Pham" userId="fcf2fd0b-d239-447a-af66-38aa065618c6" providerId="ADAL" clId="{1CD6A200-24F4-4E2B-97A0-483811F1C7F4}" dt="2021-09-08T10:51:50.420" v="18385"/>
        <pc:sldMkLst>
          <pc:docMk/>
          <pc:sldMk cId="20377372" sldId="348"/>
        </pc:sldMkLst>
      </pc:sldChg>
      <pc:sldChg chg="mod modTransition modShow">
        <pc:chgData name="Nicole Pham" userId="fcf2fd0b-d239-447a-af66-38aa065618c6" providerId="ADAL" clId="{1CD6A200-24F4-4E2B-97A0-483811F1C7F4}" dt="2021-09-09T07:49:16.851" v="18503" actId="729"/>
        <pc:sldMkLst>
          <pc:docMk/>
          <pc:sldMk cId="174753734" sldId="350"/>
        </pc:sldMkLst>
      </pc:sldChg>
      <pc:sldChg chg="modTransition">
        <pc:chgData name="Nicole Pham" userId="fcf2fd0b-d239-447a-af66-38aa065618c6" providerId="ADAL" clId="{1CD6A200-24F4-4E2B-97A0-483811F1C7F4}" dt="2021-09-07T20:22:00.365" v="127"/>
        <pc:sldMkLst>
          <pc:docMk/>
          <pc:sldMk cId="2163717117" sldId="354"/>
        </pc:sldMkLst>
      </pc:sldChg>
      <pc:sldChg chg="mod modShow">
        <pc:chgData name="Nicole Pham" userId="fcf2fd0b-d239-447a-af66-38aa065618c6" providerId="ADAL" clId="{1CD6A200-24F4-4E2B-97A0-483811F1C7F4}" dt="2021-09-07T20:42:11.002" v="248" actId="729"/>
        <pc:sldMkLst>
          <pc:docMk/>
          <pc:sldMk cId="452868091" sldId="359"/>
        </pc:sldMkLst>
      </pc:sldChg>
      <pc:sldChg chg="mod ord modShow">
        <pc:chgData name="Nicole Pham" userId="fcf2fd0b-d239-447a-af66-38aa065618c6" providerId="ADAL" clId="{1CD6A200-24F4-4E2B-97A0-483811F1C7F4}" dt="2021-09-09T07:38:24.931" v="18484" actId="729"/>
        <pc:sldMkLst>
          <pc:docMk/>
          <pc:sldMk cId="3636013607" sldId="362"/>
        </pc:sldMkLst>
      </pc:sldChg>
      <pc:sldChg chg="mod modTransition modShow modNotesTx">
        <pc:chgData name="Nicole Pham" userId="fcf2fd0b-d239-447a-af66-38aa065618c6" providerId="ADAL" clId="{1CD6A200-24F4-4E2B-97A0-483811F1C7F4}" dt="2021-09-08T10:51:57.178" v="18390"/>
        <pc:sldMkLst>
          <pc:docMk/>
          <pc:sldMk cId="3716734699" sldId="363"/>
        </pc:sldMkLst>
      </pc:sldChg>
      <pc:sldChg chg="modTransition">
        <pc:chgData name="Nicole Pham" userId="fcf2fd0b-d239-447a-af66-38aa065618c6" providerId="ADAL" clId="{1CD6A200-24F4-4E2B-97A0-483811F1C7F4}" dt="2021-09-08T10:52:26.180" v="18397"/>
        <pc:sldMkLst>
          <pc:docMk/>
          <pc:sldMk cId="1410980843" sldId="369"/>
        </pc:sldMkLst>
      </pc:sldChg>
      <pc:sldChg chg="modTransition">
        <pc:chgData name="Nicole Pham" userId="fcf2fd0b-d239-447a-af66-38aa065618c6" providerId="ADAL" clId="{1CD6A200-24F4-4E2B-97A0-483811F1C7F4}" dt="2021-09-08T10:52:27.819" v="18398"/>
        <pc:sldMkLst>
          <pc:docMk/>
          <pc:sldMk cId="2633223989" sldId="370"/>
        </pc:sldMkLst>
      </pc:sldChg>
      <pc:sldChg chg="modTransition">
        <pc:chgData name="Nicole Pham" userId="fcf2fd0b-d239-447a-af66-38aa065618c6" providerId="ADAL" clId="{1CD6A200-24F4-4E2B-97A0-483811F1C7F4}" dt="2021-09-08T10:52:28.718" v="18399"/>
        <pc:sldMkLst>
          <pc:docMk/>
          <pc:sldMk cId="1422913563" sldId="371"/>
        </pc:sldMkLst>
      </pc:sldChg>
      <pc:sldChg chg="modTransition">
        <pc:chgData name="Nicole Pham" userId="fcf2fd0b-d239-447a-af66-38aa065618c6" providerId="ADAL" clId="{1CD6A200-24F4-4E2B-97A0-483811F1C7F4}" dt="2021-09-07T20:21:43.016" v="123"/>
        <pc:sldMkLst>
          <pc:docMk/>
          <pc:sldMk cId="1265945765" sldId="380"/>
        </pc:sldMkLst>
      </pc:sldChg>
      <pc:sldChg chg="mod modTransition modShow">
        <pc:chgData name="Nicole Pham" userId="fcf2fd0b-d239-447a-af66-38aa065618c6" providerId="ADAL" clId="{1CD6A200-24F4-4E2B-97A0-483811F1C7F4}" dt="2021-09-08T10:51:34.167" v="18381"/>
        <pc:sldMkLst>
          <pc:docMk/>
          <pc:sldMk cId="2780446889" sldId="391"/>
        </pc:sldMkLst>
      </pc:sldChg>
      <pc:sldChg chg="modTransition modNotesTx">
        <pc:chgData name="Nicole Pham" userId="fcf2fd0b-d239-447a-af66-38aa065618c6" providerId="ADAL" clId="{1CD6A200-24F4-4E2B-97A0-483811F1C7F4}" dt="2021-09-08T10:51:59.411" v="18391"/>
        <pc:sldMkLst>
          <pc:docMk/>
          <pc:sldMk cId="1751389036" sldId="392"/>
        </pc:sldMkLst>
      </pc:sldChg>
      <pc:sldChg chg="modTransition modNotesTx">
        <pc:chgData name="Nicole Pham" userId="fcf2fd0b-d239-447a-af66-38aa065618c6" providerId="ADAL" clId="{1CD6A200-24F4-4E2B-97A0-483811F1C7F4}" dt="2021-09-08T10:52:00.440" v="18392"/>
        <pc:sldMkLst>
          <pc:docMk/>
          <pc:sldMk cId="1160501555" sldId="401"/>
        </pc:sldMkLst>
      </pc:sldChg>
      <pc:sldChg chg="modTransition">
        <pc:chgData name="Nicole Pham" userId="fcf2fd0b-d239-447a-af66-38aa065618c6" providerId="ADAL" clId="{1CD6A200-24F4-4E2B-97A0-483811F1C7F4}" dt="2021-09-07T20:21:48.890" v="125"/>
        <pc:sldMkLst>
          <pc:docMk/>
          <pc:sldMk cId="1021098787" sldId="435"/>
        </pc:sldMkLst>
      </pc:sldChg>
      <pc:sldChg chg="mod modShow">
        <pc:chgData name="Nicole Pham" userId="fcf2fd0b-d239-447a-af66-38aa065618c6" providerId="ADAL" clId="{1CD6A200-24F4-4E2B-97A0-483811F1C7F4}" dt="2021-09-09T07:41:46.548" v="18493" actId="729"/>
        <pc:sldMkLst>
          <pc:docMk/>
          <pc:sldMk cId="2751776188" sldId="455"/>
        </pc:sldMkLst>
      </pc:sldChg>
      <pc:sldChg chg="modSp mod modShow modNotesTx">
        <pc:chgData name="Nicole Pham" userId="fcf2fd0b-d239-447a-af66-38aa065618c6" providerId="ADAL" clId="{1CD6A200-24F4-4E2B-97A0-483811F1C7F4}" dt="2021-09-08T06:20:32.425" v="17007" actId="729"/>
        <pc:sldMkLst>
          <pc:docMk/>
          <pc:sldMk cId="403660545" sldId="458"/>
        </pc:sldMkLst>
        <pc:spChg chg="mod">
          <ac:chgData name="Nicole Pham" userId="fcf2fd0b-d239-447a-af66-38aa065618c6" providerId="ADAL" clId="{1CD6A200-24F4-4E2B-97A0-483811F1C7F4}" dt="2021-09-07T21:38:18.889" v="589" actId="255"/>
          <ac:spMkLst>
            <pc:docMk/>
            <pc:sldMk cId="403660545" sldId="458"/>
            <ac:spMk id="5" creationId="{2D544E37-112D-419B-B468-784B41B8273E}"/>
          </ac:spMkLst>
        </pc:spChg>
      </pc:sldChg>
      <pc:sldChg chg="modSp mod">
        <pc:chgData name="Nicole Pham" userId="fcf2fd0b-d239-447a-af66-38aa065618c6" providerId="ADAL" clId="{1CD6A200-24F4-4E2B-97A0-483811F1C7F4}" dt="2021-09-09T07:56:55.463" v="18543" actId="207"/>
        <pc:sldMkLst>
          <pc:docMk/>
          <pc:sldMk cId="76358118" sldId="468"/>
        </pc:sldMkLst>
        <pc:spChg chg="mod">
          <ac:chgData name="Nicole Pham" userId="fcf2fd0b-d239-447a-af66-38aa065618c6" providerId="ADAL" clId="{1CD6A200-24F4-4E2B-97A0-483811F1C7F4}" dt="2021-09-09T07:56:55.463" v="18543" actId="207"/>
          <ac:spMkLst>
            <pc:docMk/>
            <pc:sldMk cId="76358118" sldId="468"/>
            <ac:spMk id="5" creationId="{55E0E5A1-A557-4556-BB1A-1FB70666E060}"/>
          </ac:spMkLst>
        </pc:spChg>
      </pc:sldChg>
      <pc:sldChg chg="modTransition modNotesTx">
        <pc:chgData name="Nicole Pham" userId="fcf2fd0b-d239-447a-af66-38aa065618c6" providerId="ADAL" clId="{1CD6A200-24F4-4E2B-97A0-483811F1C7F4}" dt="2021-09-08T07:55:08.699" v="18357"/>
        <pc:sldMkLst>
          <pc:docMk/>
          <pc:sldMk cId="2975486681" sldId="495"/>
        </pc:sldMkLst>
      </pc:sldChg>
      <pc:sldChg chg="modTransition">
        <pc:chgData name="Nicole Pham" userId="fcf2fd0b-d239-447a-af66-38aa065618c6" providerId="ADAL" clId="{1CD6A200-24F4-4E2B-97A0-483811F1C7F4}" dt="2021-09-07T20:21:39.019" v="122"/>
        <pc:sldMkLst>
          <pc:docMk/>
          <pc:sldMk cId="383257297" sldId="521"/>
        </pc:sldMkLst>
      </pc:sldChg>
      <pc:sldChg chg="modTransition">
        <pc:chgData name="Nicole Pham" userId="fcf2fd0b-d239-447a-af66-38aa065618c6" providerId="ADAL" clId="{1CD6A200-24F4-4E2B-97A0-483811F1C7F4}" dt="2021-09-08T10:52:18.652" v="18395"/>
        <pc:sldMkLst>
          <pc:docMk/>
          <pc:sldMk cId="1029668685" sldId="522"/>
        </pc:sldMkLst>
      </pc:sldChg>
      <pc:sldChg chg="modTransition">
        <pc:chgData name="Nicole Pham" userId="fcf2fd0b-d239-447a-af66-38aa065618c6" providerId="ADAL" clId="{1CD6A200-24F4-4E2B-97A0-483811F1C7F4}" dt="2021-09-08T10:52:38.519" v="18407"/>
        <pc:sldMkLst>
          <pc:docMk/>
          <pc:sldMk cId="4142394993" sldId="523"/>
        </pc:sldMkLst>
      </pc:sldChg>
      <pc:sldChg chg="mod ord modShow modNotesTx">
        <pc:chgData name="Nicole Pham" userId="fcf2fd0b-d239-447a-af66-38aa065618c6" providerId="ADAL" clId="{1CD6A200-24F4-4E2B-97A0-483811F1C7F4}" dt="2021-09-09T07:40:42.336" v="18491" actId="729"/>
        <pc:sldMkLst>
          <pc:docMk/>
          <pc:sldMk cId="3414200958" sldId="1568"/>
        </pc:sldMkLst>
      </pc:sldChg>
      <pc:sldChg chg="mod ord modShow">
        <pc:chgData name="Nicole Pham" userId="fcf2fd0b-d239-447a-af66-38aa065618c6" providerId="ADAL" clId="{1CD6A200-24F4-4E2B-97A0-483811F1C7F4}" dt="2021-09-09T07:37:49.942" v="18478" actId="729"/>
        <pc:sldMkLst>
          <pc:docMk/>
          <pc:sldMk cId="2873873579" sldId="1569"/>
        </pc:sldMkLst>
      </pc:sldChg>
      <pc:sldChg chg="mod ord modShow">
        <pc:chgData name="Nicole Pham" userId="fcf2fd0b-d239-447a-af66-38aa065618c6" providerId="ADAL" clId="{1CD6A200-24F4-4E2B-97A0-483811F1C7F4}" dt="2021-09-09T07:37:49.942" v="18478" actId="729"/>
        <pc:sldMkLst>
          <pc:docMk/>
          <pc:sldMk cId="493799319" sldId="1570"/>
        </pc:sldMkLst>
      </pc:sldChg>
      <pc:sldChg chg="mod ord modShow">
        <pc:chgData name="Nicole Pham" userId="fcf2fd0b-d239-447a-af66-38aa065618c6" providerId="ADAL" clId="{1CD6A200-24F4-4E2B-97A0-483811F1C7F4}" dt="2021-09-09T07:37:49.942" v="18478" actId="729"/>
        <pc:sldMkLst>
          <pc:docMk/>
          <pc:sldMk cId="2876390220" sldId="1571"/>
        </pc:sldMkLst>
      </pc:sldChg>
      <pc:sldChg chg="modTransition">
        <pc:chgData name="Nicole Pham" userId="fcf2fd0b-d239-447a-af66-38aa065618c6" providerId="ADAL" clId="{1CD6A200-24F4-4E2B-97A0-483811F1C7F4}" dt="2021-09-08T10:52:40.192" v="18408"/>
        <pc:sldMkLst>
          <pc:docMk/>
          <pc:sldMk cId="467079185" sldId="1572"/>
        </pc:sldMkLst>
      </pc:sldChg>
      <pc:sldChg chg="modTransition">
        <pc:chgData name="Nicole Pham" userId="fcf2fd0b-d239-447a-af66-38aa065618c6" providerId="ADAL" clId="{1CD6A200-24F4-4E2B-97A0-483811F1C7F4}" dt="2021-09-08T10:51:33.290" v="18380"/>
        <pc:sldMkLst>
          <pc:docMk/>
          <pc:sldMk cId="977006302" sldId="1574"/>
        </pc:sldMkLst>
      </pc:sldChg>
      <pc:sldChg chg="modTransition">
        <pc:chgData name="Nicole Pham" userId="fcf2fd0b-d239-447a-af66-38aa065618c6" providerId="ADAL" clId="{1CD6A200-24F4-4E2B-97A0-483811F1C7F4}" dt="2021-09-08T09:20:27.442" v="18362"/>
        <pc:sldMkLst>
          <pc:docMk/>
          <pc:sldMk cId="3013241507" sldId="1575"/>
        </pc:sldMkLst>
      </pc:sldChg>
      <pc:sldChg chg="modTransition">
        <pc:chgData name="Nicole Pham" userId="fcf2fd0b-d239-447a-af66-38aa065618c6" providerId="ADAL" clId="{1CD6A200-24F4-4E2B-97A0-483811F1C7F4}" dt="2021-09-08T10:52:30.006" v="18400"/>
        <pc:sldMkLst>
          <pc:docMk/>
          <pc:sldMk cId="1347815751" sldId="1579"/>
        </pc:sldMkLst>
      </pc:sldChg>
      <pc:sldChg chg="modTransition">
        <pc:chgData name="Nicole Pham" userId="fcf2fd0b-d239-447a-af66-38aa065618c6" providerId="ADAL" clId="{1CD6A200-24F4-4E2B-97A0-483811F1C7F4}" dt="2021-09-08T10:51:25.669" v="18379"/>
        <pc:sldMkLst>
          <pc:docMk/>
          <pc:sldMk cId="1329170120" sldId="1583"/>
        </pc:sldMkLst>
      </pc:sldChg>
      <pc:sldChg chg="mod modShow">
        <pc:chgData name="Nicole Pham" userId="fcf2fd0b-d239-447a-af66-38aa065618c6" providerId="ADAL" clId="{1CD6A200-24F4-4E2B-97A0-483811F1C7F4}" dt="2021-09-09T07:48:10.808" v="18501" actId="729"/>
        <pc:sldMkLst>
          <pc:docMk/>
          <pc:sldMk cId="3089315698" sldId="1584"/>
        </pc:sldMkLst>
      </pc:sldChg>
      <pc:sldChg chg="mod modShow">
        <pc:chgData name="Nicole Pham" userId="fcf2fd0b-d239-447a-af66-38aa065618c6" providerId="ADAL" clId="{1CD6A200-24F4-4E2B-97A0-483811F1C7F4}" dt="2021-09-07T20:46:43.357" v="327" actId="729"/>
        <pc:sldMkLst>
          <pc:docMk/>
          <pc:sldMk cId="2606522720" sldId="8815"/>
        </pc:sldMkLst>
      </pc:sldChg>
      <pc:sldChg chg="del">
        <pc:chgData name="Nicole Pham" userId="fcf2fd0b-d239-447a-af66-38aa065618c6" providerId="ADAL" clId="{1CD6A200-24F4-4E2B-97A0-483811F1C7F4}" dt="2021-09-07T20:40:22.074" v="245" actId="47"/>
        <pc:sldMkLst>
          <pc:docMk/>
          <pc:sldMk cId="3233746210" sldId="8818"/>
        </pc:sldMkLst>
      </pc:sldChg>
      <pc:sldChg chg="mod modTransition modShow">
        <pc:chgData name="Nicole Pham" userId="fcf2fd0b-d239-447a-af66-38aa065618c6" providerId="ADAL" clId="{1CD6A200-24F4-4E2B-97A0-483811F1C7F4}" dt="2021-09-09T07:49:12.821" v="18502" actId="729"/>
        <pc:sldMkLst>
          <pc:docMk/>
          <pc:sldMk cId="1245745810" sldId="8828"/>
        </pc:sldMkLst>
      </pc:sldChg>
      <pc:sldChg chg="modTransition">
        <pc:chgData name="Nicole Pham" userId="fcf2fd0b-d239-447a-af66-38aa065618c6" providerId="ADAL" clId="{1CD6A200-24F4-4E2B-97A0-483811F1C7F4}" dt="2021-09-07T20:21:58.193" v="126"/>
        <pc:sldMkLst>
          <pc:docMk/>
          <pc:sldMk cId="100415033" sldId="8830"/>
        </pc:sldMkLst>
      </pc:sldChg>
      <pc:sldChg chg="modTransition modNotesTx">
        <pc:chgData name="Nicole Pham" userId="fcf2fd0b-d239-447a-af66-38aa065618c6" providerId="ADAL" clId="{1CD6A200-24F4-4E2B-97A0-483811F1C7F4}" dt="2021-09-08T07:54:49.663" v="18352"/>
        <pc:sldMkLst>
          <pc:docMk/>
          <pc:sldMk cId="3389223637" sldId="8833"/>
        </pc:sldMkLst>
      </pc:sldChg>
      <pc:sldChg chg="mod ord modShow">
        <pc:chgData name="Nicole Pham" userId="fcf2fd0b-d239-447a-af66-38aa065618c6" providerId="ADAL" clId="{1CD6A200-24F4-4E2B-97A0-483811F1C7F4}" dt="2021-09-09T07:38:24.931" v="18484" actId="729"/>
        <pc:sldMkLst>
          <pc:docMk/>
          <pc:sldMk cId="1796141404" sldId="8834"/>
        </pc:sldMkLst>
      </pc:sldChg>
      <pc:sldChg chg="modTransition modNotesTx">
        <pc:chgData name="Nicole Pham" userId="fcf2fd0b-d239-447a-af66-38aa065618c6" providerId="ADAL" clId="{1CD6A200-24F4-4E2B-97A0-483811F1C7F4}" dt="2021-09-08T07:54:57.103" v="18355"/>
        <pc:sldMkLst>
          <pc:docMk/>
          <pc:sldMk cId="3956116663" sldId="8846"/>
        </pc:sldMkLst>
      </pc:sldChg>
      <pc:sldChg chg="add del">
        <pc:chgData name="Nicole Pham" userId="fcf2fd0b-d239-447a-af66-38aa065618c6" providerId="ADAL" clId="{1CD6A200-24F4-4E2B-97A0-483811F1C7F4}" dt="2021-09-07T20:49:22.196" v="329" actId="47"/>
        <pc:sldMkLst>
          <pc:docMk/>
          <pc:sldMk cId="2706807039" sldId="8850"/>
        </pc:sldMkLst>
      </pc:sldChg>
      <pc:sldChg chg="modSp mod modAnim modShow">
        <pc:chgData name="Nicole Pham" userId="fcf2fd0b-d239-447a-af66-38aa065618c6" providerId="ADAL" clId="{1CD6A200-24F4-4E2B-97A0-483811F1C7F4}" dt="2021-09-08T00:56:28.248" v="6965" actId="729"/>
        <pc:sldMkLst>
          <pc:docMk/>
          <pc:sldMk cId="2252042619" sldId="8854"/>
        </pc:sldMkLst>
        <pc:graphicFrameChg chg="mod">
          <ac:chgData name="Nicole Pham" userId="fcf2fd0b-d239-447a-af66-38aa065618c6" providerId="ADAL" clId="{1CD6A200-24F4-4E2B-97A0-483811F1C7F4}" dt="2021-09-07T20:10:47.535" v="110" actId="1076"/>
          <ac:graphicFrameMkLst>
            <pc:docMk/>
            <pc:sldMk cId="2252042619" sldId="8854"/>
            <ac:graphicFrameMk id="22" creationId="{9F489416-7161-4416-BEB2-549B2B10914B}"/>
          </ac:graphicFrameMkLst>
        </pc:graphicFrameChg>
      </pc:sldChg>
      <pc:sldChg chg="ord modTransition modNotesTx">
        <pc:chgData name="Nicole Pham" userId="fcf2fd0b-d239-447a-af66-38aa065618c6" providerId="ADAL" clId="{1CD6A200-24F4-4E2B-97A0-483811F1C7F4}" dt="2021-09-08T07:54:51.733" v="18353"/>
        <pc:sldMkLst>
          <pc:docMk/>
          <pc:sldMk cId="863933846" sldId="8855"/>
        </pc:sldMkLst>
      </pc:sldChg>
      <pc:sldChg chg="modSp mod modShow">
        <pc:chgData name="Nicole Pham" userId="fcf2fd0b-d239-447a-af66-38aa065618c6" providerId="ADAL" clId="{1CD6A200-24F4-4E2B-97A0-483811F1C7F4}" dt="2021-09-09T08:03:42.057" v="18560" actId="729"/>
        <pc:sldMkLst>
          <pc:docMk/>
          <pc:sldMk cId="754363676" sldId="8861"/>
        </pc:sldMkLst>
        <pc:spChg chg="mod">
          <ac:chgData name="Nicole Pham" userId="fcf2fd0b-d239-447a-af66-38aa065618c6" providerId="ADAL" clId="{1CD6A200-24F4-4E2B-97A0-483811F1C7F4}" dt="2021-09-09T08:03:38.173" v="18559" actId="20577"/>
          <ac:spMkLst>
            <pc:docMk/>
            <pc:sldMk cId="754363676" sldId="8861"/>
            <ac:spMk id="2" creationId="{FE732269-2646-4E69-B292-44CEB2100E8D}"/>
          </ac:spMkLst>
        </pc:spChg>
      </pc:sldChg>
      <pc:sldChg chg="modTransition">
        <pc:chgData name="Nicole Pham" userId="fcf2fd0b-d239-447a-af66-38aa065618c6" providerId="ADAL" clId="{1CD6A200-24F4-4E2B-97A0-483811F1C7F4}" dt="2021-09-07T20:20:58.655" v="115"/>
        <pc:sldMkLst>
          <pc:docMk/>
          <pc:sldMk cId="1954723328" sldId="8866"/>
        </pc:sldMkLst>
      </pc:sldChg>
      <pc:sldChg chg="modTransition">
        <pc:chgData name="Nicole Pham" userId="fcf2fd0b-d239-447a-af66-38aa065618c6" providerId="ADAL" clId="{1CD6A200-24F4-4E2B-97A0-483811F1C7F4}" dt="2021-09-07T20:21:20.546" v="119"/>
        <pc:sldMkLst>
          <pc:docMk/>
          <pc:sldMk cId="2693408093" sldId="8867"/>
        </pc:sldMkLst>
      </pc:sldChg>
      <pc:sldChg chg="modTransition modNotesTx">
        <pc:chgData name="Nicole Pham" userId="fcf2fd0b-d239-447a-af66-38aa065618c6" providerId="ADAL" clId="{1CD6A200-24F4-4E2B-97A0-483811F1C7F4}" dt="2021-09-08T07:28:57.618" v="18172" actId="113"/>
        <pc:sldMkLst>
          <pc:docMk/>
          <pc:sldMk cId="1574312097" sldId="8868"/>
        </pc:sldMkLst>
      </pc:sldChg>
      <pc:sldChg chg="modTransition">
        <pc:chgData name="Nicole Pham" userId="fcf2fd0b-d239-447a-af66-38aa065618c6" providerId="ADAL" clId="{1CD6A200-24F4-4E2B-97A0-483811F1C7F4}" dt="2021-09-07T20:21:30.954" v="121"/>
        <pc:sldMkLst>
          <pc:docMk/>
          <pc:sldMk cId="3182227084" sldId="8869"/>
        </pc:sldMkLst>
      </pc:sldChg>
      <pc:sldChg chg="mod modTransition modShow">
        <pc:chgData name="Nicole Pham" userId="fcf2fd0b-d239-447a-af66-38aa065618c6" providerId="ADAL" clId="{1CD6A200-24F4-4E2B-97A0-483811F1C7F4}" dt="2021-09-09T07:37:34.166" v="18477" actId="729"/>
        <pc:sldMkLst>
          <pc:docMk/>
          <pc:sldMk cId="470356850" sldId="8872"/>
        </pc:sldMkLst>
      </pc:sldChg>
      <pc:sldChg chg="mod ord modTransition modShow">
        <pc:chgData name="Nicole Pham" userId="fcf2fd0b-d239-447a-af66-38aa065618c6" providerId="ADAL" clId="{1CD6A200-24F4-4E2B-97A0-483811F1C7F4}" dt="2021-09-09T07:37:49.942" v="18478" actId="729"/>
        <pc:sldMkLst>
          <pc:docMk/>
          <pc:sldMk cId="4001989491" sldId="8874"/>
        </pc:sldMkLst>
      </pc:sldChg>
      <pc:sldChg chg="mod ord modShow modNotesTx">
        <pc:chgData name="Nicole Pham" userId="fcf2fd0b-d239-447a-af66-38aa065618c6" providerId="ADAL" clId="{1CD6A200-24F4-4E2B-97A0-483811F1C7F4}" dt="2021-09-09T07:37:49.942" v="18478" actId="729"/>
        <pc:sldMkLst>
          <pc:docMk/>
          <pc:sldMk cId="1581174729" sldId="8875"/>
        </pc:sldMkLst>
      </pc:sldChg>
      <pc:sldChg chg="mod modShow">
        <pc:chgData name="Nicole Pham" userId="fcf2fd0b-d239-447a-af66-38aa065618c6" providerId="ADAL" clId="{1CD6A200-24F4-4E2B-97A0-483811F1C7F4}" dt="2021-09-09T07:57:25.319" v="18546" actId="729"/>
        <pc:sldMkLst>
          <pc:docMk/>
          <pc:sldMk cId="3950262723" sldId="8876"/>
        </pc:sldMkLst>
      </pc:sldChg>
      <pc:sldChg chg="mod modShow">
        <pc:chgData name="Nicole Pham" userId="fcf2fd0b-d239-447a-af66-38aa065618c6" providerId="ADAL" clId="{1CD6A200-24F4-4E2B-97A0-483811F1C7F4}" dt="2021-09-09T07:41:46.548" v="18493" actId="729"/>
        <pc:sldMkLst>
          <pc:docMk/>
          <pc:sldMk cId="2939018498" sldId="8877"/>
        </pc:sldMkLst>
      </pc:sldChg>
      <pc:sldChg chg="mod modShow">
        <pc:chgData name="Nicole Pham" userId="fcf2fd0b-d239-447a-af66-38aa065618c6" providerId="ADAL" clId="{1CD6A200-24F4-4E2B-97A0-483811F1C7F4}" dt="2021-09-09T07:41:12.048" v="18492" actId="729"/>
        <pc:sldMkLst>
          <pc:docMk/>
          <pc:sldMk cId="1582852914" sldId="8879"/>
        </pc:sldMkLst>
      </pc:sldChg>
      <pc:sldChg chg="mod modShow">
        <pc:chgData name="Nicole Pham" userId="fcf2fd0b-d239-447a-af66-38aa065618c6" providerId="ADAL" clId="{1CD6A200-24F4-4E2B-97A0-483811F1C7F4}" dt="2021-09-09T07:41:12.048" v="18492" actId="729"/>
        <pc:sldMkLst>
          <pc:docMk/>
          <pc:sldMk cId="1351562223" sldId="8880"/>
        </pc:sldMkLst>
      </pc:sldChg>
      <pc:sldChg chg="ord">
        <pc:chgData name="Nicole Pham" userId="fcf2fd0b-d239-447a-af66-38aa065618c6" providerId="ADAL" clId="{1CD6A200-24F4-4E2B-97A0-483811F1C7F4}" dt="2021-09-07T19:26:17.362" v="21"/>
        <pc:sldMkLst>
          <pc:docMk/>
          <pc:sldMk cId="2757754045" sldId="8882"/>
        </pc:sldMkLst>
      </pc:sldChg>
      <pc:sldChg chg="modTransition modNotesTx">
        <pc:chgData name="Nicole Pham" userId="fcf2fd0b-d239-447a-af66-38aa065618c6" providerId="ADAL" clId="{1CD6A200-24F4-4E2B-97A0-483811F1C7F4}" dt="2021-09-08T10:51:45.879" v="18382"/>
        <pc:sldMkLst>
          <pc:docMk/>
          <pc:sldMk cId="732711621" sldId="8886"/>
        </pc:sldMkLst>
      </pc:sldChg>
      <pc:sldChg chg="modTransition modNotesTx">
        <pc:chgData name="Nicole Pham" userId="fcf2fd0b-d239-447a-af66-38aa065618c6" providerId="ADAL" clId="{1CD6A200-24F4-4E2B-97A0-483811F1C7F4}" dt="2021-09-08T10:51:51.232" v="18386"/>
        <pc:sldMkLst>
          <pc:docMk/>
          <pc:sldMk cId="1460959221" sldId="8887"/>
        </pc:sldMkLst>
      </pc:sldChg>
      <pc:sldChg chg="modTransition">
        <pc:chgData name="Nicole Pham" userId="fcf2fd0b-d239-447a-af66-38aa065618c6" providerId="ADAL" clId="{1CD6A200-24F4-4E2B-97A0-483811F1C7F4}" dt="2021-09-08T10:51:53.165" v="18387"/>
        <pc:sldMkLst>
          <pc:docMk/>
          <pc:sldMk cId="4098613062" sldId="8888"/>
        </pc:sldMkLst>
      </pc:sldChg>
      <pc:sldChg chg="modTransition">
        <pc:chgData name="Nicole Pham" userId="fcf2fd0b-d239-447a-af66-38aa065618c6" providerId="ADAL" clId="{1CD6A200-24F4-4E2B-97A0-483811F1C7F4}" dt="2021-09-08T10:51:54.173" v="18388"/>
        <pc:sldMkLst>
          <pc:docMk/>
          <pc:sldMk cId="1046091709" sldId="8889"/>
        </pc:sldMkLst>
      </pc:sldChg>
      <pc:sldChg chg="modTransition">
        <pc:chgData name="Nicole Pham" userId="fcf2fd0b-d239-447a-af66-38aa065618c6" providerId="ADAL" clId="{1CD6A200-24F4-4E2B-97A0-483811F1C7F4}" dt="2021-09-08T10:51:55.041" v="18389"/>
        <pc:sldMkLst>
          <pc:docMk/>
          <pc:sldMk cId="3966793709" sldId="8890"/>
        </pc:sldMkLst>
      </pc:sldChg>
      <pc:sldChg chg="modSp mod modNotesTx">
        <pc:chgData name="Nicole Pham" userId="fcf2fd0b-d239-447a-af66-38aa065618c6" providerId="ADAL" clId="{1CD6A200-24F4-4E2B-97A0-483811F1C7F4}" dt="2021-09-09T07:56:07.230" v="18540" actId="20577"/>
        <pc:sldMkLst>
          <pc:docMk/>
          <pc:sldMk cId="3276248458" sldId="8894"/>
        </pc:sldMkLst>
        <pc:spChg chg="mod">
          <ac:chgData name="Nicole Pham" userId="fcf2fd0b-d239-447a-af66-38aa065618c6" providerId="ADAL" clId="{1CD6A200-24F4-4E2B-97A0-483811F1C7F4}" dt="2021-09-09T07:56:07.230" v="18540" actId="20577"/>
          <ac:spMkLst>
            <pc:docMk/>
            <pc:sldMk cId="3276248458" sldId="8894"/>
            <ac:spMk id="5" creationId="{6F1115CB-4596-4ABD-8BCA-724D8BD3C1F4}"/>
          </ac:spMkLst>
        </pc:spChg>
      </pc:sldChg>
      <pc:sldChg chg="setBg">
        <pc:chgData name="Nicole Pham" userId="fcf2fd0b-d239-447a-af66-38aa065618c6" providerId="ADAL" clId="{1CD6A200-24F4-4E2B-97A0-483811F1C7F4}" dt="2021-09-09T07:44:58.741" v="18500"/>
        <pc:sldMkLst>
          <pc:docMk/>
          <pc:sldMk cId="1471794964" sldId="8905"/>
        </pc:sldMkLst>
      </pc:sldChg>
      <pc:sldChg chg="setBg">
        <pc:chgData name="Nicole Pham" userId="fcf2fd0b-d239-447a-af66-38aa065618c6" providerId="ADAL" clId="{1CD6A200-24F4-4E2B-97A0-483811F1C7F4}" dt="2021-09-09T07:44:50.139" v="18499"/>
        <pc:sldMkLst>
          <pc:docMk/>
          <pc:sldMk cId="3493639260" sldId="8907"/>
        </pc:sldMkLst>
      </pc:sldChg>
      <pc:sldChg chg="modTransition">
        <pc:chgData name="Nicole Pham" userId="fcf2fd0b-d239-447a-af66-38aa065618c6" providerId="ADAL" clId="{1CD6A200-24F4-4E2B-97A0-483811F1C7F4}" dt="2021-09-08T10:52:53.759" v="18409"/>
        <pc:sldMkLst>
          <pc:docMk/>
          <pc:sldMk cId="2280405265" sldId="8908"/>
        </pc:sldMkLst>
      </pc:sldChg>
      <pc:sldChg chg="modTransition">
        <pc:chgData name="Nicole Pham" userId="fcf2fd0b-d239-447a-af66-38aa065618c6" providerId="ADAL" clId="{1CD6A200-24F4-4E2B-97A0-483811F1C7F4}" dt="2021-09-08T10:52:55.768" v="18411"/>
        <pc:sldMkLst>
          <pc:docMk/>
          <pc:sldMk cId="3636231626" sldId="8909"/>
        </pc:sldMkLst>
      </pc:sldChg>
      <pc:sldChg chg="modTransition">
        <pc:chgData name="Nicole Pham" userId="fcf2fd0b-d239-447a-af66-38aa065618c6" providerId="ADAL" clId="{1CD6A200-24F4-4E2B-97A0-483811F1C7F4}" dt="2021-09-08T10:52:56.782" v="18412"/>
        <pc:sldMkLst>
          <pc:docMk/>
          <pc:sldMk cId="1127532155" sldId="8910"/>
        </pc:sldMkLst>
      </pc:sldChg>
      <pc:sldChg chg="mod modShow">
        <pc:chgData name="Nicole Pham" userId="fcf2fd0b-d239-447a-af66-38aa065618c6" providerId="ADAL" clId="{1CD6A200-24F4-4E2B-97A0-483811F1C7F4}" dt="2021-09-07T19:42:09.176" v="27" actId="729"/>
        <pc:sldMkLst>
          <pc:docMk/>
          <pc:sldMk cId="491567755" sldId="8913"/>
        </pc:sldMkLst>
      </pc:sldChg>
      <pc:sldChg chg="mod modShow">
        <pc:chgData name="Nicole Pham" userId="fcf2fd0b-d239-447a-af66-38aa065618c6" providerId="ADAL" clId="{1CD6A200-24F4-4E2B-97A0-483811F1C7F4}" dt="2021-09-07T19:42:15.495" v="28" actId="729"/>
        <pc:sldMkLst>
          <pc:docMk/>
          <pc:sldMk cId="2342744891" sldId="8915"/>
        </pc:sldMkLst>
      </pc:sldChg>
      <pc:sldChg chg="mod modShow">
        <pc:chgData name="Nicole Pham" userId="fcf2fd0b-d239-447a-af66-38aa065618c6" providerId="ADAL" clId="{1CD6A200-24F4-4E2B-97A0-483811F1C7F4}" dt="2021-09-09T07:44:38.565" v="18498" actId="729"/>
        <pc:sldMkLst>
          <pc:docMk/>
          <pc:sldMk cId="2631486505" sldId="8916"/>
        </pc:sldMkLst>
      </pc:sldChg>
      <pc:sldChg chg="mod modShow">
        <pc:chgData name="Nicole Pham" userId="fcf2fd0b-d239-447a-af66-38aa065618c6" providerId="ADAL" clId="{1CD6A200-24F4-4E2B-97A0-483811F1C7F4}" dt="2021-09-07T19:42:07.575" v="26" actId="729"/>
        <pc:sldMkLst>
          <pc:docMk/>
          <pc:sldMk cId="2006247537" sldId="8923"/>
        </pc:sldMkLst>
      </pc:sldChg>
      <pc:sldChg chg="delSp modSp mod modShow modNotesTx">
        <pc:chgData name="Nicole Pham" userId="fcf2fd0b-d239-447a-af66-38aa065618c6" providerId="ADAL" clId="{1CD6A200-24F4-4E2B-97A0-483811F1C7F4}" dt="2021-09-09T07:40:42.336" v="18491" actId="729"/>
        <pc:sldMkLst>
          <pc:docMk/>
          <pc:sldMk cId="1418220419" sldId="8926"/>
        </pc:sldMkLst>
        <pc:spChg chg="mod">
          <ac:chgData name="Nicole Pham" userId="fcf2fd0b-d239-447a-af66-38aa065618c6" providerId="ADAL" clId="{1CD6A200-24F4-4E2B-97A0-483811F1C7F4}" dt="2021-09-08T01:36:30.894" v="8778" actId="20577"/>
          <ac:spMkLst>
            <pc:docMk/>
            <pc:sldMk cId="1418220419" sldId="8926"/>
            <ac:spMk id="3" creationId="{9C39A657-A30C-4753-8B78-67AEF0F52FAC}"/>
          </ac:spMkLst>
        </pc:spChg>
        <pc:picChg chg="del">
          <ac:chgData name="Nicole Pham" userId="fcf2fd0b-d239-447a-af66-38aa065618c6" providerId="ADAL" clId="{1CD6A200-24F4-4E2B-97A0-483811F1C7F4}" dt="2021-09-08T01:36:12.522" v="8762" actId="478"/>
          <ac:picMkLst>
            <pc:docMk/>
            <pc:sldMk cId="1418220419" sldId="8926"/>
            <ac:picMk id="14" creationId="{5ADAE256-7774-4875-A149-E209AD72AF08}"/>
          </ac:picMkLst>
        </pc:picChg>
        <pc:picChg chg="mod">
          <ac:chgData name="Nicole Pham" userId="fcf2fd0b-d239-447a-af66-38aa065618c6" providerId="ADAL" clId="{1CD6A200-24F4-4E2B-97A0-483811F1C7F4}" dt="2021-09-08T01:36:43.378" v="8802" actId="1036"/>
          <ac:picMkLst>
            <pc:docMk/>
            <pc:sldMk cId="1418220419" sldId="8926"/>
            <ac:picMk id="22" creationId="{6836F56B-FE83-4FF9-BE27-04ADC7221DDC}"/>
          </ac:picMkLst>
        </pc:picChg>
        <pc:picChg chg="mod">
          <ac:chgData name="Nicole Pham" userId="fcf2fd0b-d239-447a-af66-38aa065618c6" providerId="ADAL" clId="{1CD6A200-24F4-4E2B-97A0-483811F1C7F4}" dt="2021-09-08T01:36:44.902" v="8803" actId="1035"/>
          <ac:picMkLst>
            <pc:docMk/>
            <pc:sldMk cId="1418220419" sldId="8926"/>
            <ac:picMk id="26" creationId="{D6D0476A-03E8-42FF-8EC4-56FB03981E82}"/>
          </ac:picMkLst>
        </pc:picChg>
      </pc:sldChg>
      <pc:sldChg chg="mod modShow modNotesTx">
        <pc:chgData name="Nicole Pham" userId="fcf2fd0b-d239-447a-af66-38aa065618c6" providerId="ADAL" clId="{1CD6A200-24F4-4E2B-97A0-483811F1C7F4}" dt="2021-09-09T07:40:42.336" v="18491" actId="729"/>
        <pc:sldMkLst>
          <pc:docMk/>
          <pc:sldMk cId="4248496048" sldId="8935"/>
        </pc:sldMkLst>
      </pc:sldChg>
      <pc:sldChg chg="add del mod modShow">
        <pc:chgData name="Nicole Pham" userId="fcf2fd0b-d239-447a-af66-38aa065618c6" providerId="ADAL" clId="{1CD6A200-24F4-4E2B-97A0-483811F1C7F4}" dt="2021-09-09T07:42:07.061" v="18495" actId="22"/>
        <pc:sldMkLst>
          <pc:docMk/>
          <pc:sldMk cId="574834776" sldId="8938"/>
        </pc:sldMkLst>
      </pc:sldChg>
      <pc:sldChg chg="modTransition">
        <pc:chgData name="Nicole Pham" userId="fcf2fd0b-d239-447a-af66-38aa065618c6" providerId="ADAL" clId="{1CD6A200-24F4-4E2B-97A0-483811F1C7F4}" dt="2021-09-08T10:51:16.438" v="18374"/>
        <pc:sldMkLst>
          <pc:docMk/>
          <pc:sldMk cId="683942111" sldId="8940"/>
        </pc:sldMkLst>
      </pc:sldChg>
      <pc:sldChg chg="modTransition">
        <pc:chgData name="Nicole Pham" userId="fcf2fd0b-d239-447a-af66-38aa065618c6" providerId="ADAL" clId="{1CD6A200-24F4-4E2B-97A0-483811F1C7F4}" dt="2021-09-08T10:51:17.398" v="18375"/>
        <pc:sldMkLst>
          <pc:docMk/>
          <pc:sldMk cId="3018276485" sldId="8941"/>
        </pc:sldMkLst>
      </pc:sldChg>
      <pc:sldChg chg="modTransition">
        <pc:chgData name="Nicole Pham" userId="fcf2fd0b-d239-447a-af66-38aa065618c6" providerId="ADAL" clId="{1CD6A200-24F4-4E2B-97A0-483811F1C7F4}" dt="2021-09-08T10:51:19.637" v="18376"/>
        <pc:sldMkLst>
          <pc:docMk/>
          <pc:sldMk cId="1115098920" sldId="8942"/>
        </pc:sldMkLst>
      </pc:sldChg>
      <pc:sldChg chg="modTransition">
        <pc:chgData name="Nicole Pham" userId="fcf2fd0b-d239-447a-af66-38aa065618c6" providerId="ADAL" clId="{1CD6A200-24F4-4E2B-97A0-483811F1C7F4}" dt="2021-09-08T10:51:21.904" v="18377"/>
        <pc:sldMkLst>
          <pc:docMk/>
          <pc:sldMk cId="1875368565" sldId="8944"/>
        </pc:sldMkLst>
      </pc:sldChg>
      <pc:sldChg chg="mod modShow">
        <pc:chgData name="Nicole Pham" userId="fcf2fd0b-d239-447a-af66-38aa065618c6" providerId="ADAL" clId="{1CD6A200-24F4-4E2B-97A0-483811F1C7F4}" dt="2021-09-07T19:23:09.511" v="17" actId="729"/>
        <pc:sldMkLst>
          <pc:docMk/>
          <pc:sldMk cId="772240527" sldId="8945"/>
        </pc:sldMkLst>
      </pc:sldChg>
      <pc:sldChg chg="del">
        <pc:chgData name="Nicole Pham" userId="fcf2fd0b-d239-447a-af66-38aa065618c6" providerId="ADAL" clId="{1CD6A200-24F4-4E2B-97A0-483811F1C7F4}" dt="2021-09-09T07:57:21.215" v="18545" actId="47"/>
        <pc:sldMkLst>
          <pc:docMk/>
          <pc:sldMk cId="3192677140" sldId="8946"/>
        </pc:sldMkLst>
      </pc:sldChg>
      <pc:sldChg chg="del">
        <pc:chgData name="Nicole Pham" userId="fcf2fd0b-d239-447a-af66-38aa065618c6" providerId="ADAL" clId="{1CD6A200-24F4-4E2B-97A0-483811F1C7F4}" dt="2021-09-09T07:57:02.736" v="18544" actId="47"/>
        <pc:sldMkLst>
          <pc:docMk/>
          <pc:sldMk cId="3033469614" sldId="8947"/>
        </pc:sldMkLst>
      </pc:sldChg>
      <pc:sldChg chg="mod ord modShow modNotesTx">
        <pc:chgData name="Nicole Pham" userId="fcf2fd0b-d239-447a-af66-38aa065618c6" providerId="ADAL" clId="{1CD6A200-24F4-4E2B-97A0-483811F1C7F4}" dt="2021-09-09T07:39:58.762" v="18489"/>
        <pc:sldMkLst>
          <pc:docMk/>
          <pc:sldMk cId="1245035682" sldId="8952"/>
        </pc:sldMkLst>
      </pc:sldChg>
      <pc:sldChg chg="modSp mod modShow">
        <pc:chgData name="Nicole Pham" userId="fcf2fd0b-d239-447a-af66-38aa065618c6" providerId="ADAL" clId="{1CD6A200-24F4-4E2B-97A0-483811F1C7F4}" dt="2021-09-08T11:28:00.365" v="18439" actId="729"/>
        <pc:sldMkLst>
          <pc:docMk/>
          <pc:sldMk cId="3370916131" sldId="8961"/>
        </pc:sldMkLst>
        <pc:spChg chg="mod">
          <ac:chgData name="Nicole Pham" userId="fcf2fd0b-d239-447a-af66-38aa065618c6" providerId="ADAL" clId="{1CD6A200-24F4-4E2B-97A0-483811F1C7F4}" dt="2021-09-07T20:39:36.957" v="243" actId="113"/>
          <ac:spMkLst>
            <pc:docMk/>
            <pc:sldMk cId="3370916131" sldId="8961"/>
            <ac:spMk id="2" creationId="{CB4FDEB4-E21B-41AC-8BBC-2F6B33DD4DC1}"/>
          </ac:spMkLst>
        </pc:spChg>
      </pc:sldChg>
      <pc:sldChg chg="delSp modSp mod modNotesTx">
        <pc:chgData name="Nicole Pham" userId="fcf2fd0b-d239-447a-af66-38aa065618c6" providerId="ADAL" clId="{1CD6A200-24F4-4E2B-97A0-483811F1C7F4}" dt="2021-09-08T07:27:57.635" v="18166" actId="20577"/>
        <pc:sldMkLst>
          <pc:docMk/>
          <pc:sldMk cId="3115854776" sldId="8966"/>
        </pc:sldMkLst>
        <pc:spChg chg="mod">
          <ac:chgData name="Nicole Pham" userId="fcf2fd0b-d239-447a-af66-38aa065618c6" providerId="ADAL" clId="{1CD6A200-24F4-4E2B-97A0-483811F1C7F4}" dt="2021-09-08T07:27:57.635" v="18166" actId="20577"/>
          <ac:spMkLst>
            <pc:docMk/>
            <pc:sldMk cId="3115854776" sldId="8966"/>
            <ac:spMk id="2" creationId="{BFB5B050-EB64-4222-92A3-68750FAD5E1C}"/>
          </ac:spMkLst>
        </pc:spChg>
        <pc:spChg chg="del">
          <ac:chgData name="Nicole Pham" userId="fcf2fd0b-d239-447a-af66-38aa065618c6" providerId="ADAL" clId="{1CD6A200-24F4-4E2B-97A0-483811F1C7F4}" dt="2021-09-08T06:48:10.368" v="17323" actId="478"/>
          <ac:spMkLst>
            <pc:docMk/>
            <pc:sldMk cId="3115854776" sldId="8966"/>
            <ac:spMk id="44" creationId="{1FD13C3B-BBF7-4932-BDC0-00005614762F}"/>
          </ac:spMkLst>
        </pc:spChg>
        <pc:spChg chg="mod">
          <ac:chgData name="Nicole Pham" userId="fcf2fd0b-d239-447a-af66-38aa065618c6" providerId="ADAL" clId="{1CD6A200-24F4-4E2B-97A0-483811F1C7F4}" dt="2021-09-08T06:48:20.916" v="17326" actId="1076"/>
          <ac:spMkLst>
            <pc:docMk/>
            <pc:sldMk cId="3115854776" sldId="8966"/>
            <ac:spMk id="46" creationId="{D6304F27-7DAB-47C4-B128-63D9D0D4A1BE}"/>
          </ac:spMkLst>
        </pc:spChg>
        <pc:spChg chg="del">
          <ac:chgData name="Nicole Pham" userId="fcf2fd0b-d239-447a-af66-38aa065618c6" providerId="ADAL" clId="{1CD6A200-24F4-4E2B-97A0-483811F1C7F4}" dt="2021-09-08T06:48:48.951" v="17361" actId="478"/>
          <ac:spMkLst>
            <pc:docMk/>
            <pc:sldMk cId="3115854776" sldId="8966"/>
            <ac:spMk id="48" creationId="{8A99C917-FE19-4FCA-BD26-DB43B2925C07}"/>
          </ac:spMkLst>
        </pc:spChg>
        <pc:spChg chg="mod">
          <ac:chgData name="Nicole Pham" userId="fcf2fd0b-d239-447a-af66-38aa065618c6" providerId="ADAL" clId="{1CD6A200-24F4-4E2B-97A0-483811F1C7F4}" dt="2021-09-08T06:48:58.881" v="17363" actId="1076"/>
          <ac:spMkLst>
            <pc:docMk/>
            <pc:sldMk cId="3115854776" sldId="8966"/>
            <ac:spMk id="50" creationId="{B7B0516B-233A-44CE-9530-31FE87B66FB5}"/>
          </ac:spMkLst>
        </pc:spChg>
        <pc:spChg chg="del">
          <ac:chgData name="Nicole Pham" userId="fcf2fd0b-d239-447a-af66-38aa065618c6" providerId="ADAL" clId="{1CD6A200-24F4-4E2B-97A0-483811F1C7F4}" dt="2021-09-08T06:47:10.232" v="17270" actId="478"/>
          <ac:spMkLst>
            <pc:docMk/>
            <pc:sldMk cId="3115854776" sldId="8966"/>
            <ac:spMk id="52" creationId="{60B0846C-1B00-4EE3-8EB3-42EF78AAD458}"/>
          </ac:spMkLst>
        </pc:spChg>
        <pc:spChg chg="mod">
          <ac:chgData name="Nicole Pham" userId="fcf2fd0b-d239-447a-af66-38aa065618c6" providerId="ADAL" clId="{1CD6A200-24F4-4E2B-97A0-483811F1C7F4}" dt="2021-09-08T06:49:15.029" v="17378" actId="14100"/>
          <ac:spMkLst>
            <pc:docMk/>
            <pc:sldMk cId="3115854776" sldId="8966"/>
            <ac:spMk id="54" creationId="{B2D0CD93-BA85-4F38-9EE9-423C9159DEF7}"/>
          </ac:spMkLst>
        </pc:spChg>
        <pc:spChg chg="del">
          <ac:chgData name="Nicole Pham" userId="fcf2fd0b-d239-447a-af66-38aa065618c6" providerId="ADAL" clId="{1CD6A200-24F4-4E2B-97A0-483811F1C7F4}" dt="2021-09-08T06:47:52.709" v="17303" actId="478"/>
          <ac:spMkLst>
            <pc:docMk/>
            <pc:sldMk cId="3115854776" sldId="8966"/>
            <ac:spMk id="56" creationId="{2406711D-196D-4441-8892-513AB8BDB12D}"/>
          </ac:spMkLst>
        </pc:spChg>
        <pc:spChg chg="mod">
          <ac:chgData name="Nicole Pham" userId="fcf2fd0b-d239-447a-af66-38aa065618c6" providerId="ADAL" clId="{1CD6A200-24F4-4E2B-97A0-483811F1C7F4}" dt="2021-09-08T06:48:18.126" v="17325" actId="1076"/>
          <ac:spMkLst>
            <pc:docMk/>
            <pc:sldMk cId="3115854776" sldId="8966"/>
            <ac:spMk id="58" creationId="{9B4D2AEE-8A77-4A1C-8E68-FF617907E3BA}"/>
          </ac:spMkLst>
        </pc:spChg>
        <pc:spChg chg="del">
          <ac:chgData name="Nicole Pham" userId="fcf2fd0b-d239-447a-af66-38aa065618c6" providerId="ADAL" clId="{1CD6A200-24F4-4E2B-97A0-483811F1C7F4}" dt="2021-09-08T06:47:00.475" v="17268" actId="478"/>
          <ac:spMkLst>
            <pc:docMk/>
            <pc:sldMk cId="3115854776" sldId="8966"/>
            <ac:spMk id="60" creationId="{711628A7-488C-4A5E-B97D-5A80BF12180A}"/>
          </ac:spMkLst>
        </pc:spChg>
        <pc:spChg chg="mod">
          <ac:chgData name="Nicole Pham" userId="fcf2fd0b-d239-447a-af66-38aa065618c6" providerId="ADAL" clId="{1CD6A200-24F4-4E2B-97A0-483811F1C7F4}" dt="2021-09-08T06:47:18.574" v="17273" actId="1076"/>
          <ac:spMkLst>
            <pc:docMk/>
            <pc:sldMk cId="3115854776" sldId="8966"/>
            <ac:spMk id="62" creationId="{1167AA12-9DE6-40A5-9550-991A812BB384}"/>
          </ac:spMkLst>
        </pc:spChg>
        <pc:spChg chg="del">
          <ac:chgData name="Nicole Pham" userId="fcf2fd0b-d239-447a-af66-38aa065618c6" providerId="ADAL" clId="{1CD6A200-24F4-4E2B-97A0-483811F1C7F4}" dt="2021-09-08T06:46:33.403" v="17246" actId="478"/>
          <ac:spMkLst>
            <pc:docMk/>
            <pc:sldMk cId="3115854776" sldId="8966"/>
            <ac:spMk id="64" creationId="{E21A6155-2054-45ED-B4AB-E6D2F771B6B5}"/>
          </ac:spMkLst>
        </pc:spChg>
        <pc:spChg chg="mod">
          <ac:chgData name="Nicole Pham" userId="fcf2fd0b-d239-447a-af66-38aa065618c6" providerId="ADAL" clId="{1CD6A200-24F4-4E2B-97A0-483811F1C7F4}" dt="2021-09-08T06:46:36.170" v="17247" actId="14100"/>
          <ac:spMkLst>
            <pc:docMk/>
            <pc:sldMk cId="3115854776" sldId="8966"/>
            <ac:spMk id="66" creationId="{9E90A8EC-9C17-4D09-98C8-09E0C0506884}"/>
          </ac:spMkLst>
        </pc:spChg>
        <pc:spChg chg="del">
          <ac:chgData name="Nicole Pham" userId="fcf2fd0b-d239-447a-af66-38aa065618c6" providerId="ADAL" clId="{1CD6A200-24F4-4E2B-97A0-483811F1C7F4}" dt="2021-09-08T06:46:25.712" v="17241" actId="478"/>
          <ac:spMkLst>
            <pc:docMk/>
            <pc:sldMk cId="3115854776" sldId="8966"/>
            <ac:spMk id="68" creationId="{6BC47AF7-36C6-4426-8FC0-C0333BBD4752}"/>
          </ac:spMkLst>
        </pc:spChg>
        <pc:spChg chg="mod">
          <ac:chgData name="Nicole Pham" userId="fcf2fd0b-d239-447a-af66-38aa065618c6" providerId="ADAL" clId="{1CD6A200-24F4-4E2B-97A0-483811F1C7F4}" dt="2021-09-08T06:47:16.257" v="17272" actId="1076"/>
          <ac:spMkLst>
            <pc:docMk/>
            <pc:sldMk cId="3115854776" sldId="8966"/>
            <ac:spMk id="70" creationId="{AE7E7665-0A1D-47C2-835A-26D0AE96471A}"/>
          </ac:spMkLst>
        </pc:spChg>
      </pc:sldChg>
      <pc:sldChg chg="mod modShow">
        <pc:chgData name="Nicole Pham" userId="fcf2fd0b-d239-447a-af66-38aa065618c6" providerId="ADAL" clId="{1CD6A200-24F4-4E2B-97A0-483811F1C7F4}" dt="2021-09-07T19:14:29.757" v="14" actId="729"/>
        <pc:sldMkLst>
          <pc:docMk/>
          <pc:sldMk cId="2256721079" sldId="8975"/>
        </pc:sldMkLst>
      </pc:sldChg>
      <pc:sldChg chg="modSp mod ord modTransition modAnim modNotesTx">
        <pc:chgData name="Nicole Pham" userId="fcf2fd0b-d239-447a-af66-38aa065618c6" providerId="ADAL" clId="{1CD6A200-24F4-4E2B-97A0-483811F1C7F4}" dt="2021-09-09T07:53:36.782" v="18533" actId="1076"/>
        <pc:sldMkLst>
          <pc:docMk/>
          <pc:sldMk cId="3711408420" sldId="8977"/>
        </pc:sldMkLst>
        <pc:spChg chg="mod">
          <ac:chgData name="Nicole Pham" userId="fcf2fd0b-d239-447a-af66-38aa065618c6" providerId="ADAL" clId="{1CD6A200-24F4-4E2B-97A0-483811F1C7F4}" dt="2021-09-09T07:53:36.782" v="18533" actId="1076"/>
          <ac:spMkLst>
            <pc:docMk/>
            <pc:sldMk cId="3711408420" sldId="8977"/>
            <ac:spMk id="8" creationId="{A1DF0229-118B-4604-85EB-E44E666354A8}"/>
          </ac:spMkLst>
        </pc:spChg>
      </pc:sldChg>
      <pc:sldChg chg="modNotesTx">
        <pc:chgData name="Nicole Pham" userId="fcf2fd0b-d239-447a-af66-38aa065618c6" providerId="ADAL" clId="{1CD6A200-24F4-4E2B-97A0-483811F1C7F4}" dt="2021-09-08T06:59:09.430" v="17435" actId="20577"/>
        <pc:sldMkLst>
          <pc:docMk/>
          <pc:sldMk cId="1326415073" sldId="8980"/>
        </pc:sldMkLst>
      </pc:sldChg>
      <pc:sldChg chg="ord modNotesTx">
        <pc:chgData name="Nicole Pham" userId="fcf2fd0b-d239-447a-af66-38aa065618c6" providerId="ADAL" clId="{1CD6A200-24F4-4E2B-97A0-483811F1C7F4}" dt="2021-09-08T07:00:19.497" v="17510" actId="113"/>
        <pc:sldMkLst>
          <pc:docMk/>
          <pc:sldMk cId="742792177" sldId="8981"/>
        </pc:sldMkLst>
      </pc:sldChg>
      <pc:sldChg chg="modNotesTx">
        <pc:chgData name="Nicole Pham" userId="fcf2fd0b-d239-447a-af66-38aa065618c6" providerId="ADAL" clId="{1CD6A200-24F4-4E2B-97A0-483811F1C7F4}" dt="2021-09-08T07:18:54.228" v="17992" actId="113"/>
        <pc:sldMkLst>
          <pc:docMk/>
          <pc:sldMk cId="2944658616" sldId="8982"/>
        </pc:sldMkLst>
      </pc:sldChg>
      <pc:sldChg chg="del">
        <pc:chgData name="Nicole Pham" userId="fcf2fd0b-d239-447a-af66-38aa065618c6" providerId="ADAL" clId="{1CD6A200-24F4-4E2B-97A0-483811F1C7F4}" dt="2021-09-07T20:37:04.473" v="202" actId="47"/>
        <pc:sldMkLst>
          <pc:docMk/>
          <pc:sldMk cId="2508650365" sldId="8983"/>
        </pc:sldMkLst>
      </pc:sldChg>
      <pc:sldChg chg="modNotesTx">
        <pc:chgData name="Nicole Pham" userId="fcf2fd0b-d239-447a-af66-38aa065618c6" providerId="ADAL" clId="{1CD6A200-24F4-4E2B-97A0-483811F1C7F4}" dt="2021-09-08T11:08:36.732" v="18432" actId="20577"/>
        <pc:sldMkLst>
          <pc:docMk/>
          <pc:sldMk cId="4168990504" sldId="8990"/>
        </pc:sldMkLst>
      </pc:sldChg>
      <pc:sldChg chg="delSp mod modNotesTx">
        <pc:chgData name="Nicole Pham" userId="fcf2fd0b-d239-447a-af66-38aa065618c6" providerId="ADAL" clId="{1CD6A200-24F4-4E2B-97A0-483811F1C7F4}" dt="2021-09-09T08:01:16.914" v="18547" actId="478"/>
        <pc:sldMkLst>
          <pc:docMk/>
          <pc:sldMk cId="2288361829" sldId="8997"/>
        </pc:sldMkLst>
        <pc:spChg chg="del">
          <ac:chgData name="Nicole Pham" userId="fcf2fd0b-d239-447a-af66-38aa065618c6" providerId="ADAL" clId="{1CD6A200-24F4-4E2B-97A0-483811F1C7F4}" dt="2021-09-09T08:01:16.914" v="18547" actId="478"/>
          <ac:spMkLst>
            <pc:docMk/>
            <pc:sldMk cId="2288361829" sldId="8997"/>
            <ac:spMk id="145" creationId="{00000000-0000-0000-0000-000000000000}"/>
          </ac:spMkLst>
        </pc:spChg>
        <pc:spChg chg="del">
          <ac:chgData name="Nicole Pham" userId="fcf2fd0b-d239-447a-af66-38aa065618c6" providerId="ADAL" clId="{1CD6A200-24F4-4E2B-97A0-483811F1C7F4}" dt="2021-09-09T08:01:16.914" v="18547" actId="478"/>
          <ac:spMkLst>
            <pc:docMk/>
            <pc:sldMk cId="2288361829" sldId="8997"/>
            <ac:spMk id="146" creationId="{00000000-0000-0000-0000-000000000000}"/>
          </ac:spMkLst>
        </pc:spChg>
        <pc:spChg chg="del">
          <ac:chgData name="Nicole Pham" userId="fcf2fd0b-d239-447a-af66-38aa065618c6" providerId="ADAL" clId="{1CD6A200-24F4-4E2B-97A0-483811F1C7F4}" dt="2021-09-09T08:01:16.914" v="18547" actId="478"/>
          <ac:spMkLst>
            <pc:docMk/>
            <pc:sldMk cId="2288361829" sldId="8997"/>
            <ac:spMk id="147" creationId="{00000000-0000-0000-0000-000000000000}"/>
          </ac:spMkLst>
        </pc:spChg>
        <pc:spChg chg="del">
          <ac:chgData name="Nicole Pham" userId="fcf2fd0b-d239-447a-af66-38aa065618c6" providerId="ADAL" clId="{1CD6A200-24F4-4E2B-97A0-483811F1C7F4}" dt="2021-09-09T08:01:16.914" v="18547" actId="478"/>
          <ac:spMkLst>
            <pc:docMk/>
            <pc:sldMk cId="2288361829" sldId="8997"/>
            <ac:spMk id="148" creationId="{00000000-0000-0000-0000-000000000000}"/>
          </ac:spMkLst>
        </pc:spChg>
        <pc:spChg chg="del">
          <ac:chgData name="Nicole Pham" userId="fcf2fd0b-d239-447a-af66-38aa065618c6" providerId="ADAL" clId="{1CD6A200-24F4-4E2B-97A0-483811F1C7F4}" dt="2021-09-09T08:01:16.914" v="18547" actId="478"/>
          <ac:spMkLst>
            <pc:docMk/>
            <pc:sldMk cId="2288361829" sldId="8997"/>
            <ac:spMk id="149" creationId="{00000000-0000-0000-0000-000000000000}"/>
          </ac:spMkLst>
        </pc:spChg>
      </pc:sldChg>
      <pc:sldChg chg="modSp mod">
        <pc:chgData name="Nicole Pham" userId="fcf2fd0b-d239-447a-af66-38aa065618c6" providerId="ADAL" clId="{1CD6A200-24F4-4E2B-97A0-483811F1C7F4}" dt="2021-09-09T07:54:11.945" v="18535" actId="14100"/>
        <pc:sldMkLst>
          <pc:docMk/>
          <pc:sldMk cId="1529410724" sldId="9003"/>
        </pc:sldMkLst>
        <pc:spChg chg="mod">
          <ac:chgData name="Nicole Pham" userId="fcf2fd0b-d239-447a-af66-38aa065618c6" providerId="ADAL" clId="{1CD6A200-24F4-4E2B-97A0-483811F1C7F4}" dt="2021-09-09T07:54:11.945" v="18535" actId="14100"/>
          <ac:spMkLst>
            <pc:docMk/>
            <pc:sldMk cId="1529410724" sldId="9003"/>
            <ac:spMk id="48" creationId="{0F44D7C7-4DC7-4360-AD85-E44C2717FE81}"/>
          </ac:spMkLst>
        </pc:spChg>
      </pc:sldChg>
      <pc:sldChg chg="ord">
        <pc:chgData name="Nicole Pham" userId="fcf2fd0b-d239-447a-af66-38aa065618c6" providerId="ADAL" clId="{1CD6A200-24F4-4E2B-97A0-483811F1C7F4}" dt="2021-09-07T23:06:23.982" v="720" actId="20578"/>
        <pc:sldMkLst>
          <pc:docMk/>
          <pc:sldMk cId="1682400665" sldId="9006"/>
        </pc:sldMkLst>
      </pc:sldChg>
      <pc:sldChg chg="modSp">
        <pc:chgData name="Nicole Pham" userId="fcf2fd0b-d239-447a-af66-38aa065618c6" providerId="ADAL" clId="{1CD6A200-24F4-4E2B-97A0-483811F1C7F4}" dt="2021-09-09T07:51:44.200" v="18510" actId="20577"/>
        <pc:sldMkLst>
          <pc:docMk/>
          <pc:sldMk cId="875618837" sldId="9010"/>
        </pc:sldMkLst>
        <pc:spChg chg="mod">
          <ac:chgData name="Nicole Pham" userId="fcf2fd0b-d239-447a-af66-38aa065618c6" providerId="ADAL" clId="{1CD6A200-24F4-4E2B-97A0-483811F1C7F4}" dt="2021-09-09T07:51:44.200" v="18510" actId="20577"/>
          <ac:spMkLst>
            <pc:docMk/>
            <pc:sldMk cId="875618837" sldId="9010"/>
            <ac:spMk id="3" creationId="{E9CB1B22-8B04-4B26-BDD7-923B34CBAF14}"/>
          </ac:spMkLst>
        </pc:spChg>
      </pc:sldChg>
      <pc:sldChg chg="modSp">
        <pc:chgData name="Nicole Pham" userId="fcf2fd0b-d239-447a-af66-38aa065618c6" providerId="ADAL" clId="{1CD6A200-24F4-4E2B-97A0-483811F1C7F4}" dt="2021-09-09T07:51:30.648" v="18506" actId="20577"/>
        <pc:sldMkLst>
          <pc:docMk/>
          <pc:sldMk cId="1558862058" sldId="9012"/>
        </pc:sldMkLst>
        <pc:spChg chg="mod">
          <ac:chgData name="Nicole Pham" userId="fcf2fd0b-d239-447a-af66-38aa065618c6" providerId="ADAL" clId="{1CD6A200-24F4-4E2B-97A0-483811F1C7F4}" dt="2021-09-09T07:51:30.648" v="18506" actId="20577"/>
          <ac:spMkLst>
            <pc:docMk/>
            <pc:sldMk cId="1558862058" sldId="9012"/>
            <ac:spMk id="3" creationId="{0145FCA1-83CB-4A4E-946B-1BF0D277712B}"/>
          </ac:spMkLst>
        </pc:spChg>
      </pc:sldChg>
      <pc:sldChg chg="modSp mod">
        <pc:chgData name="Nicole Pham" userId="fcf2fd0b-d239-447a-af66-38aa065618c6" providerId="ADAL" clId="{1CD6A200-24F4-4E2B-97A0-483811F1C7F4}" dt="2021-09-09T07:52:18.750" v="18518" actId="20577"/>
        <pc:sldMkLst>
          <pc:docMk/>
          <pc:sldMk cId="604663418" sldId="9014"/>
        </pc:sldMkLst>
        <pc:spChg chg="mod">
          <ac:chgData name="Nicole Pham" userId="fcf2fd0b-d239-447a-af66-38aa065618c6" providerId="ADAL" clId="{1CD6A200-24F4-4E2B-97A0-483811F1C7F4}" dt="2021-09-09T07:52:18.750" v="18518" actId="20577"/>
          <ac:spMkLst>
            <pc:docMk/>
            <pc:sldMk cId="604663418" sldId="9014"/>
            <ac:spMk id="3" creationId="{FDF397D8-EC2B-4139-91E8-5302D3D4DFC1}"/>
          </ac:spMkLst>
        </pc:spChg>
      </pc:sldChg>
      <pc:sldChg chg="add mod modShow">
        <pc:chgData name="Nicole Pham" userId="fcf2fd0b-d239-447a-af66-38aa065618c6" providerId="ADAL" clId="{1CD6A200-24F4-4E2B-97A0-483811F1C7F4}" dt="2021-09-07T19:53:39.886" v="86" actId="729"/>
        <pc:sldMkLst>
          <pc:docMk/>
          <pc:sldMk cId="1353215819" sldId="2076137208"/>
        </pc:sldMkLst>
      </pc:sldChg>
      <pc:sldChg chg="add mod modShow">
        <pc:chgData name="Nicole Pham" userId="fcf2fd0b-d239-447a-af66-38aa065618c6" providerId="ADAL" clId="{1CD6A200-24F4-4E2B-97A0-483811F1C7F4}" dt="2021-09-07T19:53:39.886" v="86" actId="729"/>
        <pc:sldMkLst>
          <pc:docMk/>
          <pc:sldMk cId="2028310024" sldId="2076137209"/>
        </pc:sldMkLst>
      </pc:sldChg>
      <pc:sldChg chg="add mod modShow">
        <pc:chgData name="Nicole Pham" userId="fcf2fd0b-d239-447a-af66-38aa065618c6" providerId="ADAL" clId="{1CD6A200-24F4-4E2B-97A0-483811F1C7F4}" dt="2021-09-07T19:53:39.886" v="86" actId="729"/>
        <pc:sldMkLst>
          <pc:docMk/>
          <pc:sldMk cId="2646355459" sldId="2076137210"/>
        </pc:sldMkLst>
      </pc:sldChg>
      <pc:sldChg chg="modSp mod">
        <pc:chgData name="Nicole Pham" userId="fcf2fd0b-d239-447a-af66-38aa065618c6" providerId="ADAL" clId="{1CD6A200-24F4-4E2B-97A0-483811F1C7F4}" dt="2021-09-08T11:13:25.549" v="18433" actId="20577"/>
        <pc:sldMkLst>
          <pc:docMk/>
          <pc:sldMk cId="280536936" sldId="2076138412"/>
        </pc:sldMkLst>
        <pc:spChg chg="mod">
          <ac:chgData name="Nicole Pham" userId="fcf2fd0b-d239-447a-af66-38aa065618c6" providerId="ADAL" clId="{1CD6A200-24F4-4E2B-97A0-483811F1C7F4}" dt="2021-09-08T11:13:25.549" v="18433" actId="20577"/>
          <ac:spMkLst>
            <pc:docMk/>
            <pc:sldMk cId="280536936" sldId="2076138412"/>
            <ac:spMk id="1427" creationId="{2344115C-7D5C-47F7-9485-A3BC1C36FB88}"/>
          </ac:spMkLst>
        </pc:spChg>
      </pc:sldChg>
      <pc:sldChg chg="modSp mod modNotesTx">
        <pc:chgData name="Nicole Pham" userId="fcf2fd0b-d239-447a-af66-38aa065618c6" providerId="ADAL" clId="{1CD6A200-24F4-4E2B-97A0-483811F1C7F4}" dt="2021-09-08T11:06:51.684" v="18427" actId="113"/>
        <pc:sldMkLst>
          <pc:docMk/>
          <pc:sldMk cId="2590693906" sldId="2076138414"/>
        </pc:sldMkLst>
        <pc:spChg chg="mod">
          <ac:chgData name="Nicole Pham" userId="fcf2fd0b-d239-447a-af66-38aa065618c6" providerId="ADAL" clId="{1CD6A200-24F4-4E2B-97A0-483811F1C7F4}" dt="2021-09-08T11:06:51.684" v="18427" actId="113"/>
          <ac:spMkLst>
            <pc:docMk/>
            <pc:sldMk cId="2590693906" sldId="2076138414"/>
            <ac:spMk id="6" creationId="{DFB4AE08-DE45-4DDE-9FE0-CA3AA85397B4}"/>
          </ac:spMkLst>
        </pc:spChg>
      </pc:sldChg>
      <pc:sldChg chg="modSp mod">
        <pc:chgData name="Nicole Pham" userId="fcf2fd0b-d239-447a-af66-38aa065618c6" providerId="ADAL" clId="{1CD6A200-24F4-4E2B-97A0-483811F1C7F4}" dt="2021-09-07T20:46:36.260" v="326" actId="1076"/>
        <pc:sldMkLst>
          <pc:docMk/>
          <pc:sldMk cId="4146419119" sldId="2076138420"/>
        </pc:sldMkLst>
        <pc:spChg chg="mod">
          <ac:chgData name="Nicole Pham" userId="fcf2fd0b-d239-447a-af66-38aa065618c6" providerId="ADAL" clId="{1CD6A200-24F4-4E2B-97A0-483811F1C7F4}" dt="2021-09-07T20:46:36.260" v="326" actId="1076"/>
          <ac:spMkLst>
            <pc:docMk/>
            <pc:sldMk cId="4146419119" sldId="2076138420"/>
            <ac:spMk id="3" creationId="{791523A3-8DC6-4067-8881-681373FF6932}"/>
          </ac:spMkLst>
        </pc:spChg>
      </pc:sldChg>
      <pc:sldChg chg="modNotesTx">
        <pc:chgData name="Nicole Pham" userId="fcf2fd0b-d239-447a-af66-38aa065618c6" providerId="ADAL" clId="{1CD6A200-24F4-4E2B-97A0-483811F1C7F4}" dt="2021-09-08T07:31:23.970" v="18266" actId="113"/>
        <pc:sldMkLst>
          <pc:docMk/>
          <pc:sldMk cId="4284760993" sldId="2076138428"/>
        </pc:sldMkLst>
      </pc:sldChg>
      <pc:sldChg chg="del">
        <pc:chgData name="Nicole Pham" userId="fcf2fd0b-d239-447a-af66-38aa065618c6" providerId="ADAL" clId="{1CD6A200-24F4-4E2B-97A0-483811F1C7F4}" dt="2021-09-07T20:38:28.500" v="224" actId="47"/>
        <pc:sldMkLst>
          <pc:docMk/>
          <pc:sldMk cId="3884331910" sldId="2076138429"/>
        </pc:sldMkLst>
      </pc:sldChg>
      <pc:sldChg chg="modSp mod modAnim modNotesTx">
        <pc:chgData name="Nicole Pham" userId="fcf2fd0b-d239-447a-af66-38aa065618c6" providerId="ADAL" clId="{1CD6A200-24F4-4E2B-97A0-483811F1C7F4}" dt="2021-09-08T07:20:40.382" v="18099" actId="20577"/>
        <pc:sldMkLst>
          <pc:docMk/>
          <pc:sldMk cId="970904601" sldId="2076138432"/>
        </pc:sldMkLst>
        <pc:spChg chg="mod">
          <ac:chgData name="Nicole Pham" userId="fcf2fd0b-d239-447a-af66-38aa065618c6" providerId="ADAL" clId="{1CD6A200-24F4-4E2B-97A0-483811F1C7F4}" dt="2021-09-07T20:22:35.129" v="130" actId="404"/>
          <ac:spMkLst>
            <pc:docMk/>
            <pc:sldMk cId="970904601" sldId="2076138432"/>
            <ac:spMk id="5" creationId="{11ABAB6E-AFD1-48F4-A267-EA97DF478D8C}"/>
          </ac:spMkLst>
        </pc:spChg>
        <pc:spChg chg="mod">
          <ac:chgData name="Nicole Pham" userId="fcf2fd0b-d239-447a-af66-38aa065618c6" providerId="ADAL" clId="{1CD6A200-24F4-4E2B-97A0-483811F1C7F4}" dt="2021-09-07T20:22:40.979" v="131" actId="404"/>
          <ac:spMkLst>
            <pc:docMk/>
            <pc:sldMk cId="970904601" sldId="2076138432"/>
            <ac:spMk id="14" creationId="{C8D6CE9C-2DBE-4169-9D35-D1331DBE1140}"/>
          </ac:spMkLst>
        </pc:spChg>
      </pc:sldChg>
      <pc:sldChg chg="modNotesTx">
        <pc:chgData name="Nicole Pham" userId="fcf2fd0b-d239-447a-af66-38aa065618c6" providerId="ADAL" clId="{1CD6A200-24F4-4E2B-97A0-483811F1C7F4}" dt="2021-09-08T07:30:01.999" v="18262"/>
        <pc:sldMkLst>
          <pc:docMk/>
          <pc:sldMk cId="2047948795" sldId="2076138433"/>
        </pc:sldMkLst>
      </pc:sldChg>
      <pc:sldChg chg="modTransition">
        <pc:chgData name="Nicole Pham" userId="fcf2fd0b-d239-447a-af66-38aa065618c6" providerId="ADAL" clId="{1CD6A200-24F4-4E2B-97A0-483811F1C7F4}" dt="2021-09-08T09:20:33.238" v="18364"/>
        <pc:sldMkLst>
          <pc:docMk/>
          <pc:sldMk cId="697730127" sldId="2076138444"/>
        </pc:sldMkLst>
      </pc:sldChg>
      <pc:sldChg chg="modTransition">
        <pc:chgData name="Nicole Pham" userId="fcf2fd0b-d239-447a-af66-38aa065618c6" providerId="ADAL" clId="{1CD6A200-24F4-4E2B-97A0-483811F1C7F4}" dt="2021-09-08T09:20:35.371" v="18365"/>
        <pc:sldMkLst>
          <pc:docMk/>
          <pc:sldMk cId="3648315449" sldId="2076138445"/>
        </pc:sldMkLst>
      </pc:sldChg>
      <pc:sldChg chg="modTransition">
        <pc:chgData name="Nicole Pham" userId="fcf2fd0b-d239-447a-af66-38aa065618c6" providerId="ADAL" clId="{1CD6A200-24F4-4E2B-97A0-483811F1C7F4}" dt="2021-09-08T09:20:39.959" v="18366"/>
        <pc:sldMkLst>
          <pc:docMk/>
          <pc:sldMk cId="2460768957" sldId="2076138446"/>
        </pc:sldMkLst>
      </pc:sldChg>
      <pc:sldChg chg="modSp mod modTransition">
        <pc:chgData name="Nicole Pham" userId="fcf2fd0b-d239-447a-af66-38aa065618c6" providerId="ADAL" clId="{1CD6A200-24F4-4E2B-97A0-483811F1C7F4}" dt="2021-09-08T10:52:21.344" v="18396"/>
        <pc:sldMkLst>
          <pc:docMk/>
          <pc:sldMk cId="957373859" sldId="2076138456"/>
        </pc:sldMkLst>
        <pc:graphicFrameChg chg="mod modGraphic">
          <ac:chgData name="Nicole Pham" userId="fcf2fd0b-d239-447a-af66-38aa065618c6" providerId="ADAL" clId="{1CD6A200-24F4-4E2B-97A0-483811F1C7F4}" dt="2021-09-08T06:37:18.843" v="17200" actId="20577"/>
          <ac:graphicFrameMkLst>
            <pc:docMk/>
            <pc:sldMk cId="957373859" sldId="2076138456"/>
            <ac:graphicFrameMk id="8" creationId="{BFAD8D57-5C47-45D7-AD42-C6CD2F572D1C}"/>
          </ac:graphicFrameMkLst>
        </pc:graphicFrameChg>
      </pc:sldChg>
      <pc:sldChg chg="modNotesTx">
        <pc:chgData name="Nicole Pham" userId="fcf2fd0b-d239-447a-af66-38aa065618c6" providerId="ADAL" clId="{1CD6A200-24F4-4E2B-97A0-483811F1C7F4}" dt="2021-09-07T19:50:31.511" v="84" actId="20577"/>
        <pc:sldMkLst>
          <pc:docMk/>
          <pc:sldMk cId="42930766" sldId="2076138462"/>
        </pc:sldMkLst>
      </pc:sldChg>
      <pc:sldChg chg="modSp mod modTransition modNotesTx">
        <pc:chgData name="Nicole Pham" userId="fcf2fd0b-d239-447a-af66-38aa065618c6" providerId="ADAL" clId="{1CD6A200-24F4-4E2B-97A0-483811F1C7F4}" dt="2021-09-08T10:52:36.118" v="18405"/>
        <pc:sldMkLst>
          <pc:docMk/>
          <pc:sldMk cId="1282716446" sldId="2076138464"/>
        </pc:sldMkLst>
        <pc:spChg chg="mod">
          <ac:chgData name="Nicole Pham" userId="fcf2fd0b-d239-447a-af66-38aa065618c6" providerId="ADAL" clId="{1CD6A200-24F4-4E2B-97A0-483811F1C7F4}" dt="2021-09-07T19:36:44.094" v="24" actId="20577"/>
          <ac:spMkLst>
            <pc:docMk/>
            <pc:sldMk cId="1282716446" sldId="2076138464"/>
            <ac:spMk id="2" creationId="{00000000-0000-0000-0000-000000000000}"/>
          </ac:spMkLst>
        </pc:spChg>
      </pc:sldChg>
      <pc:sldChg chg="modSp mod modTransition modNotesTx">
        <pc:chgData name="Nicole Pham" userId="fcf2fd0b-d239-447a-af66-38aa065618c6" providerId="ADAL" clId="{1CD6A200-24F4-4E2B-97A0-483811F1C7F4}" dt="2021-09-08T10:52:37.266" v="18406"/>
        <pc:sldMkLst>
          <pc:docMk/>
          <pc:sldMk cId="2613895525" sldId="2076138465"/>
        </pc:sldMkLst>
        <pc:spChg chg="mod">
          <ac:chgData name="Nicole Pham" userId="fcf2fd0b-d239-447a-af66-38aa065618c6" providerId="ADAL" clId="{1CD6A200-24F4-4E2B-97A0-483811F1C7F4}" dt="2021-09-07T19:36:48.611" v="25" actId="20577"/>
          <ac:spMkLst>
            <pc:docMk/>
            <pc:sldMk cId="2613895525" sldId="2076138465"/>
            <ac:spMk id="2" creationId="{00000000-0000-0000-0000-000000000000}"/>
          </ac:spMkLst>
        </pc:spChg>
      </pc:sldChg>
      <pc:sldChg chg="mod modShow">
        <pc:chgData name="Nicole Pham" userId="fcf2fd0b-d239-447a-af66-38aa065618c6" providerId="ADAL" clId="{1CD6A200-24F4-4E2B-97A0-483811F1C7F4}" dt="2021-09-09T07:40:42.336" v="18491" actId="729"/>
        <pc:sldMkLst>
          <pc:docMk/>
          <pc:sldMk cId="1317036260" sldId="2076138474"/>
        </pc:sldMkLst>
      </pc:sldChg>
      <pc:sldChg chg="modSp mod">
        <pc:chgData name="Nicole Pham" userId="fcf2fd0b-d239-447a-af66-38aa065618c6" providerId="ADAL" clId="{1CD6A200-24F4-4E2B-97A0-483811F1C7F4}" dt="2021-09-09T07:54:58.063" v="18536" actId="1076"/>
        <pc:sldMkLst>
          <pc:docMk/>
          <pc:sldMk cId="2571335751" sldId="2076138476"/>
        </pc:sldMkLst>
        <pc:spChg chg="mod">
          <ac:chgData name="Nicole Pham" userId="fcf2fd0b-d239-447a-af66-38aa065618c6" providerId="ADAL" clId="{1CD6A200-24F4-4E2B-97A0-483811F1C7F4}" dt="2021-09-07T20:39:49.617" v="244" actId="113"/>
          <ac:spMkLst>
            <pc:docMk/>
            <pc:sldMk cId="2571335751" sldId="2076138476"/>
            <ac:spMk id="2" creationId="{0007F4F6-B99F-4867-88AB-F63F06B9C7F5}"/>
          </ac:spMkLst>
        </pc:spChg>
        <pc:spChg chg="mod">
          <ac:chgData name="Nicole Pham" userId="fcf2fd0b-d239-447a-af66-38aa065618c6" providerId="ADAL" clId="{1CD6A200-24F4-4E2B-97A0-483811F1C7F4}" dt="2021-09-09T07:54:58.063" v="18536" actId="1076"/>
          <ac:spMkLst>
            <pc:docMk/>
            <pc:sldMk cId="2571335751" sldId="2076138476"/>
            <ac:spMk id="44" creationId="{B4CBE827-E78D-487D-9D24-548DA2A64AB9}"/>
          </ac:spMkLst>
        </pc:spChg>
        <pc:spChg chg="mod">
          <ac:chgData name="Nicole Pham" userId="fcf2fd0b-d239-447a-af66-38aa065618c6" providerId="ADAL" clId="{1CD6A200-24F4-4E2B-97A0-483811F1C7F4}" dt="2021-09-08T11:05:41.025" v="18421" actId="403"/>
          <ac:spMkLst>
            <pc:docMk/>
            <pc:sldMk cId="2571335751" sldId="2076138476"/>
            <ac:spMk id="48" creationId="{1C26012B-00B9-4353-8565-4F1E253127BE}"/>
          </ac:spMkLst>
        </pc:spChg>
      </pc:sldChg>
      <pc:sldChg chg="modTransition">
        <pc:chgData name="Nicole Pham" userId="fcf2fd0b-d239-447a-af66-38aa065618c6" providerId="ADAL" clId="{1CD6A200-24F4-4E2B-97A0-483811F1C7F4}" dt="2021-09-08T10:53:14.923" v="18416"/>
        <pc:sldMkLst>
          <pc:docMk/>
          <pc:sldMk cId="3736888017" sldId="2076138480"/>
        </pc:sldMkLst>
      </pc:sldChg>
      <pc:sldChg chg="modSp mod modNotesTx">
        <pc:chgData name="Nicole Pham" userId="fcf2fd0b-d239-447a-af66-38aa065618c6" providerId="ADAL" clId="{1CD6A200-24F4-4E2B-97A0-483811F1C7F4}" dt="2021-09-07T21:27:19.642" v="492" actId="20577"/>
        <pc:sldMkLst>
          <pc:docMk/>
          <pc:sldMk cId="1035084217" sldId="2076138481"/>
        </pc:sldMkLst>
        <pc:spChg chg="mod">
          <ac:chgData name="Nicole Pham" userId="fcf2fd0b-d239-447a-af66-38aa065618c6" providerId="ADAL" clId="{1CD6A200-24F4-4E2B-97A0-483811F1C7F4}" dt="2021-09-07T21:26:00.734" v="476" actId="404"/>
          <ac:spMkLst>
            <pc:docMk/>
            <pc:sldMk cId="1035084217" sldId="2076138481"/>
            <ac:spMk id="2" creationId="{BACBE41B-0AA9-40D1-9BD5-EEBEB7A65659}"/>
          </ac:spMkLst>
        </pc:spChg>
        <pc:spChg chg="mod">
          <ac:chgData name="Nicole Pham" userId="fcf2fd0b-d239-447a-af66-38aa065618c6" providerId="ADAL" clId="{1CD6A200-24F4-4E2B-97A0-483811F1C7F4}" dt="2021-09-07T21:27:19.642" v="492" actId="20577"/>
          <ac:spMkLst>
            <pc:docMk/>
            <pc:sldMk cId="1035084217" sldId="2076138481"/>
            <ac:spMk id="3" creationId="{7E15948D-12FA-4696-B02C-A420C5E7D55E}"/>
          </ac:spMkLst>
        </pc:spChg>
      </pc:sldChg>
      <pc:sldChg chg="modSp mod modNotesTx">
        <pc:chgData name="Nicole Pham" userId="fcf2fd0b-d239-447a-af66-38aa065618c6" providerId="ADAL" clId="{1CD6A200-24F4-4E2B-97A0-483811F1C7F4}" dt="2021-09-08T05:57:37.583" v="16631" actId="1076"/>
        <pc:sldMkLst>
          <pc:docMk/>
          <pc:sldMk cId="2826068891" sldId="2076138482"/>
        </pc:sldMkLst>
        <pc:spChg chg="mod">
          <ac:chgData name="Nicole Pham" userId="fcf2fd0b-d239-447a-af66-38aa065618c6" providerId="ADAL" clId="{1CD6A200-24F4-4E2B-97A0-483811F1C7F4}" dt="2021-09-08T05:57:37.583" v="16631" actId="1076"/>
          <ac:spMkLst>
            <pc:docMk/>
            <pc:sldMk cId="2826068891" sldId="2076138482"/>
            <ac:spMk id="3" creationId="{7E15948D-12FA-4696-B02C-A420C5E7D55E}"/>
          </ac:spMkLst>
        </pc:spChg>
      </pc:sldChg>
      <pc:sldChg chg="modSp mod modNotesTx">
        <pc:chgData name="Nicole Pham" userId="fcf2fd0b-d239-447a-af66-38aa065618c6" providerId="ADAL" clId="{1CD6A200-24F4-4E2B-97A0-483811F1C7F4}" dt="2021-09-08T06:20:18.861" v="17006" actId="20577"/>
        <pc:sldMkLst>
          <pc:docMk/>
          <pc:sldMk cId="3840431851" sldId="2076138483"/>
        </pc:sldMkLst>
        <pc:spChg chg="mod">
          <ac:chgData name="Nicole Pham" userId="fcf2fd0b-d239-447a-af66-38aa065618c6" providerId="ADAL" clId="{1CD6A200-24F4-4E2B-97A0-483811F1C7F4}" dt="2021-09-07T21:39:28.418" v="610" actId="20577"/>
          <ac:spMkLst>
            <pc:docMk/>
            <pc:sldMk cId="3840431851" sldId="2076138483"/>
            <ac:spMk id="4" creationId="{8CDFF298-F942-4EBF-887F-B7ADCB2E891B}"/>
          </ac:spMkLst>
        </pc:spChg>
      </pc:sldChg>
      <pc:sldChg chg="ord">
        <pc:chgData name="Nicole Pham" userId="fcf2fd0b-d239-447a-af66-38aa065618c6" providerId="ADAL" clId="{1CD6A200-24F4-4E2B-97A0-483811F1C7F4}" dt="2021-09-07T21:38:29.915" v="591"/>
        <pc:sldMkLst>
          <pc:docMk/>
          <pc:sldMk cId="2933991364" sldId="2076138484"/>
        </pc:sldMkLst>
      </pc:sldChg>
      <pc:sldChg chg="mod modShow">
        <pc:chgData name="Nicole Pham" userId="fcf2fd0b-d239-447a-af66-38aa065618c6" providerId="ADAL" clId="{1CD6A200-24F4-4E2B-97A0-483811F1C7F4}" dt="2021-09-08T06:21:52.983" v="17008" actId="729"/>
        <pc:sldMkLst>
          <pc:docMk/>
          <pc:sldMk cId="804796417" sldId="2076138486"/>
        </pc:sldMkLst>
      </pc:sldChg>
      <pc:sldChg chg="modSp mod">
        <pc:chgData name="Nicole Pham" userId="fcf2fd0b-d239-447a-af66-38aa065618c6" providerId="ADAL" clId="{1CD6A200-24F4-4E2B-97A0-483811F1C7F4}" dt="2021-09-07T21:39:32.616" v="611"/>
        <pc:sldMkLst>
          <pc:docMk/>
          <pc:sldMk cId="618516151" sldId="2076138487"/>
        </pc:sldMkLst>
        <pc:spChg chg="mod">
          <ac:chgData name="Nicole Pham" userId="fcf2fd0b-d239-447a-af66-38aa065618c6" providerId="ADAL" clId="{1CD6A200-24F4-4E2B-97A0-483811F1C7F4}" dt="2021-09-07T21:39:32.616" v="611"/>
          <ac:spMkLst>
            <pc:docMk/>
            <pc:sldMk cId="618516151" sldId="2076138487"/>
            <ac:spMk id="4" creationId="{8CDFF298-F942-4EBF-887F-B7ADCB2E891B}"/>
          </ac:spMkLst>
        </pc:spChg>
      </pc:sldChg>
      <pc:sldChg chg="modTransition">
        <pc:chgData name="Nicole Pham" userId="fcf2fd0b-d239-447a-af66-38aa065618c6" providerId="ADAL" clId="{1CD6A200-24F4-4E2B-97A0-483811F1C7F4}" dt="2021-09-08T10:52:31.227" v="18401"/>
        <pc:sldMkLst>
          <pc:docMk/>
          <pc:sldMk cId="2273186333" sldId="2076138491"/>
        </pc:sldMkLst>
      </pc:sldChg>
      <pc:sldChg chg="modTransition">
        <pc:chgData name="Nicole Pham" userId="fcf2fd0b-d239-447a-af66-38aa065618c6" providerId="ADAL" clId="{1CD6A200-24F4-4E2B-97A0-483811F1C7F4}" dt="2021-09-08T10:52:32.113" v="18402"/>
        <pc:sldMkLst>
          <pc:docMk/>
          <pc:sldMk cId="2195742092" sldId="2076138492"/>
        </pc:sldMkLst>
      </pc:sldChg>
      <pc:sldChg chg="modTransition">
        <pc:chgData name="Nicole Pham" userId="fcf2fd0b-d239-447a-af66-38aa065618c6" providerId="ADAL" clId="{1CD6A200-24F4-4E2B-97A0-483811F1C7F4}" dt="2021-09-08T10:52:33.261" v="18403"/>
        <pc:sldMkLst>
          <pc:docMk/>
          <pc:sldMk cId="3245192614" sldId="2076138493"/>
        </pc:sldMkLst>
      </pc:sldChg>
      <pc:sldChg chg="modTransition">
        <pc:chgData name="Nicole Pham" userId="fcf2fd0b-d239-447a-af66-38aa065618c6" providerId="ADAL" clId="{1CD6A200-24F4-4E2B-97A0-483811F1C7F4}" dt="2021-09-08T10:52:34.395" v="18404"/>
        <pc:sldMkLst>
          <pc:docMk/>
          <pc:sldMk cId="3100300612" sldId="2076138494"/>
        </pc:sldMkLst>
      </pc:sldChg>
      <pc:sldChg chg="mod modShow">
        <pc:chgData name="Nicole Pham" userId="fcf2fd0b-d239-447a-af66-38aa065618c6" providerId="ADAL" clId="{1CD6A200-24F4-4E2B-97A0-483811F1C7F4}" dt="2021-09-09T07:56:44.620" v="18542" actId="729"/>
        <pc:sldMkLst>
          <pc:docMk/>
          <pc:sldMk cId="2680707958" sldId="2076138495"/>
        </pc:sldMkLst>
      </pc:sldChg>
      <pc:sldChg chg="delSp modSp mod">
        <pc:chgData name="Nicole Pham" userId="fcf2fd0b-d239-447a-af66-38aa065618c6" providerId="ADAL" clId="{1CD6A200-24F4-4E2B-97A0-483811F1C7F4}" dt="2021-09-09T08:01:20.289" v="18548" actId="478"/>
        <pc:sldMkLst>
          <pc:docMk/>
          <pc:sldMk cId="1400011542" sldId="2076138497"/>
        </pc:sldMkLst>
        <pc:spChg chg="mod">
          <ac:chgData name="Nicole Pham" userId="fcf2fd0b-d239-447a-af66-38aa065618c6" providerId="ADAL" clId="{1CD6A200-24F4-4E2B-97A0-483811F1C7F4}" dt="2021-09-07T20:08:15.109" v="94" actId="5793"/>
          <ac:spMkLst>
            <pc:docMk/>
            <pc:sldMk cId="1400011542" sldId="2076138497"/>
            <ac:spMk id="27" creationId="{90D301C4-1D0D-44EE-B44A-557462638672}"/>
          </ac:spMkLst>
        </pc:spChg>
        <pc:spChg chg="del">
          <ac:chgData name="Nicole Pham" userId="fcf2fd0b-d239-447a-af66-38aa065618c6" providerId="ADAL" clId="{1CD6A200-24F4-4E2B-97A0-483811F1C7F4}" dt="2021-09-09T08:01:20.289" v="18548" actId="478"/>
          <ac:spMkLst>
            <pc:docMk/>
            <pc:sldMk cId="1400011542" sldId="2076138497"/>
            <ac:spMk id="34" creationId="{577B6566-CC66-47D2-AC51-4ED80245665E}"/>
          </ac:spMkLst>
        </pc:spChg>
        <pc:spChg chg="del">
          <ac:chgData name="Nicole Pham" userId="fcf2fd0b-d239-447a-af66-38aa065618c6" providerId="ADAL" clId="{1CD6A200-24F4-4E2B-97A0-483811F1C7F4}" dt="2021-09-09T08:01:20.289" v="18548" actId="478"/>
          <ac:spMkLst>
            <pc:docMk/>
            <pc:sldMk cId="1400011542" sldId="2076138497"/>
            <ac:spMk id="35" creationId="{73DF2E75-22CC-4DF1-9748-4AF7300D50EA}"/>
          </ac:spMkLst>
        </pc:spChg>
        <pc:spChg chg="del">
          <ac:chgData name="Nicole Pham" userId="fcf2fd0b-d239-447a-af66-38aa065618c6" providerId="ADAL" clId="{1CD6A200-24F4-4E2B-97A0-483811F1C7F4}" dt="2021-09-09T08:01:20.289" v="18548" actId="478"/>
          <ac:spMkLst>
            <pc:docMk/>
            <pc:sldMk cId="1400011542" sldId="2076138497"/>
            <ac:spMk id="36" creationId="{EDA95C52-4889-4C57-A3CD-DB5904901E68}"/>
          </ac:spMkLst>
        </pc:spChg>
        <pc:spChg chg="del">
          <ac:chgData name="Nicole Pham" userId="fcf2fd0b-d239-447a-af66-38aa065618c6" providerId="ADAL" clId="{1CD6A200-24F4-4E2B-97A0-483811F1C7F4}" dt="2021-09-09T08:01:20.289" v="18548" actId="478"/>
          <ac:spMkLst>
            <pc:docMk/>
            <pc:sldMk cId="1400011542" sldId="2076138497"/>
            <ac:spMk id="37" creationId="{E49D90B0-DF96-4F72-80A2-1976FDFCE53E}"/>
          </ac:spMkLst>
        </pc:spChg>
      </pc:sldChg>
      <pc:sldChg chg="delSp modSp mod">
        <pc:chgData name="Nicole Pham" userId="fcf2fd0b-d239-447a-af66-38aa065618c6" providerId="ADAL" clId="{1CD6A200-24F4-4E2B-97A0-483811F1C7F4}" dt="2021-09-09T08:01:23.341" v="18549" actId="478"/>
        <pc:sldMkLst>
          <pc:docMk/>
          <pc:sldMk cId="3238757696" sldId="2076138498"/>
        </pc:sldMkLst>
        <pc:spChg chg="mod">
          <ac:chgData name="Nicole Pham" userId="fcf2fd0b-d239-447a-af66-38aa065618c6" providerId="ADAL" clId="{1CD6A200-24F4-4E2B-97A0-483811F1C7F4}" dt="2021-09-07T20:01:36.924" v="87" actId="20577"/>
          <ac:spMkLst>
            <pc:docMk/>
            <pc:sldMk cId="3238757696" sldId="2076138498"/>
            <ac:spMk id="46" creationId="{225417FE-72DA-4269-8BB7-3D2959D58766}"/>
          </ac:spMkLst>
        </pc:spChg>
        <pc:spChg chg="mod">
          <ac:chgData name="Nicole Pham" userId="fcf2fd0b-d239-447a-af66-38aa065618c6" providerId="ADAL" clId="{1CD6A200-24F4-4E2B-97A0-483811F1C7F4}" dt="2021-09-07T20:07:59.292" v="90" actId="20577"/>
          <ac:spMkLst>
            <pc:docMk/>
            <pc:sldMk cId="3238757696" sldId="2076138498"/>
            <ac:spMk id="50" creationId="{50BE3EDA-ABD9-4784-A83F-58AC8C66FD27}"/>
          </ac:spMkLst>
        </pc:spChg>
        <pc:spChg chg="del">
          <ac:chgData name="Nicole Pham" userId="fcf2fd0b-d239-447a-af66-38aa065618c6" providerId="ADAL" clId="{1CD6A200-24F4-4E2B-97A0-483811F1C7F4}" dt="2021-09-09T08:01:23.341" v="18549" actId="478"/>
          <ac:spMkLst>
            <pc:docMk/>
            <pc:sldMk cId="3238757696" sldId="2076138498"/>
            <ac:spMk id="52" creationId="{CEEB65F9-853D-421E-8187-357D2F02E0DF}"/>
          </ac:spMkLst>
        </pc:spChg>
        <pc:spChg chg="del">
          <ac:chgData name="Nicole Pham" userId="fcf2fd0b-d239-447a-af66-38aa065618c6" providerId="ADAL" clId="{1CD6A200-24F4-4E2B-97A0-483811F1C7F4}" dt="2021-09-09T08:01:23.341" v="18549" actId="478"/>
          <ac:spMkLst>
            <pc:docMk/>
            <pc:sldMk cId="3238757696" sldId="2076138498"/>
            <ac:spMk id="54" creationId="{85CEB7A7-6AD7-43B7-BA64-E31943375AEC}"/>
          </ac:spMkLst>
        </pc:spChg>
        <pc:spChg chg="del">
          <ac:chgData name="Nicole Pham" userId="fcf2fd0b-d239-447a-af66-38aa065618c6" providerId="ADAL" clId="{1CD6A200-24F4-4E2B-97A0-483811F1C7F4}" dt="2021-09-09T08:01:23.341" v="18549" actId="478"/>
          <ac:spMkLst>
            <pc:docMk/>
            <pc:sldMk cId="3238757696" sldId="2076138498"/>
            <ac:spMk id="56" creationId="{725FE6B9-2067-436E-936D-B21D05D4C0CC}"/>
          </ac:spMkLst>
        </pc:spChg>
        <pc:spChg chg="del">
          <ac:chgData name="Nicole Pham" userId="fcf2fd0b-d239-447a-af66-38aa065618c6" providerId="ADAL" clId="{1CD6A200-24F4-4E2B-97A0-483811F1C7F4}" dt="2021-09-09T08:01:23.341" v="18549" actId="478"/>
          <ac:spMkLst>
            <pc:docMk/>
            <pc:sldMk cId="3238757696" sldId="2076138498"/>
            <ac:spMk id="58" creationId="{4102231A-368D-4870-B609-2B580CB4DE91}"/>
          </ac:spMkLst>
        </pc:spChg>
      </pc:sldChg>
      <pc:sldChg chg="mod modShow">
        <pc:chgData name="Nicole Pham" userId="fcf2fd0b-d239-447a-af66-38aa065618c6" providerId="ADAL" clId="{1CD6A200-24F4-4E2B-97A0-483811F1C7F4}" dt="2021-09-07T19:12:36.405" v="13" actId="729"/>
        <pc:sldMkLst>
          <pc:docMk/>
          <pc:sldMk cId="4062528150" sldId="2076138499"/>
        </pc:sldMkLst>
      </pc:sldChg>
      <pc:sldChg chg="del ord">
        <pc:chgData name="Nicole Pham" userId="fcf2fd0b-d239-447a-af66-38aa065618c6" providerId="ADAL" clId="{1CD6A200-24F4-4E2B-97A0-483811F1C7F4}" dt="2021-09-09T07:53:59.980" v="18534" actId="47"/>
        <pc:sldMkLst>
          <pc:docMk/>
          <pc:sldMk cId="3335358026" sldId="2076138500"/>
        </pc:sldMkLst>
      </pc:sldChg>
      <pc:sldChg chg="modSp mod ord modShow modNotesTx">
        <pc:chgData name="Nicole Pham" userId="fcf2fd0b-d239-447a-af66-38aa065618c6" providerId="ADAL" clId="{1CD6A200-24F4-4E2B-97A0-483811F1C7F4}" dt="2021-09-07T20:52:29.405" v="374" actId="729"/>
        <pc:sldMkLst>
          <pc:docMk/>
          <pc:sldMk cId="2632032229" sldId="2076138503"/>
        </pc:sldMkLst>
        <pc:spChg chg="mod">
          <ac:chgData name="Nicole Pham" userId="fcf2fd0b-d239-447a-af66-38aa065618c6" providerId="ADAL" clId="{1CD6A200-24F4-4E2B-97A0-483811F1C7F4}" dt="2021-09-07T20:49:54.453" v="351" actId="404"/>
          <ac:spMkLst>
            <pc:docMk/>
            <pc:sldMk cId="2632032229" sldId="2076138503"/>
            <ac:spMk id="2" creationId="{315DA41F-9580-4299-B148-0E8A64B1724B}"/>
          </ac:spMkLst>
        </pc:spChg>
      </pc:sldChg>
      <pc:sldChg chg="modTransition modNotesTx">
        <pc:chgData name="Nicole Pham" userId="fcf2fd0b-d239-447a-af66-38aa065618c6" providerId="ADAL" clId="{1CD6A200-24F4-4E2B-97A0-483811F1C7F4}" dt="2021-09-08T07:55:13.049" v="18358"/>
        <pc:sldMkLst>
          <pc:docMk/>
          <pc:sldMk cId="908127468" sldId="2076138504"/>
        </pc:sldMkLst>
      </pc:sldChg>
      <pc:sldChg chg="modSp new mod modNotesTx">
        <pc:chgData name="Nicole Pham" userId="fcf2fd0b-d239-447a-af66-38aa065618c6" providerId="ADAL" clId="{1CD6A200-24F4-4E2B-97A0-483811F1C7F4}" dt="2021-09-08T07:23:24.651" v="18143" actId="1035"/>
        <pc:sldMkLst>
          <pc:docMk/>
          <pc:sldMk cId="1419771437" sldId="2076138506"/>
        </pc:sldMkLst>
        <pc:spChg chg="mod">
          <ac:chgData name="Nicole Pham" userId="fcf2fd0b-d239-447a-af66-38aa065618c6" providerId="ADAL" clId="{1CD6A200-24F4-4E2B-97A0-483811F1C7F4}" dt="2021-09-07T20:36:17.655" v="192" actId="20577"/>
          <ac:spMkLst>
            <pc:docMk/>
            <pc:sldMk cId="1419771437" sldId="2076138506"/>
            <ac:spMk id="2" creationId="{8B9C9B09-9C23-449D-897A-C6A9EB6F531A}"/>
          </ac:spMkLst>
        </pc:spChg>
        <pc:spChg chg="mod">
          <ac:chgData name="Nicole Pham" userId="fcf2fd0b-d239-447a-af66-38aa065618c6" providerId="ADAL" clId="{1CD6A200-24F4-4E2B-97A0-483811F1C7F4}" dt="2021-09-08T07:23:24.651" v="18143" actId="1035"/>
          <ac:spMkLst>
            <pc:docMk/>
            <pc:sldMk cId="1419771437" sldId="2076138506"/>
            <ac:spMk id="3" creationId="{AC7280C3-1FB1-4A94-935C-8192BBCD0878}"/>
          </ac:spMkLst>
        </pc:spChg>
      </pc:sldChg>
      <pc:sldChg chg="modSp new mod modNotesTx">
        <pc:chgData name="Nicole Pham" userId="fcf2fd0b-d239-447a-af66-38aa065618c6" providerId="ADAL" clId="{1CD6A200-24F4-4E2B-97A0-483811F1C7F4}" dt="2021-09-08T12:01:20.646" v="18460"/>
        <pc:sldMkLst>
          <pc:docMk/>
          <pc:sldMk cId="118612739" sldId="2076138507"/>
        </pc:sldMkLst>
        <pc:spChg chg="mod">
          <ac:chgData name="Nicole Pham" userId="fcf2fd0b-d239-447a-af66-38aa065618c6" providerId="ADAL" clId="{1CD6A200-24F4-4E2B-97A0-483811F1C7F4}" dt="2021-09-07T20:39:21.356" v="242" actId="255"/>
          <ac:spMkLst>
            <pc:docMk/>
            <pc:sldMk cId="118612739" sldId="2076138507"/>
            <ac:spMk id="2" creationId="{7597E6AB-19FE-4470-83C4-B156054A9D3C}"/>
          </ac:spMkLst>
        </pc:spChg>
        <pc:spChg chg="mod">
          <ac:chgData name="Nicole Pham" userId="fcf2fd0b-d239-447a-af66-38aa065618c6" providerId="ADAL" clId="{1CD6A200-24F4-4E2B-97A0-483811F1C7F4}" dt="2021-09-08T11:15:36.848" v="18438" actId="113"/>
          <ac:spMkLst>
            <pc:docMk/>
            <pc:sldMk cId="118612739" sldId="2076138507"/>
            <ac:spMk id="3" creationId="{A44CC69D-18AC-400E-9EA8-91F789D7BF5B}"/>
          </ac:spMkLst>
        </pc:spChg>
      </pc:sldChg>
      <pc:sldChg chg="modSp add mod modNotesTx">
        <pc:chgData name="Nicole Pham" userId="fcf2fd0b-d239-447a-af66-38aa065618c6" providerId="ADAL" clId="{1CD6A200-24F4-4E2B-97A0-483811F1C7F4}" dt="2021-09-08T12:09:51.646" v="18473" actId="20577"/>
        <pc:sldMkLst>
          <pc:docMk/>
          <pc:sldMk cId="2181713389" sldId="2076138508"/>
        </pc:sldMkLst>
        <pc:graphicFrameChg chg="mod modGraphic">
          <ac:chgData name="Nicole Pham" userId="fcf2fd0b-d239-447a-af66-38aa065618c6" providerId="ADAL" clId="{1CD6A200-24F4-4E2B-97A0-483811F1C7F4}" dt="2021-09-08T12:09:51.646" v="18473" actId="20577"/>
          <ac:graphicFrameMkLst>
            <pc:docMk/>
            <pc:sldMk cId="2181713389" sldId="2076138508"/>
            <ac:graphicFrameMk id="4" creationId="{79FF0DFE-53A6-448F-8E5A-D70A957258B2}"/>
          </ac:graphicFrameMkLst>
        </pc:graphicFrameChg>
      </pc:sldChg>
      <pc:sldChg chg="addSp delSp modSp new del mod modShow">
        <pc:chgData name="Nicole Pham" userId="fcf2fd0b-d239-447a-af66-38aa065618c6" providerId="ADAL" clId="{1CD6A200-24F4-4E2B-97A0-483811F1C7F4}" dt="2021-09-09T07:56:12.241" v="18541" actId="47"/>
        <pc:sldMkLst>
          <pc:docMk/>
          <pc:sldMk cId="3338834420" sldId="2076138509"/>
        </pc:sldMkLst>
        <pc:spChg chg="mod">
          <ac:chgData name="Nicole Pham" userId="fcf2fd0b-d239-447a-af66-38aa065618c6" providerId="ADAL" clId="{1CD6A200-24F4-4E2B-97A0-483811F1C7F4}" dt="2021-09-08T06:38:25.287" v="17229" actId="20577"/>
          <ac:spMkLst>
            <pc:docMk/>
            <pc:sldMk cId="3338834420" sldId="2076138509"/>
            <ac:spMk id="2" creationId="{31E7A80A-73FB-4EB1-AF66-CDF006F6B2B4}"/>
          </ac:spMkLst>
        </pc:spChg>
        <pc:picChg chg="add del mod">
          <ac:chgData name="Nicole Pham" userId="fcf2fd0b-d239-447a-af66-38aa065618c6" providerId="ADAL" clId="{1CD6A200-24F4-4E2B-97A0-483811F1C7F4}" dt="2021-09-08T06:38:46.227" v="17230" actId="478"/>
          <ac:picMkLst>
            <pc:docMk/>
            <pc:sldMk cId="3338834420" sldId="2076138509"/>
            <ac:picMk id="4" creationId="{789273AE-7551-4153-8FFE-103253DB5BB6}"/>
          </ac:picMkLst>
        </pc:picChg>
        <pc:picChg chg="add mod">
          <ac:chgData name="Nicole Pham" userId="fcf2fd0b-d239-447a-af66-38aa065618c6" providerId="ADAL" clId="{1CD6A200-24F4-4E2B-97A0-483811F1C7F4}" dt="2021-09-08T06:39:02.420" v="17232" actId="1076"/>
          <ac:picMkLst>
            <pc:docMk/>
            <pc:sldMk cId="3338834420" sldId="2076138509"/>
            <ac:picMk id="6" creationId="{63E36AB7-A160-4ED2-8BFB-9E21B72D4561}"/>
          </ac:picMkLst>
        </pc:picChg>
      </pc:sldChg>
      <pc:sldChg chg="add del">
        <pc:chgData name="Nicole Pham" userId="fcf2fd0b-d239-447a-af66-38aa065618c6" providerId="ADAL" clId="{1CD6A200-24F4-4E2B-97A0-483811F1C7F4}" dt="2021-09-08T07:41:59.678" v="18350" actId="47"/>
        <pc:sldMkLst>
          <pc:docMk/>
          <pc:sldMk cId="2286132364" sldId="2076138510"/>
        </pc:sldMkLst>
      </pc:sldChg>
      <pc:sldChg chg="new del">
        <pc:chgData name="Nicole Pham" userId="fcf2fd0b-d239-447a-af66-38aa065618c6" providerId="ADAL" clId="{1CD6A200-24F4-4E2B-97A0-483811F1C7F4}" dt="2021-09-08T07:41:36.970" v="18340" actId="47"/>
        <pc:sldMkLst>
          <pc:docMk/>
          <pc:sldMk cId="1740376494" sldId="2076138511"/>
        </pc:sldMkLst>
      </pc:sldChg>
      <pc:sldChg chg="addSp modSp new del mod ord modShow">
        <pc:chgData name="Nicole Pham" userId="fcf2fd0b-d239-447a-af66-38aa065618c6" providerId="ADAL" clId="{1CD6A200-24F4-4E2B-97A0-483811F1C7F4}" dt="2021-09-09T07:36:04.466" v="18475" actId="47"/>
        <pc:sldMkLst>
          <pc:docMk/>
          <pc:sldMk cId="2579121959" sldId="2076138511"/>
        </pc:sldMkLst>
        <pc:spChg chg="mod">
          <ac:chgData name="Nicole Pham" userId="fcf2fd0b-d239-447a-af66-38aa065618c6" providerId="ADAL" clId="{1CD6A200-24F4-4E2B-97A0-483811F1C7F4}" dt="2021-09-08T07:41:50.525" v="18346"/>
          <ac:spMkLst>
            <pc:docMk/>
            <pc:sldMk cId="2579121959" sldId="2076138511"/>
            <ac:spMk id="2" creationId="{F0141921-E3B9-4989-B463-5FD4A37F6B0D}"/>
          </ac:spMkLst>
        </pc:spChg>
        <pc:spChg chg="add mod">
          <ac:chgData name="Nicole Pham" userId="fcf2fd0b-d239-447a-af66-38aa065618c6" providerId="ADAL" clId="{1CD6A200-24F4-4E2B-97A0-483811F1C7F4}" dt="2021-09-08T07:41:56.875" v="18349" actId="962"/>
          <ac:spMkLst>
            <pc:docMk/>
            <pc:sldMk cId="2579121959" sldId="2076138511"/>
            <ac:spMk id="4" creationId="{42E5FC6C-5B68-4B68-B4BF-95342A4FF816}"/>
          </ac:spMkLst>
        </pc:spChg>
        <pc:spChg chg="add mod">
          <ac:chgData name="Nicole Pham" userId="fcf2fd0b-d239-447a-af66-38aa065618c6" providerId="ADAL" clId="{1CD6A200-24F4-4E2B-97A0-483811F1C7F4}" dt="2021-09-08T07:41:56.875" v="18349" actId="962"/>
          <ac:spMkLst>
            <pc:docMk/>
            <pc:sldMk cId="2579121959" sldId="2076138511"/>
            <ac:spMk id="6" creationId="{9179BB31-03E6-4B58-9AE5-9342A394A568}"/>
          </ac:spMkLst>
        </pc:spChg>
        <pc:spChg chg="add mod">
          <ac:chgData name="Nicole Pham" userId="fcf2fd0b-d239-447a-af66-38aa065618c6" providerId="ADAL" clId="{1CD6A200-24F4-4E2B-97A0-483811F1C7F4}" dt="2021-09-08T07:41:56.875" v="18349" actId="962"/>
          <ac:spMkLst>
            <pc:docMk/>
            <pc:sldMk cId="2579121959" sldId="2076138511"/>
            <ac:spMk id="12" creationId="{0D146625-AC40-4E86-A14F-EDC01EAEDAAA}"/>
          </ac:spMkLst>
        </pc:spChg>
        <pc:spChg chg="add mod">
          <ac:chgData name="Nicole Pham" userId="fcf2fd0b-d239-447a-af66-38aa065618c6" providerId="ADAL" clId="{1CD6A200-24F4-4E2B-97A0-483811F1C7F4}" dt="2021-09-08T07:41:56.875" v="18349" actId="962"/>
          <ac:spMkLst>
            <pc:docMk/>
            <pc:sldMk cId="2579121959" sldId="2076138511"/>
            <ac:spMk id="14" creationId="{B825BB11-8693-4252-8D48-1B7F708A28D6}"/>
          </ac:spMkLst>
        </pc:spChg>
        <pc:picChg chg="add mod">
          <ac:chgData name="Nicole Pham" userId="fcf2fd0b-d239-447a-af66-38aa065618c6" providerId="ADAL" clId="{1CD6A200-24F4-4E2B-97A0-483811F1C7F4}" dt="2021-09-08T07:41:56.875" v="18349" actId="962"/>
          <ac:picMkLst>
            <pc:docMk/>
            <pc:sldMk cId="2579121959" sldId="2076138511"/>
            <ac:picMk id="8" creationId="{DB19CD30-3857-40F4-A9E7-3A773B518A1C}"/>
          </ac:picMkLst>
        </pc:picChg>
        <pc:picChg chg="add mod">
          <ac:chgData name="Nicole Pham" userId="fcf2fd0b-d239-447a-af66-38aa065618c6" providerId="ADAL" clId="{1CD6A200-24F4-4E2B-97A0-483811F1C7F4}" dt="2021-09-08T07:41:56.875" v="18349" actId="962"/>
          <ac:picMkLst>
            <pc:docMk/>
            <pc:sldMk cId="2579121959" sldId="2076138511"/>
            <ac:picMk id="10" creationId="{4231BE78-F19C-4FD9-9796-B6FA8E92592A}"/>
          </ac:picMkLst>
        </pc:picChg>
      </pc:sldChg>
      <pc:sldChg chg="add del">
        <pc:chgData name="Nicole Pham" userId="fcf2fd0b-d239-447a-af66-38aa065618c6" providerId="ADAL" clId="{1CD6A200-24F4-4E2B-97A0-483811F1C7F4}" dt="2021-09-08T07:41:46.197" v="18345" actId="22"/>
        <pc:sldMkLst>
          <pc:docMk/>
          <pc:sldMk cId="510646628" sldId="2076138512"/>
        </pc:sldMkLst>
      </pc:sldChg>
      <pc:sldMasterChg chg="addSldLayout delSldLayout modSldLayout">
        <pc:chgData name="Nicole Pham" userId="fcf2fd0b-d239-447a-af66-38aa065618c6" providerId="ADAL" clId="{1CD6A200-24F4-4E2B-97A0-483811F1C7F4}" dt="2021-09-09T07:57:02.736" v="18544" actId="47"/>
        <pc:sldMasterMkLst>
          <pc:docMk/>
          <pc:sldMasterMk cId="1714467127" sldId="2147483660"/>
        </pc:sldMasterMkLst>
        <pc:sldLayoutChg chg="del">
          <pc:chgData name="Nicole Pham" userId="fcf2fd0b-d239-447a-af66-38aa065618c6" providerId="ADAL" clId="{1CD6A200-24F4-4E2B-97A0-483811F1C7F4}" dt="2021-09-09T07:57:02.736" v="18544" actId="47"/>
          <pc:sldLayoutMkLst>
            <pc:docMk/>
            <pc:sldMasterMk cId="1714467127" sldId="2147483660"/>
            <pc:sldLayoutMk cId="3560968789" sldId="2147483678"/>
          </pc:sldLayoutMkLst>
        </pc:sldLayoutChg>
        <pc:sldLayoutChg chg="add mod replId">
          <pc:chgData name="Nicole Pham" userId="fcf2fd0b-d239-447a-af66-38aa065618c6" providerId="ADAL" clId="{1CD6A200-24F4-4E2B-97A0-483811F1C7F4}" dt="2021-09-08T07:41:30.888" v="18338" actId="22"/>
          <pc:sldLayoutMkLst>
            <pc:docMk/>
            <pc:sldMasterMk cId="1714467127" sldId="2147483660"/>
            <pc:sldLayoutMk cId="2961382605" sldId="2147483885"/>
          </pc:sldLayoutMkLst>
        </pc:sldLayoutChg>
      </pc:sldMasterChg>
      <pc:sldMasterChg chg="addSldLayout modSldLayout">
        <pc:chgData name="Nicole Pham" userId="fcf2fd0b-d239-447a-af66-38aa065618c6" providerId="ADAL" clId="{1CD6A200-24F4-4E2B-97A0-483811F1C7F4}" dt="2021-09-07T19:53:35.374" v="85" actId="22"/>
        <pc:sldMasterMkLst>
          <pc:docMk/>
          <pc:sldMasterMk cId="1953811129" sldId="2147483796"/>
        </pc:sldMasterMkLst>
        <pc:sldLayoutChg chg="add mod replId">
          <pc:chgData name="Nicole Pham" userId="fcf2fd0b-d239-447a-af66-38aa065618c6" providerId="ADAL" clId="{1CD6A200-24F4-4E2B-97A0-483811F1C7F4}" dt="2021-09-07T19:53:35.374" v="85" actId="22"/>
          <pc:sldLayoutMkLst>
            <pc:docMk/>
            <pc:sldMasterMk cId="1953811129" sldId="2147483796"/>
            <pc:sldLayoutMk cId="155245037" sldId="2147483884"/>
          </pc:sldLayoutMkLst>
        </pc:sldLayoutChg>
      </pc:sldMasterChg>
      <pc:sldMasterChg chg="delSldLayout">
        <pc:chgData name="Nicole Pham" userId="fcf2fd0b-d239-447a-af66-38aa065618c6" providerId="ADAL" clId="{1CD6A200-24F4-4E2B-97A0-483811F1C7F4}" dt="2021-09-09T07:41:59.848" v="18494" actId="2696"/>
        <pc:sldMasterMkLst>
          <pc:docMk/>
          <pc:sldMasterMk cId="21519912" sldId="2147483860"/>
        </pc:sldMasterMkLst>
        <pc:sldLayoutChg chg="del">
          <pc:chgData name="Nicole Pham" userId="fcf2fd0b-d239-447a-af66-38aa065618c6" providerId="ADAL" clId="{1CD6A200-24F4-4E2B-97A0-483811F1C7F4}" dt="2021-09-09T07:41:59.848" v="18494" actId="2696"/>
          <pc:sldLayoutMkLst>
            <pc:docMk/>
            <pc:sldMasterMk cId="21519912" sldId="2147483860"/>
            <pc:sldLayoutMk cId="272317275" sldId="2147483883"/>
          </pc:sldLayoutMkLst>
        </pc:sldLayoutChg>
      </pc:sldMasterChg>
      <pc:sldMasterChg chg="del delSldLayout">
        <pc:chgData name="Nicole Pham" userId="fcf2fd0b-d239-447a-af66-38aa065618c6" providerId="ADAL" clId="{1CD6A200-24F4-4E2B-97A0-483811F1C7F4}" dt="2021-09-07T20:40:22.074" v="245" actId="47"/>
        <pc:sldMasterMkLst>
          <pc:docMk/>
          <pc:sldMasterMk cId="3241851457" sldId="2147483869"/>
        </pc:sldMasterMkLst>
        <pc:sldLayoutChg chg="del">
          <pc:chgData name="Nicole Pham" userId="fcf2fd0b-d239-447a-af66-38aa065618c6" providerId="ADAL" clId="{1CD6A200-24F4-4E2B-97A0-483811F1C7F4}" dt="2021-09-07T20:40:22.074" v="245" actId="47"/>
          <pc:sldLayoutMkLst>
            <pc:docMk/>
            <pc:sldMasterMk cId="3241851457" sldId="2147483869"/>
            <pc:sldLayoutMk cId="1484938095" sldId="2147483870"/>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3216212902" sldId="2147483871"/>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1761670085" sldId="2147483872"/>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2057959007" sldId="2147483873"/>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1500241660" sldId="2147483874"/>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1565969865" sldId="2147483875"/>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4112292859" sldId="2147483876"/>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747322945" sldId="2147483877"/>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2246961842" sldId="2147483878"/>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2032231534" sldId="2147483879"/>
          </pc:sldLayoutMkLst>
        </pc:sldLayoutChg>
        <pc:sldLayoutChg chg="del">
          <pc:chgData name="Nicole Pham" userId="fcf2fd0b-d239-447a-af66-38aa065618c6" providerId="ADAL" clId="{1CD6A200-24F4-4E2B-97A0-483811F1C7F4}" dt="2021-09-07T20:40:22.074" v="245" actId="47"/>
          <pc:sldLayoutMkLst>
            <pc:docMk/>
            <pc:sldMasterMk cId="3241851457" sldId="2147483869"/>
            <pc:sldLayoutMk cId="1013184100" sldId="2147483880"/>
          </pc:sldLayoutMkLst>
        </pc:sldLayoutChg>
      </pc:sldMasterChg>
    </pc:docChg>
  </pc:docChgLst>
</pc:chgInfo>
</file>

<file path=ppt/diagrams/_rels/data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4" Type="http://schemas.openxmlformats.org/officeDocument/2006/relationships/image" Target="../media/image114.svg"/></Relationships>
</file>

<file path=ppt/diagrams/_rels/data1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0.png"/><Relationship Id="rId5" Type="http://schemas.openxmlformats.org/officeDocument/2006/relationships/image" Target="../media/image19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diagrams/_rels/data19.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3.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2.png"/><Relationship Id="rId5" Type="http://schemas.openxmlformats.org/officeDocument/2006/relationships/image" Target="../media/image194.png"/><Relationship Id="rId10" Type="http://schemas.openxmlformats.org/officeDocument/2006/relationships/image" Target="../media/image201.svg"/><Relationship Id="rId4" Type="http://schemas.openxmlformats.org/officeDocument/2006/relationships/image" Target="../media/image193.svg"/><Relationship Id="rId9" Type="http://schemas.openxmlformats.org/officeDocument/2006/relationships/image" Target="../media/image200.png"/></Relationships>
</file>

<file path=ppt/diagrams/_rels/data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_rels/drawing1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4" Type="http://schemas.openxmlformats.org/officeDocument/2006/relationships/image" Target="../media/image114.svg"/></Relationships>
</file>

<file path=ppt/diagrams/_rels/drawing1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0.png"/><Relationship Id="rId5" Type="http://schemas.openxmlformats.org/officeDocument/2006/relationships/image" Target="../media/image194.png"/><Relationship Id="rId10" Type="http://schemas.openxmlformats.org/officeDocument/2006/relationships/image" Target="../media/image199.sv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diagrams/_rels/drawing19.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3.sv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11" Type="http://schemas.openxmlformats.org/officeDocument/2006/relationships/image" Target="../media/image202.png"/><Relationship Id="rId5" Type="http://schemas.openxmlformats.org/officeDocument/2006/relationships/image" Target="../media/image194.png"/><Relationship Id="rId10" Type="http://schemas.openxmlformats.org/officeDocument/2006/relationships/image" Target="../media/image201.svg"/><Relationship Id="rId4" Type="http://schemas.openxmlformats.org/officeDocument/2006/relationships/image" Target="../media/image193.svg"/><Relationship Id="rId9" Type="http://schemas.openxmlformats.org/officeDocument/2006/relationships/image" Target="../media/image20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18/5/colors/Iconchunking_neutralbg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a:alpha val="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GB" sz="2400" baseline="0">
              <a:solidFill>
                <a:schemeClr val="tx2"/>
              </a:solidFill>
            </a:rPr>
            <a:t>Power BI can foster a data-driven culture</a:t>
          </a:r>
          <a:endParaRPr lang="en-US" sz="24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2400"/>
            <a:t>Opportunity</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GB" sz="2400" b="0" i="0" u="none">
              <a:solidFill>
                <a:schemeClr val="bg2"/>
              </a:solidFill>
            </a:rPr>
            <a:t>Challenge</a:t>
          </a:r>
          <a:endParaRPr lang="en-GB" sz="24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baseline="0">
              <a:solidFill>
                <a:schemeClr val="tx2"/>
              </a:solidFill>
            </a:rPr>
            <a:t>Framework that acts as a wrapper around Power BI to drive a Data Driven Culture</a:t>
          </a:r>
          <a:endParaRPr lang="en-GB" sz="240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2400">
              <a:solidFill>
                <a:schemeClr val="bg2"/>
              </a:solidFill>
            </a:rPr>
            <a:t>Proposal</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r>
            <a:rPr lang="en-GB" sz="2400" baseline="0">
              <a:solidFill>
                <a:schemeClr val="tx2"/>
              </a:solidFill>
            </a:rPr>
            <a:t>Self-Service BI adoption can be challenging</a:t>
          </a:r>
          <a:endParaRPr lang="en-GB" sz="2400">
            <a:solidFill>
              <a:schemeClr val="bg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F7F10B88-CD53-4427-8874-FF70B958A448}">
      <dgm:prSet custT="1"/>
      <dgm:spPr/>
      <dgm:t>
        <a:bodyPr/>
        <a:lstStyle/>
        <a:p>
          <a:pPr rtl="0"/>
          <a:r>
            <a:rPr lang="en-GB" sz="2800" baseline="0">
              <a:solidFill>
                <a:schemeClr val="tx2"/>
              </a:solidFill>
            </a:rPr>
            <a:t>Feasible and impactful</a:t>
          </a:r>
          <a:endParaRPr lang="en-GB" sz="2800">
            <a:solidFill>
              <a:schemeClr val="tx2"/>
            </a:solidFill>
          </a:endParaRPr>
        </a:p>
      </dgm:t>
    </dgm:pt>
    <dgm:pt modelId="{E2BB9579-BD0B-4F4D-AB16-C43043DEFD94}" type="parTrans" cxnId="{2A1C579F-CB09-4287-8165-3ACF3E2C19B1}">
      <dgm:prSet/>
      <dgm:spPr/>
      <dgm:t>
        <a:bodyPr/>
        <a:lstStyle/>
        <a:p>
          <a:endParaRPr lang="en-US">
            <a:solidFill>
              <a:schemeClr val="tx1"/>
            </a:solidFill>
          </a:endParaRPr>
        </a:p>
      </dgm:t>
    </dgm:pt>
    <dgm:pt modelId="{3FFC74D2-9988-49E6-AB93-5A6D4E9ED23B}" type="sibTrans" cxnId="{2A1C579F-CB09-4287-8165-3ACF3E2C19B1}">
      <dgm:prSet/>
      <dgm:spPr/>
      <dgm:t>
        <a:bodyPr/>
        <a:lstStyle/>
        <a:p>
          <a:endParaRPr lang="en-US">
            <a:solidFill>
              <a:schemeClr val="tx1"/>
            </a:solidFill>
          </a:endParaRPr>
        </a:p>
      </dgm:t>
    </dgm:pt>
    <dgm:pt modelId="{5F67DEF0-8711-42D2-940A-2535C9FCB85A}">
      <dgm:prSet custT="1"/>
      <dgm:spPr/>
      <dgm:t>
        <a:bodyPr/>
        <a:lstStyle/>
        <a:p>
          <a:pPr rtl="0"/>
          <a:r>
            <a:rPr lang="en-GB" sz="2800">
              <a:solidFill>
                <a:schemeClr val="tx2"/>
              </a:solidFill>
            </a:rPr>
            <a:t>Permission/approvals</a:t>
          </a:r>
        </a:p>
      </dgm:t>
    </dgm:pt>
    <dgm:pt modelId="{8376CDC5-B702-451F-BC23-6690CB4CE2B7}" type="parTrans" cxnId="{2F8C1835-86A9-43EA-BBE9-C38CFACE4BD3}">
      <dgm:prSet/>
      <dgm:spPr/>
      <dgm:t>
        <a:bodyPr/>
        <a:lstStyle/>
        <a:p>
          <a:endParaRPr lang="en-US">
            <a:solidFill>
              <a:schemeClr val="tx1"/>
            </a:solidFill>
          </a:endParaRPr>
        </a:p>
      </dgm:t>
    </dgm:pt>
    <dgm:pt modelId="{2A87B34D-2101-4310-B986-38662524868E}" type="sibTrans" cxnId="{2F8C1835-86A9-43EA-BBE9-C38CFACE4BD3}">
      <dgm:prSet/>
      <dgm:spPr/>
      <dgm:t>
        <a:bodyPr/>
        <a:lstStyle/>
        <a:p>
          <a:endParaRPr lang="en-US">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710D5C87-73FB-4E1A-83BE-2FA436D2E329}" type="pres">
      <dgm:prSet presAssocID="{F7F10B88-CD53-4427-8874-FF70B958A448}" presName="hierRoot1" presStyleCnt="0">
        <dgm:presLayoutVars>
          <dgm:hierBranch val="init"/>
        </dgm:presLayoutVars>
      </dgm:prSet>
      <dgm:spPr/>
    </dgm:pt>
    <dgm:pt modelId="{ABB56E5C-B422-4EB7-AD2C-FC30227CB26A}" type="pres">
      <dgm:prSet presAssocID="{F7F10B88-CD53-4427-8874-FF70B958A448}" presName="rootComposite1" presStyleCnt="0"/>
      <dgm:spPr/>
    </dgm:pt>
    <dgm:pt modelId="{BEE96E92-FF1B-4AB0-B443-65D128C9DCE1}" type="pres">
      <dgm:prSet presAssocID="{F7F10B88-CD53-4427-8874-FF70B958A448}" presName="rootText1" presStyleLbl="alignAcc1" presStyleIdx="0" presStyleCnt="0">
        <dgm:presLayoutVars>
          <dgm:chPref val="3"/>
        </dgm:presLayoutVars>
      </dgm:prSet>
      <dgm:spPr/>
    </dgm:pt>
    <dgm:pt modelId="{AB960692-88E2-4F1E-8B0D-E3245F812F19}" type="pres">
      <dgm:prSet presAssocID="{F7F10B88-CD53-4427-8874-FF70B958A448}" presName="topArc1" presStyleLbl="parChTrans1D1" presStyleIdx="0" presStyleCnt="4"/>
      <dgm:spPr/>
    </dgm:pt>
    <dgm:pt modelId="{93642A3F-CD30-4862-9676-1B5A1DE169E6}" type="pres">
      <dgm:prSet presAssocID="{F7F10B88-CD53-4427-8874-FF70B958A448}" presName="bottomArc1" presStyleLbl="parChTrans1D1" presStyleIdx="1" presStyleCnt="4"/>
      <dgm:spPr/>
    </dgm:pt>
    <dgm:pt modelId="{F9032172-A652-4DA4-9517-910F6162E5D7}" type="pres">
      <dgm:prSet presAssocID="{F7F10B88-CD53-4427-8874-FF70B958A448}" presName="topConnNode1" presStyleLbl="node1" presStyleIdx="0" presStyleCnt="0"/>
      <dgm:spPr/>
    </dgm:pt>
    <dgm:pt modelId="{F8DD2959-8D4A-480A-93D5-634BB41AB817}" type="pres">
      <dgm:prSet presAssocID="{F7F10B88-CD53-4427-8874-FF70B958A448}" presName="hierChild2" presStyleCnt="0"/>
      <dgm:spPr/>
    </dgm:pt>
    <dgm:pt modelId="{C42EF594-3E8D-4CDD-9B82-A8BC4EF97210}" type="pres">
      <dgm:prSet presAssocID="{F7F10B88-CD53-4427-8874-FF70B958A448}" presName="hierChild3" presStyleCnt="0"/>
      <dgm:spPr/>
    </dgm:pt>
    <dgm:pt modelId="{C2738BD5-9E75-4E5B-8268-8EEF351A1218}" type="pres">
      <dgm:prSet presAssocID="{5F67DEF0-8711-42D2-940A-2535C9FCB85A}" presName="hierRoot1" presStyleCnt="0">
        <dgm:presLayoutVars>
          <dgm:hierBranch val="init"/>
        </dgm:presLayoutVars>
      </dgm:prSet>
      <dgm:spPr/>
    </dgm:pt>
    <dgm:pt modelId="{33436270-D073-44C8-8D3D-86AD5F085157}" type="pres">
      <dgm:prSet presAssocID="{5F67DEF0-8711-42D2-940A-2535C9FCB85A}" presName="rootComposite1" presStyleCnt="0"/>
      <dgm:spPr/>
    </dgm:pt>
    <dgm:pt modelId="{04CD67E7-208D-46C4-AF0E-E35A6F865705}" type="pres">
      <dgm:prSet presAssocID="{5F67DEF0-8711-42D2-940A-2535C9FCB85A}" presName="rootText1" presStyleLbl="alignAcc1" presStyleIdx="0" presStyleCnt="0">
        <dgm:presLayoutVars>
          <dgm:chPref val="3"/>
        </dgm:presLayoutVars>
      </dgm:prSet>
      <dgm:spPr/>
    </dgm:pt>
    <dgm:pt modelId="{EFBCECC8-CA55-4092-A1A4-48009678FB80}" type="pres">
      <dgm:prSet presAssocID="{5F67DEF0-8711-42D2-940A-2535C9FCB85A}" presName="topArc1" presStyleLbl="parChTrans1D1" presStyleIdx="2" presStyleCnt="4"/>
      <dgm:spPr/>
    </dgm:pt>
    <dgm:pt modelId="{75F042FE-5A8E-4D45-8938-06486985E68B}" type="pres">
      <dgm:prSet presAssocID="{5F67DEF0-8711-42D2-940A-2535C9FCB85A}" presName="bottomArc1" presStyleLbl="parChTrans1D1" presStyleIdx="3" presStyleCnt="4"/>
      <dgm:spPr/>
    </dgm:pt>
    <dgm:pt modelId="{64679B71-70FE-4C43-82B0-2D471D96537D}" type="pres">
      <dgm:prSet presAssocID="{5F67DEF0-8711-42D2-940A-2535C9FCB85A}" presName="topConnNode1" presStyleLbl="node1" presStyleIdx="0" presStyleCnt="0"/>
      <dgm:spPr/>
    </dgm:pt>
    <dgm:pt modelId="{A2E9A6B8-8FCD-45D7-B742-DCCC6A0B4A55}" type="pres">
      <dgm:prSet presAssocID="{5F67DEF0-8711-42D2-940A-2535C9FCB85A}" presName="hierChild2" presStyleCnt="0"/>
      <dgm:spPr/>
    </dgm:pt>
    <dgm:pt modelId="{B2C1E722-7A19-4001-B28E-18DDA1F2D720}" type="pres">
      <dgm:prSet presAssocID="{5F67DEF0-8711-42D2-940A-2535C9FCB85A}" presName="hierChild3" presStyleCnt="0"/>
      <dgm:spPr/>
    </dgm:pt>
  </dgm:ptLst>
  <dgm:cxnLst>
    <dgm:cxn modelId="{5FD6D30F-208A-452F-AAF3-32A009F1C6FD}" type="presOf" srcId="{F7F10B88-CD53-4427-8874-FF70B958A448}" destId="{F9032172-A652-4DA4-9517-910F6162E5D7}" srcOrd="1" destOrd="0" presId="urn:microsoft.com/office/officeart/2008/layout/HalfCircleOrganizationChart"/>
    <dgm:cxn modelId="{2F8C1835-86A9-43EA-BBE9-C38CFACE4BD3}" srcId="{62721923-7DDD-4300-889E-6C2A9CF8CC2A}" destId="{5F67DEF0-8711-42D2-940A-2535C9FCB85A}" srcOrd="1" destOrd="0" parTransId="{8376CDC5-B702-451F-BC23-6690CB4CE2B7}" sibTransId="{2A87B34D-2101-4310-B986-38662524868E}"/>
    <dgm:cxn modelId="{96B0CA5B-1C00-472E-942E-B735ED57D3F2}" type="presOf" srcId="{62721923-7DDD-4300-889E-6C2A9CF8CC2A}" destId="{9510110B-FEDE-49C0-9F6F-46821DEAD42A}" srcOrd="0" destOrd="0" presId="urn:microsoft.com/office/officeart/2008/layout/HalfCircleOrganizationChart"/>
    <dgm:cxn modelId="{5927E471-8902-4E5A-AB19-3347DB15BEAF}" type="presOf" srcId="{5F67DEF0-8711-42D2-940A-2535C9FCB85A}" destId="{04CD67E7-208D-46C4-AF0E-E35A6F865705}" srcOrd="0" destOrd="0" presId="urn:microsoft.com/office/officeart/2008/layout/HalfCircleOrganizationChart"/>
    <dgm:cxn modelId="{2A1C579F-CB09-4287-8165-3ACF3E2C19B1}" srcId="{62721923-7DDD-4300-889E-6C2A9CF8CC2A}" destId="{F7F10B88-CD53-4427-8874-FF70B958A448}" srcOrd="0" destOrd="0" parTransId="{E2BB9579-BD0B-4F4D-AB16-C43043DEFD94}" sibTransId="{3FFC74D2-9988-49E6-AB93-5A6D4E9ED23B}"/>
    <dgm:cxn modelId="{DB54D0CE-A771-466D-A7C5-9CC69A28E783}" type="presOf" srcId="{5F67DEF0-8711-42D2-940A-2535C9FCB85A}" destId="{64679B71-70FE-4C43-82B0-2D471D96537D}" srcOrd="1" destOrd="0" presId="urn:microsoft.com/office/officeart/2008/layout/HalfCircleOrganizationChart"/>
    <dgm:cxn modelId="{9E18ACF7-B044-4E69-8C53-A61A8263489C}" type="presOf" srcId="{F7F10B88-CD53-4427-8874-FF70B958A448}" destId="{BEE96E92-FF1B-4AB0-B443-65D128C9DCE1}" srcOrd="0" destOrd="0" presId="urn:microsoft.com/office/officeart/2008/layout/HalfCircleOrganizationChart"/>
    <dgm:cxn modelId="{D942A756-86A7-4E46-9F59-6285D8CF6387}" type="presParOf" srcId="{9510110B-FEDE-49C0-9F6F-46821DEAD42A}" destId="{710D5C87-73FB-4E1A-83BE-2FA436D2E329}" srcOrd="0" destOrd="0" presId="urn:microsoft.com/office/officeart/2008/layout/HalfCircleOrganizationChart"/>
    <dgm:cxn modelId="{047A9327-0629-4C8C-B421-8D5BD61041D3}" type="presParOf" srcId="{710D5C87-73FB-4E1A-83BE-2FA436D2E329}" destId="{ABB56E5C-B422-4EB7-AD2C-FC30227CB26A}" srcOrd="0" destOrd="0" presId="urn:microsoft.com/office/officeart/2008/layout/HalfCircleOrganizationChart"/>
    <dgm:cxn modelId="{2AEA6B4A-778D-4A5A-AE05-3058915C2E24}" type="presParOf" srcId="{ABB56E5C-B422-4EB7-AD2C-FC30227CB26A}" destId="{BEE96E92-FF1B-4AB0-B443-65D128C9DCE1}" srcOrd="0" destOrd="0" presId="urn:microsoft.com/office/officeart/2008/layout/HalfCircleOrganizationChart"/>
    <dgm:cxn modelId="{DCECEE5F-5758-4763-8D16-DD410792C99D}" type="presParOf" srcId="{ABB56E5C-B422-4EB7-AD2C-FC30227CB26A}" destId="{AB960692-88E2-4F1E-8B0D-E3245F812F19}" srcOrd="1" destOrd="0" presId="urn:microsoft.com/office/officeart/2008/layout/HalfCircleOrganizationChart"/>
    <dgm:cxn modelId="{F2F038F1-2E40-4F4D-86FE-664D0DA71EB0}" type="presParOf" srcId="{ABB56E5C-B422-4EB7-AD2C-FC30227CB26A}" destId="{93642A3F-CD30-4862-9676-1B5A1DE169E6}" srcOrd="2" destOrd="0" presId="urn:microsoft.com/office/officeart/2008/layout/HalfCircleOrganizationChart"/>
    <dgm:cxn modelId="{BC249021-3E1D-441C-BA6A-387989C34345}" type="presParOf" srcId="{ABB56E5C-B422-4EB7-AD2C-FC30227CB26A}" destId="{F9032172-A652-4DA4-9517-910F6162E5D7}" srcOrd="3" destOrd="0" presId="urn:microsoft.com/office/officeart/2008/layout/HalfCircleOrganizationChart"/>
    <dgm:cxn modelId="{88FBDFA6-901F-4995-A32C-234FD97B5441}" type="presParOf" srcId="{710D5C87-73FB-4E1A-83BE-2FA436D2E329}" destId="{F8DD2959-8D4A-480A-93D5-634BB41AB817}" srcOrd="1" destOrd="0" presId="urn:microsoft.com/office/officeart/2008/layout/HalfCircleOrganizationChart"/>
    <dgm:cxn modelId="{86A49375-4BFC-48D4-A44C-B994C390BC53}" type="presParOf" srcId="{710D5C87-73FB-4E1A-83BE-2FA436D2E329}" destId="{C42EF594-3E8D-4CDD-9B82-A8BC4EF97210}" srcOrd="2" destOrd="0" presId="urn:microsoft.com/office/officeart/2008/layout/HalfCircleOrganizationChart"/>
    <dgm:cxn modelId="{36B4234B-8B3A-4D40-B324-5E4A6C663B59}" type="presParOf" srcId="{9510110B-FEDE-49C0-9F6F-46821DEAD42A}" destId="{C2738BD5-9E75-4E5B-8268-8EEF351A1218}" srcOrd="1" destOrd="0" presId="urn:microsoft.com/office/officeart/2008/layout/HalfCircleOrganizationChart"/>
    <dgm:cxn modelId="{003DFB43-05CC-4CCA-9CE2-0BEE264DD542}" type="presParOf" srcId="{C2738BD5-9E75-4E5B-8268-8EEF351A1218}" destId="{33436270-D073-44C8-8D3D-86AD5F085157}" srcOrd="0" destOrd="0" presId="urn:microsoft.com/office/officeart/2008/layout/HalfCircleOrganizationChart"/>
    <dgm:cxn modelId="{30E87611-157F-4632-9CB7-2054E20C880B}" type="presParOf" srcId="{33436270-D073-44C8-8D3D-86AD5F085157}" destId="{04CD67E7-208D-46C4-AF0E-E35A6F865705}" srcOrd="0" destOrd="0" presId="urn:microsoft.com/office/officeart/2008/layout/HalfCircleOrganizationChart"/>
    <dgm:cxn modelId="{79EE83A2-DD3B-460A-83E7-C05E051BF521}" type="presParOf" srcId="{33436270-D073-44C8-8D3D-86AD5F085157}" destId="{EFBCECC8-CA55-4092-A1A4-48009678FB80}" srcOrd="1" destOrd="0" presId="urn:microsoft.com/office/officeart/2008/layout/HalfCircleOrganizationChart"/>
    <dgm:cxn modelId="{DA05AE2A-76AF-464F-AE22-472FD8A3D023}" type="presParOf" srcId="{33436270-D073-44C8-8D3D-86AD5F085157}" destId="{75F042FE-5A8E-4D45-8938-06486985E68B}" srcOrd="2" destOrd="0" presId="urn:microsoft.com/office/officeart/2008/layout/HalfCircleOrganizationChart"/>
    <dgm:cxn modelId="{B19CEB1B-D2B5-4FDD-8E06-BEA96D384447}" type="presParOf" srcId="{33436270-D073-44C8-8D3D-86AD5F085157}" destId="{64679B71-70FE-4C43-82B0-2D471D96537D}" srcOrd="3" destOrd="0" presId="urn:microsoft.com/office/officeart/2008/layout/HalfCircleOrganizationChart"/>
    <dgm:cxn modelId="{F14C418A-9EE3-4455-A45B-64DF610218A3}" type="presParOf" srcId="{C2738BD5-9E75-4E5B-8268-8EEF351A1218}" destId="{A2E9A6B8-8FCD-45D7-B742-DCCC6A0B4A55}" srcOrd="1" destOrd="0" presId="urn:microsoft.com/office/officeart/2008/layout/HalfCircleOrganizationChart"/>
    <dgm:cxn modelId="{CA71DE1A-B893-48E4-8EAD-FD59378EA3A8}" type="presParOf" srcId="{C2738BD5-9E75-4E5B-8268-8EEF351A1218}" destId="{B2C1E722-7A19-4001-B28E-18DDA1F2D720}"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0C42F37B-7652-4449-8E55-417A756BBA2C}">
      <dgm:prSet custT="1"/>
      <dgm:spPr/>
      <dgm:t>
        <a:bodyPr/>
        <a:lstStyle/>
        <a:p>
          <a:pPr rtl="0"/>
          <a:r>
            <a:rPr lang="en-GB" sz="2800">
              <a:solidFill>
                <a:schemeClr val="tx2"/>
              </a:solidFill>
            </a:rPr>
            <a:t>Non-sensitive data</a:t>
          </a:r>
        </a:p>
      </dgm:t>
    </dgm:pt>
    <dgm:pt modelId="{AE8B19D8-C263-4926-B869-EA9FCD8C70CC}" type="parTrans" cxnId="{627D2203-6B60-4B94-ACE5-D9C7A97189F2}">
      <dgm:prSet/>
      <dgm:spPr/>
      <dgm:t>
        <a:bodyPr/>
        <a:lstStyle/>
        <a:p>
          <a:endParaRPr lang="en-GB">
            <a:solidFill>
              <a:schemeClr val="tx1"/>
            </a:solidFill>
          </a:endParaRPr>
        </a:p>
      </dgm:t>
    </dgm:pt>
    <dgm:pt modelId="{128953DF-C53C-4BD4-9149-C80527962E3A}" type="sibTrans" cxnId="{627D2203-6B60-4B94-ACE5-D9C7A97189F2}">
      <dgm:prSet/>
      <dgm:spPr/>
      <dgm:t>
        <a:bodyPr/>
        <a:lstStyle/>
        <a:p>
          <a:endParaRPr lang="en-GB">
            <a:solidFill>
              <a:schemeClr val="tx1"/>
            </a:solidFill>
          </a:endParaRPr>
        </a:p>
      </dgm:t>
    </dgm:pt>
    <dgm:pt modelId="{10EC0A0F-A446-4AC4-8D0D-B538300A912B}">
      <dgm:prSet custT="1"/>
      <dgm:spPr/>
      <dgm:t>
        <a:bodyPr/>
        <a:lstStyle/>
        <a:p>
          <a:pPr rtl="0"/>
          <a:r>
            <a:rPr lang="en-GB" sz="2800" baseline="0">
              <a:solidFill>
                <a:schemeClr val="tx2"/>
              </a:solidFill>
            </a:rPr>
            <a:t>Business shadowing</a:t>
          </a:r>
          <a:endParaRPr lang="en-GB" sz="2800">
            <a:solidFill>
              <a:schemeClr val="tx2"/>
            </a:solidFill>
          </a:endParaRPr>
        </a:p>
      </dgm:t>
    </dgm:pt>
    <dgm:pt modelId="{D5C13C82-B219-4FC4-A06E-178DF8ED8478}" type="parTrans" cxnId="{6DD06344-7491-4F56-96B0-3D99B7F76980}">
      <dgm:prSet/>
      <dgm:spPr/>
      <dgm:t>
        <a:bodyPr/>
        <a:lstStyle/>
        <a:p>
          <a:endParaRPr lang="en-GB">
            <a:solidFill>
              <a:schemeClr val="tx1"/>
            </a:solidFill>
          </a:endParaRPr>
        </a:p>
      </dgm:t>
    </dgm:pt>
    <dgm:pt modelId="{55A59649-2E3C-41BF-B9DF-4EC7421CEB1C}" type="sibTrans" cxnId="{6DD06344-7491-4F56-96B0-3D99B7F76980}">
      <dgm:prSet/>
      <dgm:spPr/>
      <dgm:t>
        <a:bodyPr/>
        <a:lstStyle/>
        <a:p>
          <a:endParaRPr lang="en-GB">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A7989D1F-F8C7-4AFA-8BC8-C763B9A57D2E}" type="pres">
      <dgm:prSet presAssocID="{0C42F37B-7652-4449-8E55-417A756BBA2C}" presName="hierRoot1" presStyleCnt="0">
        <dgm:presLayoutVars>
          <dgm:hierBranch val="init"/>
        </dgm:presLayoutVars>
      </dgm:prSet>
      <dgm:spPr/>
    </dgm:pt>
    <dgm:pt modelId="{ABDFDC6E-3F3A-4349-8C39-2A8782B32774}" type="pres">
      <dgm:prSet presAssocID="{0C42F37B-7652-4449-8E55-417A756BBA2C}" presName="rootComposite1" presStyleCnt="0"/>
      <dgm:spPr/>
    </dgm:pt>
    <dgm:pt modelId="{FAD3068B-D09B-4BE0-A02D-392F4ED9D523}" type="pres">
      <dgm:prSet presAssocID="{0C42F37B-7652-4449-8E55-417A756BBA2C}" presName="rootText1" presStyleLbl="alignAcc1" presStyleIdx="0" presStyleCnt="0">
        <dgm:presLayoutVars>
          <dgm:chPref val="3"/>
        </dgm:presLayoutVars>
      </dgm:prSet>
      <dgm:spPr/>
    </dgm:pt>
    <dgm:pt modelId="{12634C02-4855-4AD1-AAD1-1EA3418B8F0E}" type="pres">
      <dgm:prSet presAssocID="{0C42F37B-7652-4449-8E55-417A756BBA2C}" presName="topArc1" presStyleLbl="parChTrans1D1" presStyleIdx="0" presStyleCnt="4"/>
      <dgm:spPr/>
    </dgm:pt>
    <dgm:pt modelId="{78FDE28F-AC5D-4145-AA52-F41BF12E4EFA}" type="pres">
      <dgm:prSet presAssocID="{0C42F37B-7652-4449-8E55-417A756BBA2C}" presName="bottomArc1" presStyleLbl="parChTrans1D1" presStyleIdx="1" presStyleCnt="4"/>
      <dgm:spPr/>
    </dgm:pt>
    <dgm:pt modelId="{6630DC3D-513E-490B-8F06-BA09733369F1}" type="pres">
      <dgm:prSet presAssocID="{0C42F37B-7652-4449-8E55-417A756BBA2C}" presName="topConnNode1" presStyleLbl="node1" presStyleIdx="0" presStyleCnt="0"/>
      <dgm:spPr/>
    </dgm:pt>
    <dgm:pt modelId="{C1B58BB5-60FC-48F9-9FDD-2576740E07D0}" type="pres">
      <dgm:prSet presAssocID="{0C42F37B-7652-4449-8E55-417A756BBA2C}" presName="hierChild2" presStyleCnt="0"/>
      <dgm:spPr/>
    </dgm:pt>
    <dgm:pt modelId="{5F7E0382-AC36-4B69-87C2-9D0C36B1621D}" type="pres">
      <dgm:prSet presAssocID="{0C42F37B-7652-4449-8E55-417A756BBA2C}" presName="hierChild3" presStyleCnt="0"/>
      <dgm:spPr/>
    </dgm:pt>
    <dgm:pt modelId="{2C615166-789E-4D85-9EB1-4A5A274B1F94}" type="pres">
      <dgm:prSet presAssocID="{10EC0A0F-A446-4AC4-8D0D-B538300A912B}" presName="hierRoot1" presStyleCnt="0">
        <dgm:presLayoutVars>
          <dgm:hierBranch val="init"/>
        </dgm:presLayoutVars>
      </dgm:prSet>
      <dgm:spPr/>
    </dgm:pt>
    <dgm:pt modelId="{CEFF4968-3EE6-4D11-8562-E6DE8976AB9E}" type="pres">
      <dgm:prSet presAssocID="{10EC0A0F-A446-4AC4-8D0D-B538300A912B}" presName="rootComposite1" presStyleCnt="0"/>
      <dgm:spPr/>
    </dgm:pt>
    <dgm:pt modelId="{3D5FE2AA-9340-4FF3-BB8B-A844B89298FD}" type="pres">
      <dgm:prSet presAssocID="{10EC0A0F-A446-4AC4-8D0D-B538300A912B}" presName="rootText1" presStyleLbl="alignAcc1" presStyleIdx="0" presStyleCnt="0">
        <dgm:presLayoutVars>
          <dgm:chPref val="3"/>
        </dgm:presLayoutVars>
      </dgm:prSet>
      <dgm:spPr/>
    </dgm:pt>
    <dgm:pt modelId="{4364D7B0-DF44-4ED5-9346-488877CA773E}" type="pres">
      <dgm:prSet presAssocID="{10EC0A0F-A446-4AC4-8D0D-B538300A912B}" presName="topArc1" presStyleLbl="parChTrans1D1" presStyleIdx="2" presStyleCnt="4"/>
      <dgm:spPr/>
    </dgm:pt>
    <dgm:pt modelId="{EE209DBE-9E58-4C16-AF70-D35331A374CB}" type="pres">
      <dgm:prSet presAssocID="{10EC0A0F-A446-4AC4-8D0D-B538300A912B}" presName="bottomArc1" presStyleLbl="parChTrans1D1" presStyleIdx="3" presStyleCnt="4"/>
      <dgm:spPr/>
    </dgm:pt>
    <dgm:pt modelId="{BDA520FF-72D6-45BD-AD56-7F6FC1A709DB}" type="pres">
      <dgm:prSet presAssocID="{10EC0A0F-A446-4AC4-8D0D-B538300A912B}" presName="topConnNode1" presStyleLbl="node1" presStyleIdx="0" presStyleCnt="0"/>
      <dgm:spPr/>
    </dgm:pt>
    <dgm:pt modelId="{9A6F2B45-4501-4D83-8219-98290D38E26A}" type="pres">
      <dgm:prSet presAssocID="{10EC0A0F-A446-4AC4-8D0D-B538300A912B}" presName="hierChild2" presStyleCnt="0"/>
      <dgm:spPr/>
    </dgm:pt>
    <dgm:pt modelId="{CDFFBE89-D31D-4A7C-AD43-2260EFE431CB}" type="pres">
      <dgm:prSet presAssocID="{10EC0A0F-A446-4AC4-8D0D-B538300A912B}" presName="hierChild3" presStyleCnt="0"/>
      <dgm:spPr/>
    </dgm:pt>
  </dgm:ptLst>
  <dgm:cxnLst>
    <dgm:cxn modelId="{627D2203-6B60-4B94-ACE5-D9C7A97189F2}" srcId="{62721923-7DDD-4300-889E-6C2A9CF8CC2A}" destId="{0C42F37B-7652-4449-8E55-417A756BBA2C}" srcOrd="0" destOrd="0" parTransId="{AE8B19D8-C263-4926-B869-EA9FCD8C70CC}" sibTransId="{128953DF-C53C-4BD4-9149-C80527962E3A}"/>
    <dgm:cxn modelId="{D1E3BD12-E133-4FEA-A532-2AE32FE62797}" type="presOf" srcId="{0C42F37B-7652-4449-8E55-417A756BBA2C}" destId="{FAD3068B-D09B-4BE0-A02D-392F4ED9D523}" srcOrd="0" destOrd="0" presId="urn:microsoft.com/office/officeart/2008/layout/HalfCircleOrganizationChart"/>
    <dgm:cxn modelId="{96B0CA5B-1C00-472E-942E-B735ED57D3F2}" type="presOf" srcId="{62721923-7DDD-4300-889E-6C2A9CF8CC2A}" destId="{9510110B-FEDE-49C0-9F6F-46821DEAD42A}" srcOrd="0" destOrd="0" presId="urn:microsoft.com/office/officeart/2008/layout/HalfCircleOrganizationChart"/>
    <dgm:cxn modelId="{6DD06344-7491-4F56-96B0-3D99B7F76980}" srcId="{62721923-7DDD-4300-889E-6C2A9CF8CC2A}" destId="{10EC0A0F-A446-4AC4-8D0D-B538300A912B}" srcOrd="1" destOrd="0" parTransId="{D5C13C82-B219-4FC4-A06E-178DF8ED8478}" sibTransId="{55A59649-2E3C-41BF-B9DF-4EC7421CEB1C}"/>
    <dgm:cxn modelId="{3547556B-1E3C-4891-8DD5-2B39756260C1}" type="presOf" srcId="{10EC0A0F-A446-4AC4-8D0D-B538300A912B}" destId="{BDA520FF-72D6-45BD-AD56-7F6FC1A709DB}" srcOrd="1" destOrd="0" presId="urn:microsoft.com/office/officeart/2008/layout/HalfCircleOrganizationChart"/>
    <dgm:cxn modelId="{C872F381-DE5A-440C-9E66-D8186BD29CD7}" type="presOf" srcId="{10EC0A0F-A446-4AC4-8D0D-B538300A912B}" destId="{3D5FE2AA-9340-4FF3-BB8B-A844B89298FD}" srcOrd="0" destOrd="0" presId="urn:microsoft.com/office/officeart/2008/layout/HalfCircleOrganizationChart"/>
    <dgm:cxn modelId="{37A4FED1-C7B8-4BD8-95DB-EE396147A277}" type="presOf" srcId="{0C42F37B-7652-4449-8E55-417A756BBA2C}" destId="{6630DC3D-513E-490B-8F06-BA09733369F1}" srcOrd="1" destOrd="0" presId="urn:microsoft.com/office/officeart/2008/layout/HalfCircleOrganizationChart"/>
    <dgm:cxn modelId="{0CC8C8DA-87A9-450D-B74B-7F794EE69A81}" type="presParOf" srcId="{9510110B-FEDE-49C0-9F6F-46821DEAD42A}" destId="{A7989D1F-F8C7-4AFA-8BC8-C763B9A57D2E}" srcOrd="0" destOrd="0" presId="urn:microsoft.com/office/officeart/2008/layout/HalfCircleOrganizationChart"/>
    <dgm:cxn modelId="{A14B7D8B-A92F-4CB4-9D4A-319D0E3EAFF7}" type="presParOf" srcId="{A7989D1F-F8C7-4AFA-8BC8-C763B9A57D2E}" destId="{ABDFDC6E-3F3A-4349-8C39-2A8782B32774}" srcOrd="0" destOrd="0" presId="urn:microsoft.com/office/officeart/2008/layout/HalfCircleOrganizationChart"/>
    <dgm:cxn modelId="{54DDD79D-25E1-41D0-AE1E-00A16E086FF1}" type="presParOf" srcId="{ABDFDC6E-3F3A-4349-8C39-2A8782B32774}" destId="{FAD3068B-D09B-4BE0-A02D-392F4ED9D523}" srcOrd="0" destOrd="0" presId="urn:microsoft.com/office/officeart/2008/layout/HalfCircleOrganizationChart"/>
    <dgm:cxn modelId="{6DCA1C58-A6D7-475D-BBE5-5C5891EB57E5}" type="presParOf" srcId="{ABDFDC6E-3F3A-4349-8C39-2A8782B32774}" destId="{12634C02-4855-4AD1-AAD1-1EA3418B8F0E}" srcOrd="1" destOrd="0" presId="urn:microsoft.com/office/officeart/2008/layout/HalfCircleOrganizationChart"/>
    <dgm:cxn modelId="{DABA3D89-2451-4569-A147-39555509DCE1}" type="presParOf" srcId="{ABDFDC6E-3F3A-4349-8C39-2A8782B32774}" destId="{78FDE28F-AC5D-4145-AA52-F41BF12E4EFA}" srcOrd="2" destOrd="0" presId="urn:microsoft.com/office/officeart/2008/layout/HalfCircleOrganizationChart"/>
    <dgm:cxn modelId="{A27C3354-0F1F-4BC5-975D-8DC588C120F4}" type="presParOf" srcId="{ABDFDC6E-3F3A-4349-8C39-2A8782B32774}" destId="{6630DC3D-513E-490B-8F06-BA09733369F1}" srcOrd="3" destOrd="0" presId="urn:microsoft.com/office/officeart/2008/layout/HalfCircleOrganizationChart"/>
    <dgm:cxn modelId="{5A27DBA7-D017-4A55-9928-3AB9559B1D34}" type="presParOf" srcId="{A7989D1F-F8C7-4AFA-8BC8-C763B9A57D2E}" destId="{C1B58BB5-60FC-48F9-9FDD-2576740E07D0}" srcOrd="1" destOrd="0" presId="urn:microsoft.com/office/officeart/2008/layout/HalfCircleOrganizationChart"/>
    <dgm:cxn modelId="{0E839C2E-D31E-4692-8CEA-A7168582FCC2}" type="presParOf" srcId="{A7989D1F-F8C7-4AFA-8BC8-C763B9A57D2E}" destId="{5F7E0382-AC36-4B69-87C2-9D0C36B1621D}" srcOrd="2" destOrd="0" presId="urn:microsoft.com/office/officeart/2008/layout/HalfCircleOrganizationChart"/>
    <dgm:cxn modelId="{3EABE391-9F42-46FB-B79F-D2C5396C260B}" type="presParOf" srcId="{9510110B-FEDE-49C0-9F6F-46821DEAD42A}" destId="{2C615166-789E-4D85-9EB1-4A5A274B1F94}" srcOrd="1" destOrd="0" presId="urn:microsoft.com/office/officeart/2008/layout/HalfCircleOrganizationChart"/>
    <dgm:cxn modelId="{36FA2F22-1B7A-4A5F-9C2D-DBE500C5BAD4}" type="presParOf" srcId="{2C615166-789E-4D85-9EB1-4A5A274B1F94}" destId="{CEFF4968-3EE6-4D11-8562-E6DE8976AB9E}" srcOrd="0" destOrd="0" presId="urn:microsoft.com/office/officeart/2008/layout/HalfCircleOrganizationChart"/>
    <dgm:cxn modelId="{8C3A06BA-4CB6-4B30-996B-7DCC3BB5779B}" type="presParOf" srcId="{CEFF4968-3EE6-4D11-8562-E6DE8976AB9E}" destId="{3D5FE2AA-9340-4FF3-BB8B-A844B89298FD}" srcOrd="0" destOrd="0" presId="urn:microsoft.com/office/officeart/2008/layout/HalfCircleOrganizationChart"/>
    <dgm:cxn modelId="{FF2AED2A-864F-4BBE-A267-D0DA300FC01B}" type="presParOf" srcId="{CEFF4968-3EE6-4D11-8562-E6DE8976AB9E}" destId="{4364D7B0-DF44-4ED5-9346-488877CA773E}" srcOrd="1" destOrd="0" presId="urn:microsoft.com/office/officeart/2008/layout/HalfCircleOrganizationChart"/>
    <dgm:cxn modelId="{1A816D3E-F5EA-4A0C-9D48-275B0F9213C5}" type="presParOf" srcId="{CEFF4968-3EE6-4D11-8562-E6DE8976AB9E}" destId="{EE209DBE-9E58-4C16-AF70-D35331A374CB}" srcOrd="2" destOrd="0" presId="urn:microsoft.com/office/officeart/2008/layout/HalfCircleOrganizationChart"/>
    <dgm:cxn modelId="{307A6D58-E87B-4EE9-BDBD-302DB10DBF8A}" type="presParOf" srcId="{CEFF4968-3EE6-4D11-8562-E6DE8976AB9E}" destId="{BDA520FF-72D6-45BD-AD56-7F6FC1A709DB}" srcOrd="3" destOrd="0" presId="urn:microsoft.com/office/officeart/2008/layout/HalfCircleOrganizationChart"/>
    <dgm:cxn modelId="{E8336708-3589-49DD-AB4C-614AD85B4466}" type="presParOf" srcId="{2C615166-789E-4D85-9EB1-4A5A274B1F94}" destId="{9A6F2B45-4501-4D83-8219-98290D38E26A}" srcOrd="1" destOrd="0" presId="urn:microsoft.com/office/officeart/2008/layout/HalfCircleOrganizationChart"/>
    <dgm:cxn modelId="{96552B2F-799F-4793-A9EE-6849BADED8D3}" type="presParOf" srcId="{2C615166-789E-4D85-9EB1-4A5A274B1F94}" destId="{CDFFBE89-D31D-4A7C-AD43-2260EFE431CB}" srcOrd="2" destOrd="0" presId="urn:microsoft.com/office/officeart/2008/layout/HalfCircleOrganizationChar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F7F10B88-CD53-4427-8874-FF70B958A448}">
      <dgm:prSet custT="1"/>
      <dgm:spPr/>
      <dgm:t>
        <a:bodyPr/>
        <a:lstStyle/>
        <a:p>
          <a:pPr rtl="0"/>
          <a:r>
            <a:rPr lang="en-GB" sz="2800" baseline="0">
              <a:solidFill>
                <a:schemeClr val="tx2"/>
              </a:solidFill>
            </a:rPr>
            <a:t>Involve IT, Business &amp; Security</a:t>
          </a:r>
          <a:endParaRPr lang="en-GB" sz="2800">
            <a:solidFill>
              <a:schemeClr val="tx2"/>
            </a:solidFill>
          </a:endParaRPr>
        </a:p>
      </dgm:t>
    </dgm:pt>
    <dgm:pt modelId="{E2BB9579-BD0B-4F4D-AB16-C43043DEFD94}" type="parTrans" cxnId="{2A1C579F-CB09-4287-8165-3ACF3E2C19B1}">
      <dgm:prSet/>
      <dgm:spPr/>
      <dgm:t>
        <a:bodyPr/>
        <a:lstStyle/>
        <a:p>
          <a:endParaRPr lang="en-US">
            <a:solidFill>
              <a:schemeClr val="tx1"/>
            </a:solidFill>
          </a:endParaRPr>
        </a:p>
      </dgm:t>
    </dgm:pt>
    <dgm:pt modelId="{3FFC74D2-9988-49E6-AB93-5A6D4E9ED23B}" type="sibTrans" cxnId="{2A1C579F-CB09-4287-8165-3ACF3E2C19B1}">
      <dgm:prSet/>
      <dgm:spPr/>
      <dgm:t>
        <a:bodyPr/>
        <a:lstStyle/>
        <a:p>
          <a:endParaRPr lang="en-US">
            <a:solidFill>
              <a:schemeClr val="tx1"/>
            </a:solidFill>
          </a:endParaRPr>
        </a:p>
      </dgm:t>
    </dgm:pt>
    <dgm:pt modelId="{7E71DF9F-E9DD-43D1-BEC0-1E55422078A4}">
      <dgm:prSet custT="1"/>
      <dgm:spPr/>
      <dgm:t>
        <a:bodyPr/>
        <a:lstStyle/>
        <a:p>
          <a:pPr rtl="0"/>
          <a:r>
            <a:rPr lang="en-GB" sz="2800">
              <a:solidFill>
                <a:schemeClr val="tx2"/>
              </a:solidFill>
            </a:rPr>
            <a:t>Leverage existing relationships</a:t>
          </a:r>
        </a:p>
      </dgm:t>
    </dgm:pt>
    <dgm:pt modelId="{7A610807-1752-4E3D-BA30-5BF88E99ABB2}" type="parTrans" cxnId="{A831C1C6-AE8F-4954-996D-9B21EBACA9FC}">
      <dgm:prSet/>
      <dgm:spPr/>
      <dgm:t>
        <a:bodyPr/>
        <a:lstStyle/>
        <a:p>
          <a:endParaRPr lang="en-US">
            <a:solidFill>
              <a:schemeClr val="tx1"/>
            </a:solidFill>
          </a:endParaRPr>
        </a:p>
      </dgm:t>
    </dgm:pt>
    <dgm:pt modelId="{7E4086A2-341A-4B21-AF82-1D61E0ABA253}" type="sibTrans" cxnId="{A831C1C6-AE8F-4954-996D-9B21EBACA9FC}">
      <dgm:prSet/>
      <dgm:spPr/>
      <dgm:t>
        <a:bodyPr/>
        <a:lstStyle/>
        <a:p>
          <a:endParaRPr lang="en-US">
            <a:solidFill>
              <a:schemeClr val="tx1"/>
            </a:solidFill>
          </a:endParaRPr>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710D5C87-73FB-4E1A-83BE-2FA436D2E329}" type="pres">
      <dgm:prSet presAssocID="{F7F10B88-CD53-4427-8874-FF70B958A448}" presName="hierRoot1" presStyleCnt="0">
        <dgm:presLayoutVars>
          <dgm:hierBranch val="init"/>
        </dgm:presLayoutVars>
      </dgm:prSet>
      <dgm:spPr/>
    </dgm:pt>
    <dgm:pt modelId="{ABB56E5C-B422-4EB7-AD2C-FC30227CB26A}" type="pres">
      <dgm:prSet presAssocID="{F7F10B88-CD53-4427-8874-FF70B958A448}" presName="rootComposite1" presStyleCnt="0"/>
      <dgm:spPr/>
    </dgm:pt>
    <dgm:pt modelId="{BEE96E92-FF1B-4AB0-B443-65D128C9DCE1}" type="pres">
      <dgm:prSet presAssocID="{F7F10B88-CD53-4427-8874-FF70B958A448}" presName="rootText1" presStyleLbl="alignAcc1" presStyleIdx="0" presStyleCnt="0">
        <dgm:presLayoutVars>
          <dgm:chPref val="3"/>
        </dgm:presLayoutVars>
      </dgm:prSet>
      <dgm:spPr/>
    </dgm:pt>
    <dgm:pt modelId="{AB960692-88E2-4F1E-8B0D-E3245F812F19}" type="pres">
      <dgm:prSet presAssocID="{F7F10B88-CD53-4427-8874-FF70B958A448}" presName="topArc1" presStyleLbl="parChTrans1D1" presStyleIdx="0" presStyleCnt="4"/>
      <dgm:spPr/>
    </dgm:pt>
    <dgm:pt modelId="{93642A3F-CD30-4862-9676-1B5A1DE169E6}" type="pres">
      <dgm:prSet presAssocID="{F7F10B88-CD53-4427-8874-FF70B958A448}" presName="bottomArc1" presStyleLbl="parChTrans1D1" presStyleIdx="1" presStyleCnt="4"/>
      <dgm:spPr/>
    </dgm:pt>
    <dgm:pt modelId="{F9032172-A652-4DA4-9517-910F6162E5D7}" type="pres">
      <dgm:prSet presAssocID="{F7F10B88-CD53-4427-8874-FF70B958A448}" presName="topConnNode1" presStyleLbl="node1" presStyleIdx="0" presStyleCnt="0"/>
      <dgm:spPr/>
    </dgm:pt>
    <dgm:pt modelId="{F8DD2959-8D4A-480A-93D5-634BB41AB817}" type="pres">
      <dgm:prSet presAssocID="{F7F10B88-CD53-4427-8874-FF70B958A448}" presName="hierChild2" presStyleCnt="0"/>
      <dgm:spPr/>
    </dgm:pt>
    <dgm:pt modelId="{C42EF594-3E8D-4CDD-9B82-A8BC4EF97210}" type="pres">
      <dgm:prSet presAssocID="{F7F10B88-CD53-4427-8874-FF70B958A448}" presName="hierChild3" presStyleCnt="0"/>
      <dgm:spPr/>
    </dgm:pt>
    <dgm:pt modelId="{A423B32D-4D6C-47EF-B51E-E95CA0707AF0}" type="pres">
      <dgm:prSet presAssocID="{7E71DF9F-E9DD-43D1-BEC0-1E55422078A4}" presName="hierRoot1" presStyleCnt="0">
        <dgm:presLayoutVars>
          <dgm:hierBranch val="init"/>
        </dgm:presLayoutVars>
      </dgm:prSet>
      <dgm:spPr/>
    </dgm:pt>
    <dgm:pt modelId="{5A94E844-01A1-4802-B9B9-EFCDCE5B7C9C}" type="pres">
      <dgm:prSet presAssocID="{7E71DF9F-E9DD-43D1-BEC0-1E55422078A4}" presName="rootComposite1" presStyleCnt="0"/>
      <dgm:spPr/>
    </dgm:pt>
    <dgm:pt modelId="{E8DACB5A-7A81-4FF7-A070-354FA6DD0E6F}" type="pres">
      <dgm:prSet presAssocID="{7E71DF9F-E9DD-43D1-BEC0-1E55422078A4}" presName="rootText1" presStyleLbl="alignAcc1" presStyleIdx="0" presStyleCnt="0">
        <dgm:presLayoutVars>
          <dgm:chPref val="3"/>
        </dgm:presLayoutVars>
      </dgm:prSet>
      <dgm:spPr/>
    </dgm:pt>
    <dgm:pt modelId="{8081E4B8-1EEE-4DE6-AC6D-9833C48E8249}" type="pres">
      <dgm:prSet presAssocID="{7E71DF9F-E9DD-43D1-BEC0-1E55422078A4}" presName="topArc1" presStyleLbl="parChTrans1D1" presStyleIdx="2" presStyleCnt="4"/>
      <dgm:spPr/>
    </dgm:pt>
    <dgm:pt modelId="{1EDDBD0A-721F-41A3-9E5C-F9636709EBD3}" type="pres">
      <dgm:prSet presAssocID="{7E71DF9F-E9DD-43D1-BEC0-1E55422078A4}" presName="bottomArc1" presStyleLbl="parChTrans1D1" presStyleIdx="3" presStyleCnt="4"/>
      <dgm:spPr/>
    </dgm:pt>
    <dgm:pt modelId="{5E64D2C6-7A9F-4566-A32F-99C7D5C7F830}" type="pres">
      <dgm:prSet presAssocID="{7E71DF9F-E9DD-43D1-BEC0-1E55422078A4}" presName="topConnNode1" presStyleLbl="node1" presStyleIdx="0" presStyleCnt="0"/>
      <dgm:spPr/>
    </dgm:pt>
    <dgm:pt modelId="{CB8A90D9-BAC2-45D6-99B5-AF1C8AB6809B}" type="pres">
      <dgm:prSet presAssocID="{7E71DF9F-E9DD-43D1-BEC0-1E55422078A4}" presName="hierChild2" presStyleCnt="0"/>
      <dgm:spPr/>
    </dgm:pt>
    <dgm:pt modelId="{74DFBBCF-674C-4913-A67B-3C6BECA2E37B}" type="pres">
      <dgm:prSet presAssocID="{7E71DF9F-E9DD-43D1-BEC0-1E55422078A4}" presName="hierChild3" presStyleCnt="0"/>
      <dgm:spPr/>
    </dgm:pt>
  </dgm:ptLst>
  <dgm:cxnLst>
    <dgm:cxn modelId="{5FD6D30F-208A-452F-AAF3-32A009F1C6FD}" type="presOf" srcId="{F7F10B88-CD53-4427-8874-FF70B958A448}" destId="{F9032172-A652-4DA4-9517-910F6162E5D7}" srcOrd="1" destOrd="0" presId="urn:microsoft.com/office/officeart/2008/layout/HalfCircleOrganizationChart"/>
    <dgm:cxn modelId="{96B0CA5B-1C00-472E-942E-B735ED57D3F2}" type="presOf" srcId="{62721923-7DDD-4300-889E-6C2A9CF8CC2A}" destId="{9510110B-FEDE-49C0-9F6F-46821DEAD42A}" srcOrd="0" destOrd="0" presId="urn:microsoft.com/office/officeart/2008/layout/HalfCircleOrganizationChart"/>
    <dgm:cxn modelId="{F437B968-66CA-468C-8EF1-AB8F207D7DA0}" type="presOf" srcId="{7E71DF9F-E9DD-43D1-BEC0-1E55422078A4}" destId="{E8DACB5A-7A81-4FF7-A070-354FA6DD0E6F}" srcOrd="0" destOrd="0" presId="urn:microsoft.com/office/officeart/2008/layout/HalfCircleOrganizationChart"/>
    <dgm:cxn modelId="{152B6D73-3C11-494C-9EBD-4524BCF37C7B}" type="presOf" srcId="{7E71DF9F-E9DD-43D1-BEC0-1E55422078A4}" destId="{5E64D2C6-7A9F-4566-A32F-99C7D5C7F830}" srcOrd="1" destOrd="0" presId="urn:microsoft.com/office/officeart/2008/layout/HalfCircleOrganizationChart"/>
    <dgm:cxn modelId="{2A1C579F-CB09-4287-8165-3ACF3E2C19B1}" srcId="{62721923-7DDD-4300-889E-6C2A9CF8CC2A}" destId="{F7F10B88-CD53-4427-8874-FF70B958A448}" srcOrd="0" destOrd="0" parTransId="{E2BB9579-BD0B-4F4D-AB16-C43043DEFD94}" sibTransId="{3FFC74D2-9988-49E6-AB93-5A6D4E9ED23B}"/>
    <dgm:cxn modelId="{A831C1C6-AE8F-4954-996D-9B21EBACA9FC}" srcId="{62721923-7DDD-4300-889E-6C2A9CF8CC2A}" destId="{7E71DF9F-E9DD-43D1-BEC0-1E55422078A4}" srcOrd="1" destOrd="0" parTransId="{7A610807-1752-4E3D-BA30-5BF88E99ABB2}" sibTransId="{7E4086A2-341A-4B21-AF82-1D61E0ABA253}"/>
    <dgm:cxn modelId="{9E18ACF7-B044-4E69-8C53-A61A8263489C}" type="presOf" srcId="{F7F10B88-CD53-4427-8874-FF70B958A448}" destId="{BEE96E92-FF1B-4AB0-B443-65D128C9DCE1}" srcOrd="0" destOrd="0" presId="urn:microsoft.com/office/officeart/2008/layout/HalfCircleOrganizationChart"/>
    <dgm:cxn modelId="{D942A756-86A7-4E46-9F59-6285D8CF6387}" type="presParOf" srcId="{9510110B-FEDE-49C0-9F6F-46821DEAD42A}" destId="{710D5C87-73FB-4E1A-83BE-2FA436D2E329}" srcOrd="0" destOrd="0" presId="urn:microsoft.com/office/officeart/2008/layout/HalfCircleOrganizationChart"/>
    <dgm:cxn modelId="{047A9327-0629-4C8C-B421-8D5BD61041D3}" type="presParOf" srcId="{710D5C87-73FB-4E1A-83BE-2FA436D2E329}" destId="{ABB56E5C-B422-4EB7-AD2C-FC30227CB26A}" srcOrd="0" destOrd="0" presId="urn:microsoft.com/office/officeart/2008/layout/HalfCircleOrganizationChart"/>
    <dgm:cxn modelId="{2AEA6B4A-778D-4A5A-AE05-3058915C2E24}" type="presParOf" srcId="{ABB56E5C-B422-4EB7-AD2C-FC30227CB26A}" destId="{BEE96E92-FF1B-4AB0-B443-65D128C9DCE1}" srcOrd="0" destOrd="0" presId="urn:microsoft.com/office/officeart/2008/layout/HalfCircleOrganizationChart"/>
    <dgm:cxn modelId="{DCECEE5F-5758-4763-8D16-DD410792C99D}" type="presParOf" srcId="{ABB56E5C-B422-4EB7-AD2C-FC30227CB26A}" destId="{AB960692-88E2-4F1E-8B0D-E3245F812F19}" srcOrd="1" destOrd="0" presId="urn:microsoft.com/office/officeart/2008/layout/HalfCircleOrganizationChart"/>
    <dgm:cxn modelId="{F2F038F1-2E40-4F4D-86FE-664D0DA71EB0}" type="presParOf" srcId="{ABB56E5C-B422-4EB7-AD2C-FC30227CB26A}" destId="{93642A3F-CD30-4862-9676-1B5A1DE169E6}" srcOrd="2" destOrd="0" presId="urn:microsoft.com/office/officeart/2008/layout/HalfCircleOrganizationChart"/>
    <dgm:cxn modelId="{BC249021-3E1D-441C-BA6A-387989C34345}" type="presParOf" srcId="{ABB56E5C-B422-4EB7-AD2C-FC30227CB26A}" destId="{F9032172-A652-4DA4-9517-910F6162E5D7}" srcOrd="3" destOrd="0" presId="urn:microsoft.com/office/officeart/2008/layout/HalfCircleOrganizationChart"/>
    <dgm:cxn modelId="{88FBDFA6-901F-4995-A32C-234FD97B5441}" type="presParOf" srcId="{710D5C87-73FB-4E1A-83BE-2FA436D2E329}" destId="{F8DD2959-8D4A-480A-93D5-634BB41AB817}" srcOrd="1" destOrd="0" presId="urn:microsoft.com/office/officeart/2008/layout/HalfCircleOrganizationChart"/>
    <dgm:cxn modelId="{86A49375-4BFC-48D4-A44C-B994C390BC53}" type="presParOf" srcId="{710D5C87-73FB-4E1A-83BE-2FA436D2E329}" destId="{C42EF594-3E8D-4CDD-9B82-A8BC4EF97210}" srcOrd="2" destOrd="0" presId="urn:microsoft.com/office/officeart/2008/layout/HalfCircleOrganizationChart"/>
    <dgm:cxn modelId="{5CEAD558-6596-419E-9C44-AB73EC68E515}" type="presParOf" srcId="{9510110B-FEDE-49C0-9F6F-46821DEAD42A}" destId="{A423B32D-4D6C-47EF-B51E-E95CA0707AF0}" srcOrd="1" destOrd="0" presId="urn:microsoft.com/office/officeart/2008/layout/HalfCircleOrganizationChart"/>
    <dgm:cxn modelId="{F5471151-3384-47EC-B496-B63C987C159A}" type="presParOf" srcId="{A423B32D-4D6C-47EF-B51E-E95CA0707AF0}" destId="{5A94E844-01A1-4802-B9B9-EFCDCE5B7C9C}" srcOrd="0" destOrd="0" presId="urn:microsoft.com/office/officeart/2008/layout/HalfCircleOrganizationChart"/>
    <dgm:cxn modelId="{F5012E08-3051-4D74-B13F-1D881D9FEEF1}" type="presParOf" srcId="{5A94E844-01A1-4802-B9B9-EFCDCE5B7C9C}" destId="{E8DACB5A-7A81-4FF7-A070-354FA6DD0E6F}" srcOrd="0" destOrd="0" presId="urn:microsoft.com/office/officeart/2008/layout/HalfCircleOrganizationChart"/>
    <dgm:cxn modelId="{C8F0B571-519E-4AD2-B85A-7611DC7B11C3}" type="presParOf" srcId="{5A94E844-01A1-4802-B9B9-EFCDCE5B7C9C}" destId="{8081E4B8-1EEE-4DE6-AC6D-9833C48E8249}" srcOrd="1" destOrd="0" presId="urn:microsoft.com/office/officeart/2008/layout/HalfCircleOrganizationChart"/>
    <dgm:cxn modelId="{B39787F0-D342-494C-8689-333EB8FC3536}" type="presParOf" srcId="{5A94E844-01A1-4802-B9B9-EFCDCE5B7C9C}" destId="{1EDDBD0A-721F-41A3-9E5C-F9636709EBD3}" srcOrd="2" destOrd="0" presId="urn:microsoft.com/office/officeart/2008/layout/HalfCircleOrganizationChart"/>
    <dgm:cxn modelId="{A48410C8-EE0A-42C2-B9A8-751098A7E39F}" type="presParOf" srcId="{5A94E844-01A1-4802-B9B9-EFCDCE5B7C9C}" destId="{5E64D2C6-7A9F-4566-A32F-99C7D5C7F830}" srcOrd="3" destOrd="0" presId="urn:microsoft.com/office/officeart/2008/layout/HalfCircleOrganizationChart"/>
    <dgm:cxn modelId="{37D4B000-B804-495A-8777-B5DBF5C9B408}" type="presParOf" srcId="{A423B32D-4D6C-47EF-B51E-E95CA0707AF0}" destId="{CB8A90D9-BAC2-45D6-99B5-AF1C8AB6809B}" srcOrd="1" destOrd="0" presId="urn:microsoft.com/office/officeart/2008/layout/HalfCircleOrganizationChart"/>
    <dgm:cxn modelId="{EA820AB0-8575-4A0B-839D-209A42473E10}" type="presParOf" srcId="{A423B32D-4D6C-47EF-B51E-E95CA0707AF0}" destId="{74DFBBCF-674C-4913-A67B-3C6BECA2E37B}"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2721923-7DDD-4300-889E-6C2A9CF8CC2A}" type="doc">
      <dgm:prSet loTypeId="urn:microsoft.com/office/officeart/2008/layout/HalfCircleOrganizationChart" loCatId="hierarchy" qsTypeId="urn:microsoft.com/office/officeart/2005/8/quickstyle/simple1" qsCatId="simple" csTypeId="urn:microsoft.com/office/officeart/2005/8/colors/accent3_1" csCatId="accent3" phldr="1"/>
      <dgm:spPr/>
      <dgm:t>
        <a:bodyPr/>
        <a:lstStyle/>
        <a:p>
          <a:endParaRPr lang="en-US"/>
        </a:p>
      </dgm:t>
    </dgm:pt>
    <dgm:pt modelId="{5940E574-5B7E-4C98-B5BB-E46CF6DA2254}">
      <dgm:prSet custT="1"/>
      <dgm:spPr/>
      <dgm:t>
        <a:bodyPr/>
        <a:lstStyle/>
        <a:p>
          <a:pPr rtl="0"/>
          <a:r>
            <a:rPr lang="en-GB" sz="2800">
              <a:solidFill>
                <a:schemeClr val="tx2"/>
              </a:solidFill>
            </a:rPr>
            <a:t>Propose options &amp; recommend</a:t>
          </a:r>
        </a:p>
      </dgm:t>
    </dgm:pt>
    <dgm:pt modelId="{E5F5CB62-1973-4419-9599-929974BC9A07}" type="sibTrans" cxnId="{74B520F2-4012-44E9-B95F-1D65FB94AA55}">
      <dgm:prSet/>
      <dgm:spPr/>
      <dgm:t>
        <a:bodyPr/>
        <a:lstStyle/>
        <a:p>
          <a:endParaRPr lang="en-US">
            <a:solidFill>
              <a:schemeClr val="tx1"/>
            </a:solidFill>
          </a:endParaRPr>
        </a:p>
      </dgm:t>
    </dgm:pt>
    <dgm:pt modelId="{D5132850-BD46-4FBE-B672-1F034413CE24}" type="parTrans" cxnId="{74B520F2-4012-44E9-B95F-1D65FB94AA55}">
      <dgm:prSet/>
      <dgm:spPr/>
      <dgm:t>
        <a:bodyPr/>
        <a:lstStyle/>
        <a:p>
          <a:endParaRPr lang="en-US">
            <a:solidFill>
              <a:schemeClr val="tx1"/>
            </a:solidFill>
          </a:endParaRPr>
        </a:p>
      </dgm:t>
    </dgm:pt>
    <dgm:pt modelId="{B113215E-E7C4-4B49-9275-B26B4C1B0512}">
      <dgm:prSet custT="1"/>
      <dgm:spPr/>
      <dgm:t>
        <a:bodyPr/>
        <a:lstStyle/>
        <a:p>
          <a:pPr rtl="0"/>
          <a:r>
            <a:rPr lang="en-GB" sz="2800">
              <a:solidFill>
                <a:schemeClr val="tx2"/>
              </a:solidFill>
            </a:rPr>
            <a:t>Environment &amp; culture</a:t>
          </a:r>
        </a:p>
      </dgm:t>
    </dgm:pt>
    <dgm:pt modelId="{FD325D38-3EED-47E2-A78D-54B48A9913D6}" type="parTrans" cxnId="{E0A981B9-9B8D-4BC3-9457-44DC24D6CFA0}">
      <dgm:prSet/>
      <dgm:spPr/>
      <dgm:t>
        <a:bodyPr/>
        <a:lstStyle/>
        <a:p>
          <a:endParaRPr lang="en-GB"/>
        </a:p>
      </dgm:t>
    </dgm:pt>
    <dgm:pt modelId="{06C3D6CB-07AC-43EE-A87B-0A3EA291E993}" type="sibTrans" cxnId="{E0A981B9-9B8D-4BC3-9457-44DC24D6CFA0}">
      <dgm:prSet/>
      <dgm:spPr/>
      <dgm:t>
        <a:bodyPr/>
        <a:lstStyle/>
        <a:p>
          <a:endParaRPr lang="en-GB"/>
        </a:p>
      </dgm:t>
    </dgm:pt>
    <dgm:pt modelId="{9510110B-FEDE-49C0-9F6F-46821DEAD42A}" type="pres">
      <dgm:prSet presAssocID="{62721923-7DDD-4300-889E-6C2A9CF8CC2A}" presName="Name0" presStyleCnt="0">
        <dgm:presLayoutVars>
          <dgm:orgChart val="1"/>
          <dgm:chPref val="1"/>
          <dgm:dir/>
          <dgm:animOne val="branch"/>
          <dgm:animLvl val="lvl"/>
          <dgm:resizeHandles/>
        </dgm:presLayoutVars>
      </dgm:prSet>
      <dgm:spPr/>
    </dgm:pt>
    <dgm:pt modelId="{6894A642-0FA8-4FCF-9ABF-9031DE93C7E7}" type="pres">
      <dgm:prSet presAssocID="{5940E574-5B7E-4C98-B5BB-E46CF6DA2254}" presName="hierRoot1" presStyleCnt="0">
        <dgm:presLayoutVars>
          <dgm:hierBranch val="init"/>
        </dgm:presLayoutVars>
      </dgm:prSet>
      <dgm:spPr/>
    </dgm:pt>
    <dgm:pt modelId="{49BDBD5E-718E-4D0E-9A99-58C08792DDBA}" type="pres">
      <dgm:prSet presAssocID="{5940E574-5B7E-4C98-B5BB-E46CF6DA2254}" presName="rootComposite1" presStyleCnt="0"/>
      <dgm:spPr/>
    </dgm:pt>
    <dgm:pt modelId="{0F9129E4-DC45-4D15-AA12-27E376B7EAB8}" type="pres">
      <dgm:prSet presAssocID="{5940E574-5B7E-4C98-B5BB-E46CF6DA2254}" presName="rootText1" presStyleLbl="alignAcc1" presStyleIdx="0" presStyleCnt="0">
        <dgm:presLayoutVars>
          <dgm:chPref val="3"/>
        </dgm:presLayoutVars>
      </dgm:prSet>
      <dgm:spPr/>
    </dgm:pt>
    <dgm:pt modelId="{29BDE07B-7138-4809-91D7-B2EE84BE9312}" type="pres">
      <dgm:prSet presAssocID="{5940E574-5B7E-4C98-B5BB-E46CF6DA2254}" presName="topArc1" presStyleLbl="parChTrans1D1" presStyleIdx="0" presStyleCnt="4"/>
      <dgm:spPr/>
    </dgm:pt>
    <dgm:pt modelId="{12B642E5-FDBC-4A7F-8826-BE1C0AE0E379}" type="pres">
      <dgm:prSet presAssocID="{5940E574-5B7E-4C98-B5BB-E46CF6DA2254}" presName="bottomArc1" presStyleLbl="parChTrans1D1" presStyleIdx="1" presStyleCnt="4"/>
      <dgm:spPr/>
    </dgm:pt>
    <dgm:pt modelId="{FFB0F309-0AEF-433F-A5D3-BD3D5B8A7EE3}" type="pres">
      <dgm:prSet presAssocID="{5940E574-5B7E-4C98-B5BB-E46CF6DA2254}" presName="topConnNode1" presStyleLbl="node1" presStyleIdx="0" presStyleCnt="0"/>
      <dgm:spPr/>
    </dgm:pt>
    <dgm:pt modelId="{1FCF01AB-FD5E-4BDE-B439-644E9691B077}" type="pres">
      <dgm:prSet presAssocID="{5940E574-5B7E-4C98-B5BB-E46CF6DA2254}" presName="hierChild2" presStyleCnt="0"/>
      <dgm:spPr/>
    </dgm:pt>
    <dgm:pt modelId="{36EF7D57-196D-4481-A5E1-9BF14F865AEC}" type="pres">
      <dgm:prSet presAssocID="{5940E574-5B7E-4C98-B5BB-E46CF6DA2254}" presName="hierChild3" presStyleCnt="0"/>
      <dgm:spPr/>
    </dgm:pt>
    <dgm:pt modelId="{B94CEBB8-54FD-40AA-B4AA-5CA5897C12A6}" type="pres">
      <dgm:prSet presAssocID="{B113215E-E7C4-4B49-9275-B26B4C1B0512}" presName="hierRoot1" presStyleCnt="0">
        <dgm:presLayoutVars>
          <dgm:hierBranch val="init"/>
        </dgm:presLayoutVars>
      </dgm:prSet>
      <dgm:spPr/>
    </dgm:pt>
    <dgm:pt modelId="{929EDFD4-A9E9-4795-AC19-996D0CB42296}" type="pres">
      <dgm:prSet presAssocID="{B113215E-E7C4-4B49-9275-B26B4C1B0512}" presName="rootComposite1" presStyleCnt="0"/>
      <dgm:spPr/>
    </dgm:pt>
    <dgm:pt modelId="{74BC1007-3C93-4E64-AE77-0DB155200ED4}" type="pres">
      <dgm:prSet presAssocID="{B113215E-E7C4-4B49-9275-B26B4C1B0512}" presName="rootText1" presStyleLbl="alignAcc1" presStyleIdx="0" presStyleCnt="0">
        <dgm:presLayoutVars>
          <dgm:chPref val="3"/>
        </dgm:presLayoutVars>
      </dgm:prSet>
      <dgm:spPr/>
    </dgm:pt>
    <dgm:pt modelId="{100E1FC2-D2D6-4E81-AFB2-6BD82CA202B7}" type="pres">
      <dgm:prSet presAssocID="{B113215E-E7C4-4B49-9275-B26B4C1B0512}" presName="topArc1" presStyleLbl="parChTrans1D1" presStyleIdx="2" presStyleCnt="4"/>
      <dgm:spPr/>
    </dgm:pt>
    <dgm:pt modelId="{28FF2323-7D7A-4C0D-B719-41A49B6F3C4E}" type="pres">
      <dgm:prSet presAssocID="{B113215E-E7C4-4B49-9275-B26B4C1B0512}" presName="bottomArc1" presStyleLbl="parChTrans1D1" presStyleIdx="3" presStyleCnt="4"/>
      <dgm:spPr/>
    </dgm:pt>
    <dgm:pt modelId="{584426A8-C3C0-46DF-9E83-5AF8F7D82C31}" type="pres">
      <dgm:prSet presAssocID="{B113215E-E7C4-4B49-9275-B26B4C1B0512}" presName="topConnNode1" presStyleLbl="node1" presStyleIdx="0" presStyleCnt="0"/>
      <dgm:spPr/>
    </dgm:pt>
    <dgm:pt modelId="{414AF86F-54CB-4C0B-9BC4-D6A635DE2B5C}" type="pres">
      <dgm:prSet presAssocID="{B113215E-E7C4-4B49-9275-B26B4C1B0512}" presName="hierChild2" presStyleCnt="0"/>
      <dgm:spPr/>
    </dgm:pt>
    <dgm:pt modelId="{459832B9-3BD7-489A-835D-280BC76FA8B6}" type="pres">
      <dgm:prSet presAssocID="{B113215E-E7C4-4B49-9275-B26B4C1B0512}" presName="hierChild3" presStyleCnt="0"/>
      <dgm:spPr/>
    </dgm:pt>
  </dgm:ptLst>
  <dgm:cxnLst>
    <dgm:cxn modelId="{96B0CA5B-1C00-472E-942E-B735ED57D3F2}" type="presOf" srcId="{62721923-7DDD-4300-889E-6C2A9CF8CC2A}" destId="{9510110B-FEDE-49C0-9F6F-46821DEAD42A}" srcOrd="0" destOrd="0" presId="urn:microsoft.com/office/officeart/2008/layout/HalfCircleOrganizationChart"/>
    <dgm:cxn modelId="{97ABD097-BD25-431B-BBA1-2D460D7B67FA}" type="presOf" srcId="{B113215E-E7C4-4B49-9275-B26B4C1B0512}" destId="{584426A8-C3C0-46DF-9E83-5AF8F7D82C31}" srcOrd="1" destOrd="0" presId="urn:microsoft.com/office/officeart/2008/layout/HalfCircleOrganizationChart"/>
    <dgm:cxn modelId="{E0A981B9-9B8D-4BC3-9457-44DC24D6CFA0}" srcId="{62721923-7DDD-4300-889E-6C2A9CF8CC2A}" destId="{B113215E-E7C4-4B49-9275-B26B4C1B0512}" srcOrd="1" destOrd="0" parTransId="{FD325D38-3EED-47E2-A78D-54B48A9913D6}" sibTransId="{06C3D6CB-07AC-43EE-A87B-0A3EA291E993}"/>
    <dgm:cxn modelId="{8CE7C8D8-E9F7-4947-934E-1C4C751A9A9F}" type="presOf" srcId="{5940E574-5B7E-4C98-B5BB-E46CF6DA2254}" destId="{0F9129E4-DC45-4D15-AA12-27E376B7EAB8}" srcOrd="0" destOrd="0" presId="urn:microsoft.com/office/officeart/2008/layout/HalfCircleOrganizationChart"/>
    <dgm:cxn modelId="{E3B27DF1-1C43-4E4B-A8FC-27570F662DC3}" type="presOf" srcId="{B113215E-E7C4-4B49-9275-B26B4C1B0512}" destId="{74BC1007-3C93-4E64-AE77-0DB155200ED4}" srcOrd="0" destOrd="0" presId="urn:microsoft.com/office/officeart/2008/layout/HalfCircleOrganizationChart"/>
    <dgm:cxn modelId="{8BDEFDF1-6C4F-4D3E-B9E6-16D7EC14A597}" type="presOf" srcId="{5940E574-5B7E-4C98-B5BB-E46CF6DA2254}" destId="{FFB0F309-0AEF-433F-A5D3-BD3D5B8A7EE3}" srcOrd="1" destOrd="0" presId="urn:microsoft.com/office/officeart/2008/layout/HalfCircleOrganizationChart"/>
    <dgm:cxn modelId="{74B520F2-4012-44E9-B95F-1D65FB94AA55}" srcId="{62721923-7DDD-4300-889E-6C2A9CF8CC2A}" destId="{5940E574-5B7E-4C98-B5BB-E46CF6DA2254}" srcOrd="0" destOrd="0" parTransId="{D5132850-BD46-4FBE-B672-1F034413CE24}" sibTransId="{E5F5CB62-1973-4419-9599-929974BC9A07}"/>
    <dgm:cxn modelId="{23D6D98D-AB67-482B-A119-A5B421A32449}" type="presParOf" srcId="{9510110B-FEDE-49C0-9F6F-46821DEAD42A}" destId="{6894A642-0FA8-4FCF-9ABF-9031DE93C7E7}" srcOrd="0" destOrd="0" presId="urn:microsoft.com/office/officeart/2008/layout/HalfCircleOrganizationChart"/>
    <dgm:cxn modelId="{ABBA6056-45F8-4F15-9A44-2B56F60F91A2}" type="presParOf" srcId="{6894A642-0FA8-4FCF-9ABF-9031DE93C7E7}" destId="{49BDBD5E-718E-4D0E-9A99-58C08792DDBA}" srcOrd="0" destOrd="0" presId="urn:microsoft.com/office/officeart/2008/layout/HalfCircleOrganizationChart"/>
    <dgm:cxn modelId="{58B38295-F8B1-4FEA-9E89-76B6BE68F1BC}" type="presParOf" srcId="{49BDBD5E-718E-4D0E-9A99-58C08792DDBA}" destId="{0F9129E4-DC45-4D15-AA12-27E376B7EAB8}" srcOrd="0" destOrd="0" presId="urn:microsoft.com/office/officeart/2008/layout/HalfCircleOrganizationChart"/>
    <dgm:cxn modelId="{77D19757-5307-4EF0-9986-2E2F888266F1}" type="presParOf" srcId="{49BDBD5E-718E-4D0E-9A99-58C08792DDBA}" destId="{29BDE07B-7138-4809-91D7-B2EE84BE9312}" srcOrd="1" destOrd="0" presId="urn:microsoft.com/office/officeart/2008/layout/HalfCircleOrganizationChart"/>
    <dgm:cxn modelId="{F4EBDF7E-4928-4390-9CE2-E737238E2621}" type="presParOf" srcId="{49BDBD5E-718E-4D0E-9A99-58C08792DDBA}" destId="{12B642E5-FDBC-4A7F-8826-BE1C0AE0E379}" srcOrd="2" destOrd="0" presId="urn:microsoft.com/office/officeart/2008/layout/HalfCircleOrganizationChart"/>
    <dgm:cxn modelId="{33FF558A-7976-4408-9EEA-9B909C9752C6}" type="presParOf" srcId="{49BDBD5E-718E-4D0E-9A99-58C08792DDBA}" destId="{FFB0F309-0AEF-433F-A5D3-BD3D5B8A7EE3}" srcOrd="3" destOrd="0" presId="urn:microsoft.com/office/officeart/2008/layout/HalfCircleOrganizationChart"/>
    <dgm:cxn modelId="{0DCC93CC-51A4-45F0-995F-51E4BF3481A5}" type="presParOf" srcId="{6894A642-0FA8-4FCF-9ABF-9031DE93C7E7}" destId="{1FCF01AB-FD5E-4BDE-B439-644E9691B077}" srcOrd="1" destOrd="0" presId="urn:microsoft.com/office/officeart/2008/layout/HalfCircleOrganizationChart"/>
    <dgm:cxn modelId="{27D3DB1D-5E40-429E-9875-DF58CC21C2A9}" type="presParOf" srcId="{6894A642-0FA8-4FCF-9ABF-9031DE93C7E7}" destId="{36EF7D57-196D-4481-A5E1-9BF14F865AEC}" srcOrd="2" destOrd="0" presId="urn:microsoft.com/office/officeart/2008/layout/HalfCircleOrganizationChart"/>
    <dgm:cxn modelId="{048082A5-9C2D-4224-B6F6-4D2539726FB1}" type="presParOf" srcId="{9510110B-FEDE-49C0-9F6F-46821DEAD42A}" destId="{B94CEBB8-54FD-40AA-B4AA-5CA5897C12A6}" srcOrd="1" destOrd="0" presId="urn:microsoft.com/office/officeart/2008/layout/HalfCircleOrganizationChart"/>
    <dgm:cxn modelId="{9EFB1343-0384-46EB-A0DB-7ED73B06CF94}" type="presParOf" srcId="{B94CEBB8-54FD-40AA-B4AA-5CA5897C12A6}" destId="{929EDFD4-A9E9-4795-AC19-996D0CB42296}" srcOrd="0" destOrd="0" presId="urn:microsoft.com/office/officeart/2008/layout/HalfCircleOrganizationChart"/>
    <dgm:cxn modelId="{F1BD7A6D-FA2C-4C67-9257-1F68FE033AEC}" type="presParOf" srcId="{929EDFD4-A9E9-4795-AC19-996D0CB42296}" destId="{74BC1007-3C93-4E64-AE77-0DB155200ED4}" srcOrd="0" destOrd="0" presId="urn:microsoft.com/office/officeart/2008/layout/HalfCircleOrganizationChart"/>
    <dgm:cxn modelId="{6DE05D8C-5F6A-4BAD-BD55-3853CEF4A08E}" type="presParOf" srcId="{929EDFD4-A9E9-4795-AC19-996D0CB42296}" destId="{100E1FC2-D2D6-4E81-AFB2-6BD82CA202B7}" srcOrd="1" destOrd="0" presId="urn:microsoft.com/office/officeart/2008/layout/HalfCircleOrganizationChart"/>
    <dgm:cxn modelId="{75A71EBD-5AE1-4B6E-B778-16B46D5F7417}" type="presParOf" srcId="{929EDFD4-A9E9-4795-AC19-996D0CB42296}" destId="{28FF2323-7D7A-4C0D-B719-41A49B6F3C4E}" srcOrd="2" destOrd="0" presId="urn:microsoft.com/office/officeart/2008/layout/HalfCircleOrganizationChart"/>
    <dgm:cxn modelId="{6FE935E3-F089-433A-8FBB-A605FC9D79BF}" type="presParOf" srcId="{929EDFD4-A9E9-4795-AC19-996D0CB42296}" destId="{584426A8-C3C0-46DF-9E83-5AF8F7D82C31}" srcOrd="3" destOrd="0" presId="urn:microsoft.com/office/officeart/2008/layout/HalfCircleOrganizationChart"/>
    <dgm:cxn modelId="{DB915C58-DFD7-4AC3-B7E8-FF471D920203}" type="presParOf" srcId="{B94CEBB8-54FD-40AA-B4AA-5CA5897C12A6}" destId="{414AF86F-54CB-4C0B-9BC4-D6A635DE2B5C}" srcOrd="1" destOrd="0" presId="urn:microsoft.com/office/officeart/2008/layout/HalfCircleOrganizationChart"/>
    <dgm:cxn modelId="{40E30B3E-B37B-48B4-8149-DAF999F36BC7}" type="presParOf" srcId="{B94CEBB8-54FD-40AA-B4AA-5CA5897C12A6}" destId="{459832B9-3BD7-489A-835D-280BC76FA8B6}" srcOrd="2" destOrd="0" presId="urn:microsoft.com/office/officeart/2008/layout/HalfCircleOrganizationChar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9893B7E-8C6E-404F-ADD5-55373B1B94C6}" type="doc">
      <dgm:prSet loTypeId="urn:microsoft.com/office/officeart/2018/2/layout/IconLabelDescriptionList" loCatId="icon" qsTypeId="urn:microsoft.com/office/officeart/2005/8/quickstyle/simple1" qsCatId="simple" csTypeId="urn:microsoft.com/office/officeart/2018/5/colors/Iconchunking_neutralbg_accent0_3" csCatId="mainScheme" phldr="1"/>
      <dgm:spPr/>
      <dgm:t>
        <a:bodyPr/>
        <a:lstStyle/>
        <a:p>
          <a:endParaRPr lang="en-US"/>
        </a:p>
      </dgm:t>
    </dgm:pt>
    <dgm:pt modelId="{BC07B177-5F84-4666-92BC-1639A7975B53}">
      <dgm:prSet/>
      <dgm:spPr/>
      <dgm:t>
        <a:bodyPr/>
        <a:lstStyle/>
        <a:p>
          <a:pPr>
            <a:lnSpc>
              <a:spcPct val="100000"/>
            </a:lnSpc>
            <a:defRPr b="1"/>
          </a:pPr>
          <a:r>
            <a:rPr lang="en-GB"/>
            <a:t>Centrally Funded</a:t>
          </a:r>
          <a:endParaRPr lang="en-US"/>
        </a:p>
      </dgm:t>
    </dgm:pt>
    <dgm:pt modelId="{2E5E0895-A2DB-4B9F-9CEE-51C31DEAB092}" type="parTrans" cxnId="{59B94516-61B3-465E-888A-F28F3B5EFC97}">
      <dgm:prSet/>
      <dgm:spPr/>
      <dgm:t>
        <a:bodyPr/>
        <a:lstStyle/>
        <a:p>
          <a:endParaRPr lang="en-US"/>
        </a:p>
      </dgm:t>
    </dgm:pt>
    <dgm:pt modelId="{FA79564E-F750-4824-8655-72E07DC1E58B}" type="sibTrans" cxnId="{59B94516-61B3-465E-888A-F28F3B5EFC97}">
      <dgm:prSet/>
      <dgm:spPr/>
      <dgm:t>
        <a:bodyPr/>
        <a:lstStyle/>
        <a:p>
          <a:endParaRPr lang="en-US"/>
        </a:p>
      </dgm:t>
    </dgm:pt>
    <dgm:pt modelId="{BE11DCDA-2DD4-43C6-BC8C-2EFC6127CD59}">
      <dgm:prSet/>
      <dgm:spPr/>
      <dgm:t>
        <a:bodyPr/>
        <a:lstStyle/>
        <a:p>
          <a:pPr>
            <a:lnSpc>
              <a:spcPct val="100000"/>
            </a:lnSpc>
            <a:defRPr b="1"/>
          </a:pPr>
          <a:r>
            <a:rPr lang="en-GB"/>
            <a:t>Business Funded</a:t>
          </a:r>
          <a:endParaRPr lang="en-US"/>
        </a:p>
      </dgm:t>
    </dgm:pt>
    <dgm:pt modelId="{96907085-76E9-4099-BBFD-5426AF06DD8B}" type="parTrans" cxnId="{D03068EF-58AC-40E7-AF0F-A35C3326C4F7}">
      <dgm:prSet/>
      <dgm:spPr/>
      <dgm:t>
        <a:bodyPr/>
        <a:lstStyle/>
        <a:p>
          <a:endParaRPr lang="en-US"/>
        </a:p>
      </dgm:t>
    </dgm:pt>
    <dgm:pt modelId="{2DFC0F98-645F-4034-AD9B-7E6BD108D09D}" type="sibTrans" cxnId="{D03068EF-58AC-40E7-AF0F-A35C3326C4F7}">
      <dgm:prSet/>
      <dgm:spPr/>
      <dgm:t>
        <a:bodyPr/>
        <a:lstStyle/>
        <a:p>
          <a:endParaRPr lang="en-US"/>
        </a:p>
      </dgm:t>
    </dgm:pt>
    <dgm:pt modelId="{D8B7FEF1-F300-4ACF-AF79-E05D4EE6E4BB}" type="pres">
      <dgm:prSet presAssocID="{89893B7E-8C6E-404F-ADD5-55373B1B94C6}" presName="root" presStyleCnt="0">
        <dgm:presLayoutVars>
          <dgm:dir/>
          <dgm:resizeHandles val="exact"/>
        </dgm:presLayoutVars>
      </dgm:prSet>
      <dgm:spPr/>
    </dgm:pt>
    <dgm:pt modelId="{EDDF1971-B8A7-46CC-96FD-23500E362963}" type="pres">
      <dgm:prSet presAssocID="{BC07B177-5F84-4666-92BC-1639A7975B53}" presName="compNode" presStyleCnt="0"/>
      <dgm:spPr/>
    </dgm:pt>
    <dgm:pt modelId="{2E21323C-45AD-40FD-93EE-BF050C387DDB}" type="pres">
      <dgm:prSet presAssocID="{BC07B177-5F84-4666-92BC-1639A7975B53}" presName="iconRect" presStyleLbl="node1" presStyleIdx="0" presStyleCnt="2" custLinFactNeighborX="48043" custLinFactNeighborY="469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a:noFill/>
        </a:ln>
      </dgm:spPr>
      <dgm:extLst>
        <a:ext uri="{E40237B7-FDA0-4F09-8148-C483321AD2D9}">
          <dgm14:cNvPr xmlns:dgm14="http://schemas.microsoft.com/office/drawing/2010/diagram" id="0" name="" descr="Building"/>
        </a:ext>
      </dgm:extLst>
    </dgm:pt>
    <dgm:pt modelId="{D2E6221C-F64C-456A-AA0C-EC01ED5FBF35}" type="pres">
      <dgm:prSet presAssocID="{BC07B177-5F84-4666-92BC-1639A7975B53}" presName="iconSpace" presStyleCnt="0"/>
      <dgm:spPr/>
    </dgm:pt>
    <dgm:pt modelId="{5D2083E3-90ED-4570-A2F5-8BFA526453E4}" type="pres">
      <dgm:prSet presAssocID="{BC07B177-5F84-4666-92BC-1639A7975B53}" presName="parTx" presStyleLbl="revTx" presStyleIdx="0" presStyleCnt="4">
        <dgm:presLayoutVars>
          <dgm:chMax val="0"/>
          <dgm:chPref val="0"/>
        </dgm:presLayoutVars>
      </dgm:prSet>
      <dgm:spPr/>
    </dgm:pt>
    <dgm:pt modelId="{2EFC7326-8F71-4FB8-A23A-92FBA837A5CC}" type="pres">
      <dgm:prSet presAssocID="{BC07B177-5F84-4666-92BC-1639A7975B53}" presName="txSpace" presStyleCnt="0"/>
      <dgm:spPr/>
    </dgm:pt>
    <dgm:pt modelId="{B01729F6-1759-407A-8032-00613FB16AC1}" type="pres">
      <dgm:prSet presAssocID="{BC07B177-5F84-4666-92BC-1639A7975B53}" presName="desTx" presStyleLbl="revTx" presStyleIdx="1" presStyleCnt="4">
        <dgm:presLayoutVars/>
      </dgm:prSet>
      <dgm:spPr/>
    </dgm:pt>
    <dgm:pt modelId="{4B656E16-4BCB-4908-ACE3-D939AE2B2E3E}" type="pres">
      <dgm:prSet presAssocID="{FA79564E-F750-4824-8655-72E07DC1E58B}" presName="sibTrans" presStyleCnt="0"/>
      <dgm:spPr/>
    </dgm:pt>
    <dgm:pt modelId="{671BC121-A163-4248-BFC1-9CF25FCFCE8B}" type="pres">
      <dgm:prSet presAssocID="{BE11DCDA-2DD4-43C6-BC8C-2EFC6127CD59}" presName="compNode" presStyleCnt="0"/>
      <dgm:spPr/>
    </dgm:pt>
    <dgm:pt modelId="{B13B3AF4-A71A-410C-8391-BE7869ED3FDA}" type="pres">
      <dgm:prSet presAssocID="{BE11DCDA-2DD4-43C6-BC8C-2EFC6127CD59}" presName="iconRect" presStyleLbl="node1" presStyleIdx="1" presStyleCnt="2" custLinFactNeighborX="60594" custLinFactNeighborY="208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a:noFill/>
        </a:ln>
      </dgm:spPr>
      <dgm:extLst>
        <a:ext uri="{E40237B7-FDA0-4F09-8148-C483321AD2D9}">
          <dgm14:cNvPr xmlns:dgm14="http://schemas.microsoft.com/office/drawing/2010/diagram" id="0" name="" descr="City"/>
        </a:ext>
      </dgm:extLst>
    </dgm:pt>
    <dgm:pt modelId="{ADB50525-8086-4A54-9A59-24183A75A01C}" type="pres">
      <dgm:prSet presAssocID="{BE11DCDA-2DD4-43C6-BC8C-2EFC6127CD59}" presName="iconSpace" presStyleCnt="0"/>
      <dgm:spPr/>
    </dgm:pt>
    <dgm:pt modelId="{2D9A9805-FE37-4829-8C54-2BC43D2669A6}" type="pres">
      <dgm:prSet presAssocID="{BE11DCDA-2DD4-43C6-BC8C-2EFC6127CD59}" presName="parTx" presStyleLbl="revTx" presStyleIdx="2" presStyleCnt="4">
        <dgm:presLayoutVars>
          <dgm:chMax val="0"/>
          <dgm:chPref val="0"/>
        </dgm:presLayoutVars>
      </dgm:prSet>
      <dgm:spPr/>
    </dgm:pt>
    <dgm:pt modelId="{333D8372-2682-441F-87F9-37CA178ED917}" type="pres">
      <dgm:prSet presAssocID="{BE11DCDA-2DD4-43C6-BC8C-2EFC6127CD59}" presName="txSpace" presStyleCnt="0"/>
      <dgm:spPr/>
    </dgm:pt>
    <dgm:pt modelId="{E27261A6-B131-4200-968B-527C91F1837C}" type="pres">
      <dgm:prSet presAssocID="{BE11DCDA-2DD4-43C6-BC8C-2EFC6127CD59}" presName="desTx" presStyleLbl="revTx" presStyleIdx="3" presStyleCnt="4">
        <dgm:presLayoutVars/>
      </dgm:prSet>
      <dgm:spPr/>
    </dgm:pt>
  </dgm:ptLst>
  <dgm:cxnLst>
    <dgm:cxn modelId="{59B94516-61B3-465E-888A-F28F3B5EFC97}" srcId="{89893B7E-8C6E-404F-ADD5-55373B1B94C6}" destId="{BC07B177-5F84-4666-92BC-1639A7975B53}" srcOrd="0" destOrd="0" parTransId="{2E5E0895-A2DB-4B9F-9CEE-51C31DEAB092}" sibTransId="{FA79564E-F750-4824-8655-72E07DC1E58B}"/>
    <dgm:cxn modelId="{4696E66D-5341-4C89-A3A9-2FC852594067}" type="presOf" srcId="{BC07B177-5F84-4666-92BC-1639A7975B53}" destId="{5D2083E3-90ED-4570-A2F5-8BFA526453E4}" srcOrd="0" destOrd="0" presId="urn:microsoft.com/office/officeart/2018/2/layout/IconLabelDescriptionList"/>
    <dgm:cxn modelId="{766EDBE4-EEC5-41F7-BE6C-E4B4F7EB07E5}" type="presOf" srcId="{89893B7E-8C6E-404F-ADD5-55373B1B94C6}" destId="{D8B7FEF1-F300-4ACF-AF79-E05D4EE6E4BB}" srcOrd="0" destOrd="0" presId="urn:microsoft.com/office/officeart/2018/2/layout/IconLabelDescriptionList"/>
    <dgm:cxn modelId="{D03068EF-58AC-40E7-AF0F-A35C3326C4F7}" srcId="{89893B7E-8C6E-404F-ADD5-55373B1B94C6}" destId="{BE11DCDA-2DD4-43C6-BC8C-2EFC6127CD59}" srcOrd="1" destOrd="0" parTransId="{96907085-76E9-4099-BBFD-5426AF06DD8B}" sibTransId="{2DFC0F98-645F-4034-AD9B-7E6BD108D09D}"/>
    <dgm:cxn modelId="{E5EE9DF0-0552-4E43-9DCA-51F847456B99}" type="presOf" srcId="{BE11DCDA-2DD4-43C6-BC8C-2EFC6127CD59}" destId="{2D9A9805-FE37-4829-8C54-2BC43D2669A6}" srcOrd="0" destOrd="0" presId="urn:microsoft.com/office/officeart/2018/2/layout/IconLabelDescriptionList"/>
    <dgm:cxn modelId="{5A521D21-D10F-42C0-9B6B-3C0929DFFAF3}" type="presParOf" srcId="{D8B7FEF1-F300-4ACF-AF79-E05D4EE6E4BB}" destId="{EDDF1971-B8A7-46CC-96FD-23500E362963}" srcOrd="0" destOrd="0" presId="urn:microsoft.com/office/officeart/2018/2/layout/IconLabelDescriptionList"/>
    <dgm:cxn modelId="{6787ADD1-BCDE-4624-8783-C501B20924A1}" type="presParOf" srcId="{EDDF1971-B8A7-46CC-96FD-23500E362963}" destId="{2E21323C-45AD-40FD-93EE-BF050C387DDB}" srcOrd="0" destOrd="0" presId="urn:microsoft.com/office/officeart/2018/2/layout/IconLabelDescriptionList"/>
    <dgm:cxn modelId="{ACFEDE7E-860B-4975-9763-2323B33056D2}" type="presParOf" srcId="{EDDF1971-B8A7-46CC-96FD-23500E362963}" destId="{D2E6221C-F64C-456A-AA0C-EC01ED5FBF35}" srcOrd="1" destOrd="0" presId="urn:microsoft.com/office/officeart/2018/2/layout/IconLabelDescriptionList"/>
    <dgm:cxn modelId="{031AB881-B0BF-4078-A8F5-660C9E7AAF40}" type="presParOf" srcId="{EDDF1971-B8A7-46CC-96FD-23500E362963}" destId="{5D2083E3-90ED-4570-A2F5-8BFA526453E4}" srcOrd="2" destOrd="0" presId="urn:microsoft.com/office/officeart/2018/2/layout/IconLabelDescriptionList"/>
    <dgm:cxn modelId="{5CDA69C0-D147-4C53-A5DA-E2A2E413BF3A}" type="presParOf" srcId="{EDDF1971-B8A7-46CC-96FD-23500E362963}" destId="{2EFC7326-8F71-4FB8-A23A-92FBA837A5CC}" srcOrd="3" destOrd="0" presId="urn:microsoft.com/office/officeart/2018/2/layout/IconLabelDescriptionList"/>
    <dgm:cxn modelId="{FB7A301B-EE38-4587-B0C4-B47662B16F51}" type="presParOf" srcId="{EDDF1971-B8A7-46CC-96FD-23500E362963}" destId="{B01729F6-1759-407A-8032-00613FB16AC1}" srcOrd="4" destOrd="0" presId="urn:microsoft.com/office/officeart/2018/2/layout/IconLabelDescriptionList"/>
    <dgm:cxn modelId="{24D004ED-F156-4951-B78A-AB206C5D3368}" type="presParOf" srcId="{D8B7FEF1-F300-4ACF-AF79-E05D4EE6E4BB}" destId="{4B656E16-4BCB-4908-ACE3-D939AE2B2E3E}" srcOrd="1" destOrd="0" presId="urn:microsoft.com/office/officeart/2018/2/layout/IconLabelDescriptionList"/>
    <dgm:cxn modelId="{CAAEC555-EE48-4EB9-9391-E65694A062B3}" type="presParOf" srcId="{D8B7FEF1-F300-4ACF-AF79-E05D4EE6E4BB}" destId="{671BC121-A163-4248-BFC1-9CF25FCFCE8B}" srcOrd="2" destOrd="0" presId="urn:microsoft.com/office/officeart/2018/2/layout/IconLabelDescriptionList"/>
    <dgm:cxn modelId="{B6705C45-18D6-4E22-9315-EE64E310F92A}" type="presParOf" srcId="{671BC121-A163-4248-BFC1-9CF25FCFCE8B}" destId="{B13B3AF4-A71A-410C-8391-BE7869ED3FDA}" srcOrd="0" destOrd="0" presId="urn:microsoft.com/office/officeart/2018/2/layout/IconLabelDescriptionList"/>
    <dgm:cxn modelId="{9CA3A059-08E1-49FC-BDC5-89DF406BC8D0}" type="presParOf" srcId="{671BC121-A163-4248-BFC1-9CF25FCFCE8B}" destId="{ADB50525-8086-4A54-9A59-24183A75A01C}" srcOrd="1" destOrd="0" presId="urn:microsoft.com/office/officeart/2018/2/layout/IconLabelDescriptionList"/>
    <dgm:cxn modelId="{F2998A48-84BD-4427-883E-A4A2771746DB}" type="presParOf" srcId="{671BC121-A163-4248-BFC1-9CF25FCFCE8B}" destId="{2D9A9805-FE37-4829-8C54-2BC43D2669A6}" srcOrd="2" destOrd="0" presId="urn:microsoft.com/office/officeart/2018/2/layout/IconLabelDescriptionList"/>
    <dgm:cxn modelId="{A2413FDA-22C9-47CF-8749-EA5A7EE4438E}" type="presParOf" srcId="{671BC121-A163-4248-BFC1-9CF25FCFCE8B}" destId="{333D8372-2682-441F-87F9-37CA178ED917}" srcOrd="3" destOrd="0" presId="urn:microsoft.com/office/officeart/2018/2/layout/IconLabelDescriptionList"/>
    <dgm:cxn modelId="{F379444A-F632-43CD-B245-FF6252D163F2}" type="presParOf" srcId="{671BC121-A163-4248-BFC1-9CF25FCFCE8B}" destId="{E27261A6-B131-4200-968B-527C91F1837C}" srcOrd="4" destOrd="0" presId="urn:microsoft.com/office/officeart/2018/2/layout/IconLabelDescription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en-GB" sz="2400" baseline="0"/>
            <a:t>Sponsorship</a:t>
          </a:r>
          <a:endParaRPr lang="en-US" sz="24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BE34E47C-6060-4274-986C-67357D018149}">
      <dgm:prSet custT="1"/>
      <dgm:spPr/>
      <dgm:t>
        <a:bodyPr/>
        <a:lstStyle/>
        <a:p>
          <a:r>
            <a:rPr lang="en-GB" sz="2400" baseline="0"/>
            <a:t>Obtaining executive sponsorship and communicating it</a:t>
          </a:r>
          <a:endParaRPr lang="en-GB" sz="2400"/>
        </a:p>
      </dgm:t>
    </dgm:pt>
    <dgm:pt modelId="{018AD169-DE07-4A5B-882B-BC2026988FE4}" type="parTrans" cxnId="{AA83980D-7929-4784-A403-F646F5807D98}">
      <dgm:prSet/>
      <dgm:spPr/>
      <dgm:t>
        <a:bodyPr/>
        <a:lstStyle/>
        <a:p>
          <a:endParaRPr lang="en-GB"/>
        </a:p>
      </dgm:t>
    </dgm:pt>
    <dgm:pt modelId="{4B3DAE26-4E7E-4D9E-B8CA-B93B83A51D45}" type="sibTrans" cxnId="{AA83980D-7929-4784-A403-F646F5807D98}">
      <dgm:prSet/>
      <dgm:spPr/>
      <dgm:t>
        <a:bodyPr/>
        <a:lstStyle/>
        <a:p>
          <a:endParaRPr lang="en-GB"/>
        </a:p>
      </dgm:t>
    </dgm:pt>
    <dgm:pt modelId="{01EA6AB6-5250-44BC-BC04-B4260A9A3875}">
      <dgm:prSet custT="1"/>
      <dgm:spPr/>
      <dgm:t>
        <a:bodyPr/>
        <a:lstStyle/>
        <a:p>
          <a:r>
            <a:rPr lang="en-GB" sz="2400" baseline="0"/>
            <a:t>Goals</a:t>
          </a:r>
          <a:endParaRPr lang="en-GB" sz="2400"/>
        </a:p>
      </dgm:t>
    </dgm:pt>
    <dgm:pt modelId="{3C7DD0C6-7E22-4990-8E11-4532543DD515}" type="parTrans" cxnId="{D1D82D82-A636-40FE-9D85-911DF281D4D2}">
      <dgm:prSet/>
      <dgm:spPr/>
      <dgm:t>
        <a:bodyPr/>
        <a:lstStyle/>
        <a:p>
          <a:endParaRPr lang="en-GB"/>
        </a:p>
      </dgm:t>
    </dgm:pt>
    <dgm:pt modelId="{806D6171-0021-4B4B-8C56-9CF602870F87}" type="sibTrans" cxnId="{D1D82D82-A636-40FE-9D85-911DF281D4D2}">
      <dgm:prSet/>
      <dgm:spPr/>
      <dgm:t>
        <a:bodyPr/>
        <a:lstStyle/>
        <a:p>
          <a:endParaRPr lang="en-GB"/>
        </a:p>
      </dgm:t>
    </dgm:pt>
    <dgm:pt modelId="{27E1DA6A-20CF-468E-9419-C6B1B9048898}">
      <dgm:prSet custT="1"/>
      <dgm:spPr/>
      <dgm:t>
        <a:bodyPr/>
        <a:lstStyle/>
        <a:p>
          <a:r>
            <a:rPr lang="en-GB" sz="2400" baseline="0"/>
            <a:t>Aligning program goals to corporate goals</a:t>
          </a:r>
          <a:endParaRPr lang="en-GB" sz="2400"/>
        </a:p>
      </dgm:t>
    </dgm:pt>
    <dgm:pt modelId="{6F75CDB9-2F7C-48A1-B4A8-D796BEB2B850}" type="parTrans" cxnId="{8B4F7ED6-25AC-47ED-8D44-D79A5F11317A}">
      <dgm:prSet/>
      <dgm:spPr/>
      <dgm:t>
        <a:bodyPr/>
        <a:lstStyle/>
        <a:p>
          <a:endParaRPr lang="en-GB"/>
        </a:p>
      </dgm:t>
    </dgm:pt>
    <dgm:pt modelId="{98B6C0F6-30AC-4EE0-A9F7-5DD677A40440}" type="sibTrans" cxnId="{8B4F7ED6-25AC-47ED-8D44-D79A5F11317A}">
      <dgm:prSet/>
      <dgm:spPr/>
      <dgm:t>
        <a:bodyPr/>
        <a:lstStyle/>
        <a:p>
          <a:endParaRPr lang="en-GB"/>
        </a:p>
      </dgm:t>
    </dgm:pt>
    <dgm:pt modelId="{ECAEBCD6-AEEB-4B53-8621-823D56BB9E20}">
      <dgm:prSet custT="1"/>
      <dgm:spPr/>
      <dgm:t>
        <a:bodyPr/>
        <a:lstStyle/>
        <a:p>
          <a:r>
            <a:rPr lang="en-GB" sz="2400" baseline="0"/>
            <a:t>Planning</a:t>
          </a:r>
          <a:endParaRPr lang="en-GB" sz="2400"/>
        </a:p>
      </dgm:t>
    </dgm:pt>
    <dgm:pt modelId="{34287002-B584-46F7-8F5C-65912A9A1659}" type="parTrans" cxnId="{1A2E9D84-F680-4C41-9956-681B23660880}">
      <dgm:prSet/>
      <dgm:spPr/>
      <dgm:t>
        <a:bodyPr/>
        <a:lstStyle/>
        <a:p>
          <a:endParaRPr lang="en-GB"/>
        </a:p>
      </dgm:t>
    </dgm:pt>
    <dgm:pt modelId="{FB3EA9F9-C32B-44F8-919C-17BBDACDBE54}" type="sibTrans" cxnId="{1A2E9D84-F680-4C41-9956-681B23660880}">
      <dgm:prSet/>
      <dgm:spPr/>
      <dgm:t>
        <a:bodyPr/>
        <a:lstStyle/>
        <a:p>
          <a:endParaRPr lang="en-GB"/>
        </a:p>
      </dgm:t>
    </dgm:pt>
    <dgm:pt modelId="{488CCC71-3764-46FC-ACAF-C81F199F0C59}">
      <dgm:prSet custT="1"/>
      <dgm:spPr/>
      <dgm:t>
        <a:bodyPr/>
        <a:lstStyle/>
        <a:p>
          <a:r>
            <a:rPr lang="en-GB" sz="2400" baseline="0"/>
            <a:t>Planning strategy and execution, and measuring the program</a:t>
          </a:r>
          <a:endParaRPr lang="en-GB" sz="2400"/>
        </a:p>
      </dgm:t>
    </dgm:pt>
    <dgm:pt modelId="{DF9BA70D-C147-4FB5-ADEE-683DBCC027FD}" type="parTrans" cxnId="{542BC77B-49E6-4DC4-8FDD-E1CD7ADDD95C}">
      <dgm:prSet/>
      <dgm:spPr/>
      <dgm:t>
        <a:bodyPr/>
        <a:lstStyle/>
        <a:p>
          <a:endParaRPr lang="en-GB"/>
        </a:p>
      </dgm:t>
    </dgm:pt>
    <dgm:pt modelId="{98EA8AAD-FAB9-409D-ACC1-28505239E082}" type="sibTrans" cxnId="{542BC77B-49E6-4DC4-8FDD-E1CD7ADDD95C}">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AE114327-D549-4E1F-9370-EDEB17200B19}" type="pres">
      <dgm:prSet presAssocID="{01EA6AB6-5250-44BC-BC04-B4260A9A3875}" presName="linNode" presStyleCnt="0"/>
      <dgm:spPr/>
    </dgm:pt>
    <dgm:pt modelId="{16443801-5F57-4607-8761-13ED407B51E9}" type="pres">
      <dgm:prSet presAssocID="{01EA6AB6-5250-44BC-BC04-B4260A9A3875}" presName="parentText" presStyleLbl="alignNode1" presStyleIdx="1" presStyleCnt="3">
        <dgm:presLayoutVars>
          <dgm:chMax val="1"/>
          <dgm:bulletEnabled/>
        </dgm:presLayoutVars>
      </dgm:prSet>
      <dgm:spPr/>
    </dgm:pt>
    <dgm:pt modelId="{2114C062-4588-40FE-96A8-5F5F1E9EA85C}" type="pres">
      <dgm:prSet presAssocID="{01EA6AB6-5250-44BC-BC04-B4260A9A3875}" presName="descendantText" presStyleLbl="alignAccFollowNode1" presStyleIdx="1" presStyleCnt="3">
        <dgm:presLayoutVars>
          <dgm:bulletEnabled/>
        </dgm:presLayoutVars>
      </dgm:prSet>
      <dgm:spPr/>
    </dgm:pt>
    <dgm:pt modelId="{B68BB3C4-0923-42D8-86DC-DA55DE825E7F}" type="pres">
      <dgm:prSet presAssocID="{806D6171-0021-4B4B-8C56-9CF602870F87}" presName="sp" presStyleCnt="0"/>
      <dgm:spPr/>
    </dgm:pt>
    <dgm:pt modelId="{14D239BE-A634-42C8-980A-00642B56EA53}" type="pres">
      <dgm:prSet presAssocID="{ECAEBCD6-AEEB-4B53-8621-823D56BB9E20}" presName="linNode" presStyleCnt="0"/>
      <dgm:spPr/>
    </dgm:pt>
    <dgm:pt modelId="{59E90048-F00B-4299-A3BE-EA32C92CD91A}" type="pres">
      <dgm:prSet presAssocID="{ECAEBCD6-AEEB-4B53-8621-823D56BB9E20}" presName="parentText" presStyleLbl="alignNode1" presStyleIdx="2" presStyleCnt="3">
        <dgm:presLayoutVars>
          <dgm:chMax val="1"/>
          <dgm:bulletEnabled/>
        </dgm:presLayoutVars>
      </dgm:prSet>
      <dgm:spPr/>
    </dgm:pt>
    <dgm:pt modelId="{5E408A61-7D69-4156-A89B-5845F220B35C}" type="pres">
      <dgm:prSet presAssocID="{ECAEBCD6-AEEB-4B53-8621-823D56BB9E20}" presName="descendantText" presStyleLbl="alignAccFollowNode1" presStyleIdx="2" presStyleCnt="3">
        <dgm:presLayoutVars>
          <dgm:bulletEnabled/>
        </dgm:presLayoutVars>
      </dgm:prSet>
      <dgm:spPr/>
    </dgm:pt>
  </dgm:ptLst>
  <dgm:cxnLst>
    <dgm:cxn modelId="{AA83980D-7929-4784-A403-F646F5807D98}" srcId="{25AB223E-4953-4EF2-BA3C-ECDF95A84747}" destId="{BE34E47C-6060-4274-986C-67357D018149}" srcOrd="0" destOrd="0" parTransId="{018AD169-DE07-4A5B-882B-BC2026988FE4}" sibTransId="{4B3DAE26-4E7E-4D9E-B8CA-B93B83A51D45}"/>
    <dgm:cxn modelId="{75829915-F8A4-4D21-A5ED-FF6CE6BCAFB4}" type="presOf" srcId="{25AB223E-4953-4EF2-BA3C-ECDF95A84747}" destId="{E9F836B8-166B-45D6-9F84-CEA44AD858A3}" srcOrd="0" destOrd="0" presId="urn:microsoft.com/office/officeart/2016/7/layout/VerticalSolidActionList"/>
    <dgm:cxn modelId="{CD39FF34-16B5-45BE-B483-A0B915DC180A}" type="presOf" srcId="{488CCC71-3764-46FC-ACAF-C81F199F0C59}" destId="{5E408A61-7D69-4156-A89B-5845F220B35C}" srcOrd="0" destOrd="0" presId="urn:microsoft.com/office/officeart/2016/7/layout/VerticalSolidActionList"/>
    <dgm:cxn modelId="{16A9A549-BD26-4328-8552-8B351E3562EB}" type="presOf" srcId="{01EA6AB6-5250-44BC-BC04-B4260A9A3875}" destId="{16443801-5F57-4607-8761-13ED407B51E9}" srcOrd="0" destOrd="0" presId="urn:microsoft.com/office/officeart/2016/7/layout/VerticalSolidActionList"/>
    <dgm:cxn modelId="{2496FD6B-9D88-4D1A-9B84-F563822B1CF5}" type="presOf" srcId="{460449F7-7D3A-4340-8264-322BD3A20AB9}" destId="{106BB47F-E344-419C-9610-A22E2E783E6F}" srcOrd="0" destOrd="0" presId="urn:microsoft.com/office/officeart/2016/7/layout/VerticalSolidActionList"/>
    <dgm:cxn modelId="{81B3AF53-98A4-42C0-B471-8DF242DAA75F}" type="presOf" srcId="{27E1DA6A-20CF-468E-9419-C6B1B9048898}" destId="{2114C062-4588-40FE-96A8-5F5F1E9EA85C}" srcOrd="0" destOrd="0" presId="urn:microsoft.com/office/officeart/2016/7/layout/VerticalSolidActionList"/>
    <dgm:cxn modelId="{542BC77B-49E6-4DC4-8FDD-E1CD7ADDD95C}" srcId="{ECAEBCD6-AEEB-4B53-8621-823D56BB9E20}" destId="{488CCC71-3764-46FC-ACAF-C81F199F0C59}" srcOrd="0" destOrd="0" parTransId="{DF9BA70D-C147-4FB5-ADEE-683DBCC027FD}" sibTransId="{98EA8AAD-FAB9-409D-ACC1-28505239E082}"/>
    <dgm:cxn modelId="{B25C3080-06BE-4AAF-8319-6AD828390854}" srcId="{460449F7-7D3A-4340-8264-322BD3A20AB9}" destId="{25AB223E-4953-4EF2-BA3C-ECDF95A84747}" srcOrd="0" destOrd="0" parTransId="{296171BF-63AB-4CB5-A379-F0CA2FCF7867}" sibTransId="{7EE13155-3E37-4797-9EAD-C79787B72C15}"/>
    <dgm:cxn modelId="{D1D82D82-A636-40FE-9D85-911DF281D4D2}" srcId="{460449F7-7D3A-4340-8264-322BD3A20AB9}" destId="{01EA6AB6-5250-44BC-BC04-B4260A9A3875}" srcOrd="1" destOrd="0" parTransId="{3C7DD0C6-7E22-4990-8E11-4532543DD515}" sibTransId="{806D6171-0021-4B4B-8C56-9CF602870F87}"/>
    <dgm:cxn modelId="{1A2E9D84-F680-4C41-9956-681B23660880}" srcId="{460449F7-7D3A-4340-8264-322BD3A20AB9}" destId="{ECAEBCD6-AEEB-4B53-8621-823D56BB9E20}" srcOrd="2" destOrd="0" parTransId="{34287002-B584-46F7-8F5C-65912A9A1659}" sibTransId="{FB3EA9F9-C32B-44F8-919C-17BBDACDBE54}"/>
    <dgm:cxn modelId="{C2CEF194-2246-48A2-97BF-7148AF1264ED}" type="presOf" srcId="{ECAEBCD6-AEEB-4B53-8621-823D56BB9E20}" destId="{59E90048-F00B-4299-A3BE-EA32C92CD91A}" srcOrd="0" destOrd="0" presId="urn:microsoft.com/office/officeart/2016/7/layout/VerticalSolidActionList"/>
    <dgm:cxn modelId="{82BDACB6-FC8F-4CF6-B743-BDD11B9623B8}" type="presOf" srcId="{BE34E47C-6060-4274-986C-67357D018149}" destId="{1D316B12-8CDF-4966-8386-A25B656CCFCB}" srcOrd="0" destOrd="0" presId="urn:microsoft.com/office/officeart/2016/7/layout/VerticalSolidActionList"/>
    <dgm:cxn modelId="{8B4F7ED6-25AC-47ED-8D44-D79A5F11317A}" srcId="{01EA6AB6-5250-44BC-BC04-B4260A9A3875}" destId="{27E1DA6A-20CF-468E-9419-C6B1B9048898}" srcOrd="0" destOrd="0" parTransId="{6F75CDB9-2F7C-48A1-B4A8-D796BEB2B850}" sibTransId="{98B6C0F6-30AC-4EE0-A9F7-5DD677A40440}"/>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6BBD07B-DBE0-4A60-82C2-1DFA78BDD5E0}" type="presParOf" srcId="{106BB47F-E344-419C-9610-A22E2E783E6F}" destId="{AE114327-D549-4E1F-9370-EDEB17200B19}" srcOrd="2" destOrd="0" presId="urn:microsoft.com/office/officeart/2016/7/layout/VerticalSolidActionList"/>
    <dgm:cxn modelId="{4089669E-BFED-41D7-BD7F-0C1A06053928}" type="presParOf" srcId="{AE114327-D549-4E1F-9370-EDEB17200B19}" destId="{16443801-5F57-4607-8761-13ED407B51E9}" srcOrd="0" destOrd="0" presId="urn:microsoft.com/office/officeart/2016/7/layout/VerticalSolidActionList"/>
    <dgm:cxn modelId="{CA87F4AB-EBC2-4F8A-84C2-4551E7E90284}" type="presParOf" srcId="{AE114327-D549-4E1F-9370-EDEB17200B19}" destId="{2114C062-4588-40FE-96A8-5F5F1E9EA85C}" srcOrd="1" destOrd="0" presId="urn:microsoft.com/office/officeart/2016/7/layout/VerticalSolidActionList"/>
    <dgm:cxn modelId="{93E02C5D-BE01-46F9-9353-C50ADBD0907F}" type="presParOf" srcId="{106BB47F-E344-419C-9610-A22E2E783E6F}" destId="{B68BB3C4-0923-42D8-86DC-DA55DE825E7F}" srcOrd="3" destOrd="0" presId="urn:microsoft.com/office/officeart/2016/7/layout/VerticalSolidActionList"/>
    <dgm:cxn modelId="{81BB795B-BE0D-4585-ABDA-5F1C6B41C44E}" type="presParOf" srcId="{106BB47F-E344-419C-9610-A22E2E783E6F}" destId="{14D239BE-A634-42C8-980A-00642B56EA53}" srcOrd="4" destOrd="0" presId="urn:microsoft.com/office/officeart/2016/7/layout/VerticalSolidActionList"/>
    <dgm:cxn modelId="{962FC769-238B-40C9-8A6D-C19192BCC2EC}" type="presParOf" srcId="{14D239BE-A634-42C8-980A-00642B56EA53}" destId="{59E90048-F00B-4299-A3BE-EA32C92CD91A}" srcOrd="0" destOrd="0" presId="urn:microsoft.com/office/officeart/2016/7/layout/VerticalSolidActionList"/>
    <dgm:cxn modelId="{41F2221C-6BCC-455A-8EE5-EAF5638CE730}" type="presParOf" srcId="{14D239BE-A634-42C8-980A-00642B56EA53}" destId="{5E408A61-7D69-4156-A89B-5845F220B35C}"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4B536DF-88AC-448D-B540-7F766040127F}"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9018C639-B15B-4ECF-9E83-173C32DF5BB7}">
      <dgm:prSet/>
      <dgm:spPr>
        <a:solidFill>
          <a:srgbClr val="F2C811"/>
        </a:solidFill>
      </dgm:spPr>
      <dgm:t>
        <a:bodyPr/>
        <a:lstStyle/>
        <a:p>
          <a:r>
            <a:rPr lang="en-US" baseline="0">
              <a:solidFill>
                <a:schemeClr val="tx1"/>
              </a:solidFill>
            </a:rPr>
            <a:t>Plan ahead for self-service BI success</a:t>
          </a:r>
          <a:endParaRPr lang="en-GB">
            <a:solidFill>
              <a:schemeClr val="tx1"/>
            </a:solidFill>
          </a:endParaRPr>
        </a:p>
      </dgm:t>
    </dgm:pt>
    <dgm:pt modelId="{B4EC6EBF-21C2-480E-87B2-7F1A073B6359}" type="parTrans" cxnId="{7E08D08F-C0F9-417B-8132-83B45B41F630}">
      <dgm:prSet/>
      <dgm:spPr/>
      <dgm:t>
        <a:bodyPr/>
        <a:lstStyle/>
        <a:p>
          <a:endParaRPr lang="en-US"/>
        </a:p>
      </dgm:t>
    </dgm:pt>
    <dgm:pt modelId="{4E855D6E-212E-406F-9D3B-844BE56C2D9A}" type="sibTrans" cxnId="{7E08D08F-C0F9-417B-8132-83B45B41F630}">
      <dgm:prSet/>
      <dgm:spPr/>
      <dgm:t>
        <a:bodyPr/>
        <a:lstStyle/>
        <a:p>
          <a:endParaRPr lang="en-US"/>
        </a:p>
      </dgm:t>
    </dgm:pt>
    <dgm:pt modelId="{D286143D-BDC1-499D-885B-6D79F1C29B05}">
      <dgm:prSet/>
      <dgm:spPr>
        <a:solidFill>
          <a:srgbClr val="F2C811"/>
        </a:solidFill>
      </dgm:spPr>
      <dgm:t>
        <a:bodyPr/>
        <a:lstStyle/>
        <a:p>
          <a:r>
            <a:rPr lang="en-US" baseline="0">
              <a:solidFill>
                <a:schemeClr val="tx1"/>
              </a:solidFill>
            </a:rPr>
            <a:t>Avoid uncontrolled proliferation of BI apps</a:t>
          </a:r>
          <a:endParaRPr lang="en-GB">
            <a:solidFill>
              <a:schemeClr val="tx1"/>
            </a:solidFill>
          </a:endParaRPr>
        </a:p>
      </dgm:t>
    </dgm:pt>
    <dgm:pt modelId="{4FE4810C-569E-4D3D-9DCC-5469C4726500}" type="parTrans" cxnId="{32B858B2-4930-4243-A6E4-17F4579F2AE2}">
      <dgm:prSet/>
      <dgm:spPr/>
      <dgm:t>
        <a:bodyPr/>
        <a:lstStyle/>
        <a:p>
          <a:endParaRPr lang="en-US"/>
        </a:p>
      </dgm:t>
    </dgm:pt>
    <dgm:pt modelId="{18485489-1EC0-4AD0-B01F-90A2A7581FA1}" type="sibTrans" cxnId="{32B858B2-4930-4243-A6E4-17F4579F2AE2}">
      <dgm:prSet/>
      <dgm:spPr/>
      <dgm:t>
        <a:bodyPr/>
        <a:lstStyle/>
        <a:p>
          <a:endParaRPr lang="en-US"/>
        </a:p>
      </dgm:t>
    </dgm:pt>
    <dgm:pt modelId="{D986FB5D-0CA7-4649-B32F-B5E0E933678C}">
      <dgm:prSet/>
      <dgm:spPr>
        <a:solidFill>
          <a:srgbClr val="EDC30D"/>
        </a:solidFill>
      </dgm:spPr>
      <dgm:t>
        <a:bodyPr/>
        <a:lstStyle/>
        <a:p>
          <a:r>
            <a:rPr lang="en-US" baseline="0">
              <a:solidFill>
                <a:schemeClr val="tx1"/>
              </a:solidFill>
            </a:rPr>
            <a:t>Implement processes</a:t>
          </a:r>
          <a:endParaRPr lang="en-GB">
            <a:solidFill>
              <a:schemeClr val="tx1"/>
            </a:solidFill>
          </a:endParaRPr>
        </a:p>
      </dgm:t>
    </dgm:pt>
    <dgm:pt modelId="{79AF086F-88DA-49F5-86D3-1F5481FED651}" type="parTrans" cxnId="{A891B08A-052E-4AF3-A09B-1520015F3526}">
      <dgm:prSet/>
      <dgm:spPr/>
      <dgm:t>
        <a:bodyPr/>
        <a:lstStyle/>
        <a:p>
          <a:endParaRPr lang="en-US"/>
        </a:p>
      </dgm:t>
    </dgm:pt>
    <dgm:pt modelId="{9680EFFC-479C-4258-AE83-BCC14469C9D3}" type="sibTrans" cxnId="{A891B08A-052E-4AF3-A09B-1520015F3526}">
      <dgm:prSet/>
      <dgm:spPr/>
      <dgm:t>
        <a:bodyPr/>
        <a:lstStyle/>
        <a:p>
          <a:endParaRPr lang="en-US"/>
        </a:p>
      </dgm:t>
    </dgm:pt>
    <dgm:pt modelId="{98DD8F22-E018-49A8-8200-C232B9919179}">
      <dgm:prSet/>
      <dgm:spPr>
        <a:solidFill>
          <a:srgbClr val="EDC30D"/>
        </a:solidFill>
      </dgm:spPr>
      <dgm:t>
        <a:bodyPr/>
        <a:lstStyle/>
        <a:p>
          <a:r>
            <a:rPr lang="en-US" baseline="0">
              <a:solidFill>
                <a:schemeClr val="tx1"/>
              </a:solidFill>
            </a:rPr>
            <a:t>Proper governance processes </a:t>
          </a:r>
          <a:endParaRPr lang="en-GB">
            <a:solidFill>
              <a:schemeClr val="tx1"/>
            </a:solidFill>
          </a:endParaRPr>
        </a:p>
      </dgm:t>
    </dgm:pt>
    <dgm:pt modelId="{23AAD0B8-6377-4E25-9840-1E19B38F7EBE}" type="parTrans" cxnId="{BCD1EA49-D2E3-4135-9467-CE7C3479810F}">
      <dgm:prSet/>
      <dgm:spPr/>
      <dgm:t>
        <a:bodyPr/>
        <a:lstStyle/>
        <a:p>
          <a:endParaRPr lang="en-US"/>
        </a:p>
      </dgm:t>
    </dgm:pt>
    <dgm:pt modelId="{40B031A4-925D-465A-BC64-C47E998C7334}" type="sibTrans" cxnId="{BCD1EA49-D2E3-4135-9467-CE7C3479810F}">
      <dgm:prSet/>
      <dgm:spPr/>
      <dgm:t>
        <a:bodyPr/>
        <a:lstStyle/>
        <a:p>
          <a:endParaRPr lang="en-US"/>
        </a:p>
      </dgm:t>
    </dgm:pt>
    <dgm:pt modelId="{2A7F442F-C5C9-4D5B-9D3B-5D1C13AEC459}">
      <dgm:prSet/>
      <dgm:spPr>
        <a:solidFill>
          <a:srgbClr val="EDC30D"/>
        </a:solidFill>
      </dgm:spPr>
      <dgm:t>
        <a:bodyPr/>
        <a:lstStyle/>
        <a:p>
          <a:r>
            <a:rPr lang="en-US" baseline="0">
              <a:solidFill>
                <a:schemeClr val="tx1"/>
              </a:solidFill>
            </a:rPr>
            <a:t>Drive Decisions</a:t>
          </a:r>
          <a:endParaRPr lang="en-GB">
            <a:solidFill>
              <a:schemeClr val="tx1"/>
            </a:solidFill>
          </a:endParaRPr>
        </a:p>
      </dgm:t>
    </dgm:pt>
    <dgm:pt modelId="{8F93E8EE-2246-4795-BCD0-BC5C1CED47A1}" type="parTrans" cxnId="{231D0640-6F9B-4B08-ADF9-7EBC0226B82B}">
      <dgm:prSet/>
      <dgm:spPr/>
      <dgm:t>
        <a:bodyPr/>
        <a:lstStyle/>
        <a:p>
          <a:endParaRPr lang="en-US"/>
        </a:p>
      </dgm:t>
    </dgm:pt>
    <dgm:pt modelId="{B5C0A802-21BB-425C-B00C-BA658DB75968}" type="sibTrans" cxnId="{231D0640-6F9B-4B08-ADF9-7EBC0226B82B}">
      <dgm:prSet/>
      <dgm:spPr/>
      <dgm:t>
        <a:bodyPr/>
        <a:lstStyle/>
        <a:p>
          <a:endParaRPr lang="en-US"/>
        </a:p>
      </dgm:t>
    </dgm:pt>
    <dgm:pt modelId="{E72CBAA8-0174-47E7-BDD0-6F46A17225C5}">
      <dgm:prSet/>
      <dgm:spPr>
        <a:solidFill>
          <a:srgbClr val="EDC30D"/>
        </a:solidFill>
      </dgm:spPr>
      <dgm:t>
        <a:bodyPr/>
        <a:lstStyle/>
        <a:p>
          <a:r>
            <a:rPr lang="en-US" baseline="0">
              <a:solidFill>
                <a:schemeClr val="tx1"/>
              </a:solidFill>
            </a:rPr>
            <a:t>Reduce Risks</a:t>
          </a:r>
          <a:endParaRPr lang="en-GB">
            <a:solidFill>
              <a:schemeClr val="tx1"/>
            </a:solidFill>
          </a:endParaRPr>
        </a:p>
      </dgm:t>
    </dgm:pt>
    <dgm:pt modelId="{92357006-E5F3-48FF-A314-E43CEB63D0A2}" type="parTrans" cxnId="{1D5D1C28-732A-48FD-95E2-9011DF86E7E4}">
      <dgm:prSet/>
      <dgm:spPr/>
      <dgm:t>
        <a:bodyPr/>
        <a:lstStyle/>
        <a:p>
          <a:endParaRPr lang="en-US"/>
        </a:p>
      </dgm:t>
    </dgm:pt>
    <dgm:pt modelId="{4212D704-32A5-4BAD-BB4E-8723A1A993D0}" type="sibTrans" cxnId="{1D5D1C28-732A-48FD-95E2-9011DF86E7E4}">
      <dgm:prSet/>
      <dgm:spPr/>
      <dgm:t>
        <a:bodyPr/>
        <a:lstStyle/>
        <a:p>
          <a:endParaRPr lang="en-US"/>
        </a:p>
      </dgm:t>
    </dgm:pt>
    <dgm:pt modelId="{34755EEC-1A11-4114-BA4F-4D44EE9FE695}">
      <dgm:prSet/>
      <dgm:spPr>
        <a:solidFill>
          <a:srgbClr val="EDC30D"/>
        </a:solidFill>
      </dgm:spPr>
      <dgm:t>
        <a:bodyPr/>
        <a:lstStyle/>
        <a:p>
          <a:r>
            <a:rPr lang="en-US" baseline="0">
              <a:solidFill>
                <a:schemeClr val="tx1"/>
              </a:solidFill>
            </a:rPr>
            <a:t>Increase user adoption</a:t>
          </a:r>
          <a:endParaRPr lang="en-GB">
            <a:solidFill>
              <a:schemeClr val="tx1"/>
            </a:solidFill>
          </a:endParaRPr>
        </a:p>
      </dgm:t>
    </dgm:pt>
    <dgm:pt modelId="{B5FE9DEE-8ABD-4E56-ADC3-A2A33556905A}" type="parTrans" cxnId="{615ED9BB-3E71-4DCF-B3F6-3DDF8C129E06}">
      <dgm:prSet/>
      <dgm:spPr/>
    </dgm:pt>
    <dgm:pt modelId="{69539E43-5290-419D-B67F-2B70FC89BAC0}" type="sibTrans" cxnId="{615ED9BB-3E71-4DCF-B3F6-3DDF8C129E06}">
      <dgm:prSet/>
      <dgm:spPr/>
    </dgm:pt>
    <dgm:pt modelId="{1363C39E-132F-44FF-9F82-3EB8134AD84C}" type="pres">
      <dgm:prSet presAssocID="{54B536DF-88AC-448D-B540-7F766040127F}" presName="hierChild1" presStyleCnt="0">
        <dgm:presLayoutVars>
          <dgm:orgChart val="1"/>
          <dgm:chPref val="1"/>
          <dgm:dir/>
          <dgm:animOne val="branch"/>
          <dgm:animLvl val="lvl"/>
          <dgm:resizeHandles/>
        </dgm:presLayoutVars>
      </dgm:prSet>
      <dgm:spPr/>
    </dgm:pt>
    <dgm:pt modelId="{FE4C99D6-65BF-48DF-B04A-68EB7417A1B0}" type="pres">
      <dgm:prSet presAssocID="{9018C639-B15B-4ECF-9E83-173C32DF5BB7}" presName="hierRoot1" presStyleCnt="0">
        <dgm:presLayoutVars>
          <dgm:hierBranch val="init"/>
        </dgm:presLayoutVars>
      </dgm:prSet>
      <dgm:spPr/>
    </dgm:pt>
    <dgm:pt modelId="{2712F7D2-D78C-4A52-A407-4516BAF4561D}" type="pres">
      <dgm:prSet presAssocID="{9018C639-B15B-4ECF-9E83-173C32DF5BB7}" presName="rootComposite1" presStyleCnt="0"/>
      <dgm:spPr/>
    </dgm:pt>
    <dgm:pt modelId="{10B685FD-79F8-49D8-B895-E2380080227F}" type="pres">
      <dgm:prSet presAssocID="{9018C639-B15B-4ECF-9E83-173C32DF5BB7}" presName="rootText1" presStyleLbl="node0" presStyleIdx="0" presStyleCnt="2">
        <dgm:presLayoutVars>
          <dgm:chPref val="3"/>
        </dgm:presLayoutVars>
      </dgm:prSet>
      <dgm:spPr/>
    </dgm:pt>
    <dgm:pt modelId="{F901269B-131C-4B8B-8A5C-1A38CEB625BB}" type="pres">
      <dgm:prSet presAssocID="{9018C639-B15B-4ECF-9E83-173C32DF5BB7}" presName="rootConnector1" presStyleLbl="node1" presStyleIdx="0" presStyleCnt="0"/>
      <dgm:spPr/>
    </dgm:pt>
    <dgm:pt modelId="{D3896F1F-A879-4D26-A937-B6BD3CF93672}" type="pres">
      <dgm:prSet presAssocID="{9018C639-B15B-4ECF-9E83-173C32DF5BB7}" presName="hierChild2" presStyleCnt="0"/>
      <dgm:spPr/>
    </dgm:pt>
    <dgm:pt modelId="{D33BB0EA-F195-438F-8A00-24E5C8226EA3}" type="pres">
      <dgm:prSet presAssocID="{4FE4810C-569E-4D3D-9DCC-5469C4726500}" presName="Name64" presStyleLbl="parChTrans1D2" presStyleIdx="0" presStyleCnt="5"/>
      <dgm:spPr/>
    </dgm:pt>
    <dgm:pt modelId="{75679D68-C971-4953-8DBE-59CC76684E30}" type="pres">
      <dgm:prSet presAssocID="{D286143D-BDC1-499D-885B-6D79F1C29B05}" presName="hierRoot2" presStyleCnt="0">
        <dgm:presLayoutVars>
          <dgm:hierBranch val="init"/>
        </dgm:presLayoutVars>
      </dgm:prSet>
      <dgm:spPr/>
    </dgm:pt>
    <dgm:pt modelId="{FEB0C5A7-694E-4F1E-892B-56EDBAA81AB7}" type="pres">
      <dgm:prSet presAssocID="{D286143D-BDC1-499D-885B-6D79F1C29B05}" presName="rootComposite" presStyleCnt="0"/>
      <dgm:spPr/>
    </dgm:pt>
    <dgm:pt modelId="{83A068E7-16B4-4313-9BD7-86F2CC6ED717}" type="pres">
      <dgm:prSet presAssocID="{D286143D-BDC1-499D-885B-6D79F1C29B05}" presName="rootText" presStyleLbl="node2" presStyleIdx="0" presStyleCnt="5">
        <dgm:presLayoutVars>
          <dgm:chPref val="3"/>
        </dgm:presLayoutVars>
      </dgm:prSet>
      <dgm:spPr/>
    </dgm:pt>
    <dgm:pt modelId="{A6480A6F-B9F2-41EE-AF4B-E34F34808E52}" type="pres">
      <dgm:prSet presAssocID="{D286143D-BDC1-499D-885B-6D79F1C29B05}" presName="rootConnector" presStyleLbl="node2" presStyleIdx="0" presStyleCnt="5"/>
      <dgm:spPr/>
    </dgm:pt>
    <dgm:pt modelId="{3B1511B9-2CB6-4EE5-A072-C412CA5E1460}" type="pres">
      <dgm:prSet presAssocID="{D286143D-BDC1-499D-885B-6D79F1C29B05}" presName="hierChild4" presStyleCnt="0"/>
      <dgm:spPr/>
    </dgm:pt>
    <dgm:pt modelId="{3DC5C3BA-4BA4-4B23-9164-FE3A9D3B6DC8}" type="pres">
      <dgm:prSet presAssocID="{D286143D-BDC1-499D-885B-6D79F1C29B05}" presName="hierChild5" presStyleCnt="0"/>
      <dgm:spPr/>
    </dgm:pt>
    <dgm:pt modelId="{501FCC22-A997-4163-86D1-18CF96D2C847}" type="pres">
      <dgm:prSet presAssocID="{79AF086F-88DA-49F5-86D3-1F5481FED651}" presName="Name64" presStyleLbl="parChTrans1D2" presStyleIdx="1" presStyleCnt="5"/>
      <dgm:spPr/>
    </dgm:pt>
    <dgm:pt modelId="{73DC2737-AE28-4599-BF47-8A413BD88520}" type="pres">
      <dgm:prSet presAssocID="{D986FB5D-0CA7-4649-B32F-B5E0E933678C}" presName="hierRoot2" presStyleCnt="0">
        <dgm:presLayoutVars>
          <dgm:hierBranch val="init"/>
        </dgm:presLayoutVars>
      </dgm:prSet>
      <dgm:spPr/>
    </dgm:pt>
    <dgm:pt modelId="{67A19D61-B496-4CCB-B6FD-094B27937291}" type="pres">
      <dgm:prSet presAssocID="{D986FB5D-0CA7-4649-B32F-B5E0E933678C}" presName="rootComposite" presStyleCnt="0"/>
      <dgm:spPr/>
    </dgm:pt>
    <dgm:pt modelId="{808B666D-E5F6-46A6-9724-A881F7C0FFFF}" type="pres">
      <dgm:prSet presAssocID="{D986FB5D-0CA7-4649-B32F-B5E0E933678C}" presName="rootText" presStyleLbl="node2" presStyleIdx="1" presStyleCnt="5">
        <dgm:presLayoutVars>
          <dgm:chPref val="3"/>
        </dgm:presLayoutVars>
      </dgm:prSet>
      <dgm:spPr/>
    </dgm:pt>
    <dgm:pt modelId="{2C41F697-0E28-482E-AA48-4CE8F1252801}" type="pres">
      <dgm:prSet presAssocID="{D986FB5D-0CA7-4649-B32F-B5E0E933678C}" presName="rootConnector" presStyleLbl="node2" presStyleIdx="1" presStyleCnt="5"/>
      <dgm:spPr/>
    </dgm:pt>
    <dgm:pt modelId="{516FE777-892C-4934-BD88-8A7C99F99675}" type="pres">
      <dgm:prSet presAssocID="{D986FB5D-0CA7-4649-B32F-B5E0E933678C}" presName="hierChild4" presStyleCnt="0"/>
      <dgm:spPr/>
    </dgm:pt>
    <dgm:pt modelId="{9391B30D-6099-4F7D-931E-5CA5E50A3576}" type="pres">
      <dgm:prSet presAssocID="{D986FB5D-0CA7-4649-B32F-B5E0E933678C}" presName="hierChild5" presStyleCnt="0"/>
      <dgm:spPr/>
    </dgm:pt>
    <dgm:pt modelId="{3FB5198A-F36E-40C3-9614-823EDC5B678C}" type="pres">
      <dgm:prSet presAssocID="{9018C639-B15B-4ECF-9E83-173C32DF5BB7}" presName="hierChild3" presStyleCnt="0"/>
      <dgm:spPr/>
    </dgm:pt>
    <dgm:pt modelId="{F358C963-5BE0-455B-949E-74397151E2C2}" type="pres">
      <dgm:prSet presAssocID="{98DD8F22-E018-49A8-8200-C232B9919179}" presName="hierRoot1" presStyleCnt="0">
        <dgm:presLayoutVars>
          <dgm:hierBranch val="init"/>
        </dgm:presLayoutVars>
      </dgm:prSet>
      <dgm:spPr/>
    </dgm:pt>
    <dgm:pt modelId="{6C3F996A-64B7-4D11-A5A7-2B626E9DBC61}" type="pres">
      <dgm:prSet presAssocID="{98DD8F22-E018-49A8-8200-C232B9919179}" presName="rootComposite1" presStyleCnt="0"/>
      <dgm:spPr/>
    </dgm:pt>
    <dgm:pt modelId="{16BDD1B1-6573-49A9-B5D7-5900380DA9FE}" type="pres">
      <dgm:prSet presAssocID="{98DD8F22-E018-49A8-8200-C232B9919179}" presName="rootText1" presStyleLbl="node0" presStyleIdx="1" presStyleCnt="2">
        <dgm:presLayoutVars>
          <dgm:chPref val="3"/>
        </dgm:presLayoutVars>
      </dgm:prSet>
      <dgm:spPr/>
    </dgm:pt>
    <dgm:pt modelId="{64294F2E-0A55-4FF7-B70A-76D6ADF390AD}" type="pres">
      <dgm:prSet presAssocID="{98DD8F22-E018-49A8-8200-C232B9919179}" presName="rootConnector1" presStyleLbl="node1" presStyleIdx="0" presStyleCnt="0"/>
      <dgm:spPr/>
    </dgm:pt>
    <dgm:pt modelId="{7BEC5FF6-C856-4846-A476-DB98A7D46425}" type="pres">
      <dgm:prSet presAssocID="{98DD8F22-E018-49A8-8200-C232B9919179}" presName="hierChild2" presStyleCnt="0"/>
      <dgm:spPr/>
    </dgm:pt>
    <dgm:pt modelId="{38CAB2FC-CDD3-4A35-A221-9A549B4B8A33}" type="pres">
      <dgm:prSet presAssocID="{8F93E8EE-2246-4795-BCD0-BC5C1CED47A1}" presName="Name64" presStyleLbl="parChTrans1D2" presStyleIdx="2" presStyleCnt="5"/>
      <dgm:spPr/>
    </dgm:pt>
    <dgm:pt modelId="{FF5D2CCD-1E7D-4B64-B325-D5829E55109C}" type="pres">
      <dgm:prSet presAssocID="{2A7F442F-C5C9-4D5B-9D3B-5D1C13AEC459}" presName="hierRoot2" presStyleCnt="0">
        <dgm:presLayoutVars>
          <dgm:hierBranch val="init"/>
        </dgm:presLayoutVars>
      </dgm:prSet>
      <dgm:spPr/>
    </dgm:pt>
    <dgm:pt modelId="{0654D5FE-0349-4776-A15E-F58FDDE363B8}" type="pres">
      <dgm:prSet presAssocID="{2A7F442F-C5C9-4D5B-9D3B-5D1C13AEC459}" presName="rootComposite" presStyleCnt="0"/>
      <dgm:spPr/>
    </dgm:pt>
    <dgm:pt modelId="{1EADD7DE-598F-474D-8DE1-B38E166EFCE4}" type="pres">
      <dgm:prSet presAssocID="{2A7F442F-C5C9-4D5B-9D3B-5D1C13AEC459}" presName="rootText" presStyleLbl="node2" presStyleIdx="2" presStyleCnt="5">
        <dgm:presLayoutVars>
          <dgm:chPref val="3"/>
        </dgm:presLayoutVars>
      </dgm:prSet>
      <dgm:spPr/>
    </dgm:pt>
    <dgm:pt modelId="{BDE4A4FF-134F-4B07-9A39-8219F99B66D2}" type="pres">
      <dgm:prSet presAssocID="{2A7F442F-C5C9-4D5B-9D3B-5D1C13AEC459}" presName="rootConnector" presStyleLbl="node2" presStyleIdx="2" presStyleCnt="5"/>
      <dgm:spPr/>
    </dgm:pt>
    <dgm:pt modelId="{FE7F874B-5677-4740-8EE2-C4117C1D5D5F}" type="pres">
      <dgm:prSet presAssocID="{2A7F442F-C5C9-4D5B-9D3B-5D1C13AEC459}" presName="hierChild4" presStyleCnt="0"/>
      <dgm:spPr/>
    </dgm:pt>
    <dgm:pt modelId="{A801AF83-E4AA-40B2-BD76-3DA93FAE1075}" type="pres">
      <dgm:prSet presAssocID="{2A7F442F-C5C9-4D5B-9D3B-5D1C13AEC459}" presName="hierChild5" presStyleCnt="0"/>
      <dgm:spPr/>
    </dgm:pt>
    <dgm:pt modelId="{9E03AE5D-C23A-46B8-B964-A46B90DA0053}" type="pres">
      <dgm:prSet presAssocID="{92357006-E5F3-48FF-A314-E43CEB63D0A2}" presName="Name64" presStyleLbl="parChTrans1D2" presStyleIdx="3" presStyleCnt="5"/>
      <dgm:spPr/>
    </dgm:pt>
    <dgm:pt modelId="{BE3B835F-577C-4B9A-A3C6-A25D20389131}" type="pres">
      <dgm:prSet presAssocID="{E72CBAA8-0174-47E7-BDD0-6F46A17225C5}" presName="hierRoot2" presStyleCnt="0">
        <dgm:presLayoutVars>
          <dgm:hierBranch val="init"/>
        </dgm:presLayoutVars>
      </dgm:prSet>
      <dgm:spPr/>
    </dgm:pt>
    <dgm:pt modelId="{CC9094CE-5ED4-417A-B638-F8828CDF3FD5}" type="pres">
      <dgm:prSet presAssocID="{E72CBAA8-0174-47E7-BDD0-6F46A17225C5}" presName="rootComposite" presStyleCnt="0"/>
      <dgm:spPr/>
    </dgm:pt>
    <dgm:pt modelId="{0340B2DA-10AB-4A2C-B5B3-1D09FB4689EE}" type="pres">
      <dgm:prSet presAssocID="{E72CBAA8-0174-47E7-BDD0-6F46A17225C5}" presName="rootText" presStyleLbl="node2" presStyleIdx="3" presStyleCnt="5">
        <dgm:presLayoutVars>
          <dgm:chPref val="3"/>
        </dgm:presLayoutVars>
      </dgm:prSet>
      <dgm:spPr/>
    </dgm:pt>
    <dgm:pt modelId="{80B03C1E-6337-4C16-BA97-9C346D39A2E9}" type="pres">
      <dgm:prSet presAssocID="{E72CBAA8-0174-47E7-BDD0-6F46A17225C5}" presName="rootConnector" presStyleLbl="node2" presStyleIdx="3" presStyleCnt="5"/>
      <dgm:spPr/>
    </dgm:pt>
    <dgm:pt modelId="{BEDDD4D5-198B-4E07-9850-AACE2E3A0A8B}" type="pres">
      <dgm:prSet presAssocID="{E72CBAA8-0174-47E7-BDD0-6F46A17225C5}" presName="hierChild4" presStyleCnt="0"/>
      <dgm:spPr/>
    </dgm:pt>
    <dgm:pt modelId="{CA2F93E0-E501-48BE-ABF0-500B0D3BA84B}" type="pres">
      <dgm:prSet presAssocID="{E72CBAA8-0174-47E7-BDD0-6F46A17225C5}" presName="hierChild5" presStyleCnt="0"/>
      <dgm:spPr/>
    </dgm:pt>
    <dgm:pt modelId="{BF6A2EDE-993A-4893-826D-AF4E7107BFF0}" type="pres">
      <dgm:prSet presAssocID="{B5FE9DEE-8ABD-4E56-ADC3-A2A33556905A}" presName="Name64" presStyleLbl="parChTrans1D2" presStyleIdx="4" presStyleCnt="5"/>
      <dgm:spPr/>
    </dgm:pt>
    <dgm:pt modelId="{0BD332BB-A0B9-4451-8D83-E705C568F857}" type="pres">
      <dgm:prSet presAssocID="{34755EEC-1A11-4114-BA4F-4D44EE9FE695}" presName="hierRoot2" presStyleCnt="0">
        <dgm:presLayoutVars>
          <dgm:hierBranch val="init"/>
        </dgm:presLayoutVars>
      </dgm:prSet>
      <dgm:spPr/>
    </dgm:pt>
    <dgm:pt modelId="{B1A2C359-B502-41A2-924C-E8346DE2FC7E}" type="pres">
      <dgm:prSet presAssocID="{34755EEC-1A11-4114-BA4F-4D44EE9FE695}" presName="rootComposite" presStyleCnt="0"/>
      <dgm:spPr/>
    </dgm:pt>
    <dgm:pt modelId="{74BE0ADB-6336-415F-9DCE-A816E2F16C27}" type="pres">
      <dgm:prSet presAssocID="{34755EEC-1A11-4114-BA4F-4D44EE9FE695}" presName="rootText" presStyleLbl="node2" presStyleIdx="4" presStyleCnt="5">
        <dgm:presLayoutVars>
          <dgm:chPref val="3"/>
        </dgm:presLayoutVars>
      </dgm:prSet>
      <dgm:spPr/>
    </dgm:pt>
    <dgm:pt modelId="{39EF86C4-52C9-4059-8D66-DE9E16D39188}" type="pres">
      <dgm:prSet presAssocID="{34755EEC-1A11-4114-BA4F-4D44EE9FE695}" presName="rootConnector" presStyleLbl="node2" presStyleIdx="4" presStyleCnt="5"/>
      <dgm:spPr/>
    </dgm:pt>
    <dgm:pt modelId="{44335B97-9215-4D40-BD83-62AD515686F3}" type="pres">
      <dgm:prSet presAssocID="{34755EEC-1A11-4114-BA4F-4D44EE9FE695}" presName="hierChild4" presStyleCnt="0"/>
      <dgm:spPr/>
    </dgm:pt>
    <dgm:pt modelId="{BBBB63B8-3715-4751-AF15-CD7BAFE3D5AD}" type="pres">
      <dgm:prSet presAssocID="{34755EEC-1A11-4114-BA4F-4D44EE9FE695}" presName="hierChild5" presStyleCnt="0"/>
      <dgm:spPr/>
    </dgm:pt>
    <dgm:pt modelId="{94CD9E86-7D3C-4C22-B9AF-4795860EAE86}" type="pres">
      <dgm:prSet presAssocID="{98DD8F22-E018-49A8-8200-C232B9919179}" presName="hierChild3" presStyleCnt="0"/>
      <dgm:spPr/>
    </dgm:pt>
  </dgm:ptLst>
  <dgm:cxnLst>
    <dgm:cxn modelId="{47052E07-42ED-4A58-BDDB-587A7F93C4A0}" type="presOf" srcId="{2A7F442F-C5C9-4D5B-9D3B-5D1C13AEC459}" destId="{BDE4A4FF-134F-4B07-9A39-8219F99B66D2}" srcOrd="1" destOrd="0" presId="urn:microsoft.com/office/officeart/2009/3/layout/HorizontalOrganizationChart"/>
    <dgm:cxn modelId="{6540550E-7387-4422-8DD9-BBC8D3E8F983}" type="presOf" srcId="{92357006-E5F3-48FF-A314-E43CEB63D0A2}" destId="{9E03AE5D-C23A-46B8-B964-A46B90DA0053}" srcOrd="0" destOrd="0" presId="urn:microsoft.com/office/officeart/2009/3/layout/HorizontalOrganizationChart"/>
    <dgm:cxn modelId="{4AD5D91D-1CCB-44FD-B5D0-E93F2F624FE4}" type="presOf" srcId="{98DD8F22-E018-49A8-8200-C232B9919179}" destId="{16BDD1B1-6573-49A9-B5D7-5900380DA9FE}" srcOrd="0" destOrd="0" presId="urn:microsoft.com/office/officeart/2009/3/layout/HorizontalOrganizationChart"/>
    <dgm:cxn modelId="{BDA5D81E-D8A2-4135-93DA-D88024CAC265}" type="presOf" srcId="{54B536DF-88AC-448D-B540-7F766040127F}" destId="{1363C39E-132F-44FF-9F82-3EB8134AD84C}" srcOrd="0" destOrd="0" presId="urn:microsoft.com/office/officeart/2009/3/layout/HorizontalOrganizationChart"/>
    <dgm:cxn modelId="{E4DCEA1E-7A31-4612-8569-68B5823D93BA}" type="presOf" srcId="{B5FE9DEE-8ABD-4E56-ADC3-A2A33556905A}" destId="{BF6A2EDE-993A-4893-826D-AF4E7107BFF0}" srcOrd="0" destOrd="0" presId="urn:microsoft.com/office/officeart/2009/3/layout/HorizontalOrganizationChart"/>
    <dgm:cxn modelId="{1D5D1C28-732A-48FD-95E2-9011DF86E7E4}" srcId="{98DD8F22-E018-49A8-8200-C232B9919179}" destId="{E72CBAA8-0174-47E7-BDD0-6F46A17225C5}" srcOrd="1" destOrd="0" parTransId="{92357006-E5F3-48FF-A314-E43CEB63D0A2}" sibTransId="{4212D704-32A5-4BAD-BB4E-8723A1A993D0}"/>
    <dgm:cxn modelId="{4A511D28-F3B9-4E5C-8506-92638D8D5EC0}" type="presOf" srcId="{9018C639-B15B-4ECF-9E83-173C32DF5BB7}" destId="{10B685FD-79F8-49D8-B895-E2380080227F}" srcOrd="0" destOrd="0" presId="urn:microsoft.com/office/officeart/2009/3/layout/HorizontalOrganizationChart"/>
    <dgm:cxn modelId="{FCB73433-2B28-4194-9BB0-D2CE51054184}" type="presOf" srcId="{4FE4810C-569E-4D3D-9DCC-5469C4726500}" destId="{D33BB0EA-F195-438F-8A00-24E5C8226EA3}" srcOrd="0" destOrd="0" presId="urn:microsoft.com/office/officeart/2009/3/layout/HorizontalOrganizationChart"/>
    <dgm:cxn modelId="{C3587C3A-D855-4B93-BF19-85DFE0DB642C}" type="presOf" srcId="{8F93E8EE-2246-4795-BCD0-BC5C1CED47A1}" destId="{38CAB2FC-CDD3-4A35-A221-9A549B4B8A33}" srcOrd="0" destOrd="0" presId="urn:microsoft.com/office/officeart/2009/3/layout/HorizontalOrganizationChart"/>
    <dgm:cxn modelId="{231D0640-6F9B-4B08-ADF9-7EBC0226B82B}" srcId="{98DD8F22-E018-49A8-8200-C232B9919179}" destId="{2A7F442F-C5C9-4D5B-9D3B-5D1C13AEC459}" srcOrd="0" destOrd="0" parTransId="{8F93E8EE-2246-4795-BCD0-BC5C1CED47A1}" sibTransId="{B5C0A802-21BB-425C-B00C-BA658DB75968}"/>
    <dgm:cxn modelId="{BCD1EA49-D2E3-4135-9467-CE7C3479810F}" srcId="{54B536DF-88AC-448D-B540-7F766040127F}" destId="{98DD8F22-E018-49A8-8200-C232B9919179}" srcOrd="1" destOrd="0" parTransId="{23AAD0B8-6377-4E25-9840-1E19B38F7EBE}" sibTransId="{40B031A4-925D-465A-BC64-C47E998C7334}"/>
    <dgm:cxn modelId="{1EDEB275-21FB-4886-BA88-6E2EA570486C}" type="presOf" srcId="{34755EEC-1A11-4114-BA4F-4D44EE9FE695}" destId="{74BE0ADB-6336-415F-9DCE-A816E2F16C27}" srcOrd="0" destOrd="0" presId="urn:microsoft.com/office/officeart/2009/3/layout/HorizontalOrganizationChart"/>
    <dgm:cxn modelId="{309DA778-E786-435F-93EE-EF7C069CE8A5}" type="presOf" srcId="{34755EEC-1A11-4114-BA4F-4D44EE9FE695}" destId="{39EF86C4-52C9-4059-8D66-DE9E16D39188}" srcOrd="1" destOrd="0" presId="urn:microsoft.com/office/officeart/2009/3/layout/HorizontalOrganizationChart"/>
    <dgm:cxn modelId="{32C5F25A-A474-478F-B156-867731C4A4B5}" type="presOf" srcId="{98DD8F22-E018-49A8-8200-C232B9919179}" destId="{64294F2E-0A55-4FF7-B70A-76D6ADF390AD}" srcOrd="1" destOrd="0" presId="urn:microsoft.com/office/officeart/2009/3/layout/HorizontalOrganizationChart"/>
    <dgm:cxn modelId="{F3781280-3761-4F1F-9491-FF8A2EA5EC9C}" type="presOf" srcId="{D286143D-BDC1-499D-885B-6D79F1C29B05}" destId="{83A068E7-16B4-4313-9BD7-86F2CC6ED717}" srcOrd="0" destOrd="0" presId="urn:microsoft.com/office/officeart/2009/3/layout/HorizontalOrganizationChart"/>
    <dgm:cxn modelId="{B8DF1689-63C7-43D8-97CC-C6106E681453}" type="presOf" srcId="{E72CBAA8-0174-47E7-BDD0-6F46A17225C5}" destId="{80B03C1E-6337-4C16-BA97-9C346D39A2E9}" srcOrd="1" destOrd="0" presId="urn:microsoft.com/office/officeart/2009/3/layout/HorizontalOrganizationChart"/>
    <dgm:cxn modelId="{A891B08A-052E-4AF3-A09B-1520015F3526}" srcId="{9018C639-B15B-4ECF-9E83-173C32DF5BB7}" destId="{D986FB5D-0CA7-4649-B32F-B5E0E933678C}" srcOrd="1" destOrd="0" parTransId="{79AF086F-88DA-49F5-86D3-1F5481FED651}" sibTransId="{9680EFFC-479C-4258-AE83-BCC14469C9D3}"/>
    <dgm:cxn modelId="{7E08D08F-C0F9-417B-8132-83B45B41F630}" srcId="{54B536DF-88AC-448D-B540-7F766040127F}" destId="{9018C639-B15B-4ECF-9E83-173C32DF5BB7}" srcOrd="0" destOrd="0" parTransId="{B4EC6EBF-21C2-480E-87B2-7F1A073B6359}" sibTransId="{4E855D6E-212E-406F-9D3B-844BE56C2D9A}"/>
    <dgm:cxn modelId="{ECC8F599-9FC0-4A9F-A986-2AD79CAA0521}" type="presOf" srcId="{D986FB5D-0CA7-4649-B32F-B5E0E933678C}" destId="{808B666D-E5F6-46A6-9724-A881F7C0FFFF}" srcOrd="0" destOrd="0" presId="urn:microsoft.com/office/officeart/2009/3/layout/HorizontalOrganizationChart"/>
    <dgm:cxn modelId="{90ECF5A4-17DA-4854-ADA9-3FD14EA73AC6}" type="presOf" srcId="{79AF086F-88DA-49F5-86D3-1F5481FED651}" destId="{501FCC22-A997-4163-86D1-18CF96D2C847}" srcOrd="0" destOrd="0" presId="urn:microsoft.com/office/officeart/2009/3/layout/HorizontalOrganizationChart"/>
    <dgm:cxn modelId="{2079EAA9-2BC6-4044-AB0C-77E5E63E8028}" type="presOf" srcId="{2A7F442F-C5C9-4D5B-9D3B-5D1C13AEC459}" destId="{1EADD7DE-598F-474D-8DE1-B38E166EFCE4}" srcOrd="0" destOrd="0" presId="urn:microsoft.com/office/officeart/2009/3/layout/HorizontalOrganizationChart"/>
    <dgm:cxn modelId="{32B858B2-4930-4243-A6E4-17F4579F2AE2}" srcId="{9018C639-B15B-4ECF-9E83-173C32DF5BB7}" destId="{D286143D-BDC1-499D-885B-6D79F1C29B05}" srcOrd="0" destOrd="0" parTransId="{4FE4810C-569E-4D3D-9DCC-5469C4726500}" sibTransId="{18485489-1EC0-4AD0-B01F-90A2A7581FA1}"/>
    <dgm:cxn modelId="{615ED9BB-3E71-4DCF-B3F6-3DDF8C129E06}" srcId="{98DD8F22-E018-49A8-8200-C232B9919179}" destId="{34755EEC-1A11-4114-BA4F-4D44EE9FE695}" srcOrd="2" destOrd="0" parTransId="{B5FE9DEE-8ABD-4E56-ADC3-A2A33556905A}" sibTransId="{69539E43-5290-419D-B67F-2B70FC89BAC0}"/>
    <dgm:cxn modelId="{27256ABC-32D3-4510-9045-0DA7755EC462}" type="presOf" srcId="{E72CBAA8-0174-47E7-BDD0-6F46A17225C5}" destId="{0340B2DA-10AB-4A2C-B5B3-1D09FB4689EE}" srcOrd="0" destOrd="0" presId="urn:microsoft.com/office/officeart/2009/3/layout/HorizontalOrganizationChart"/>
    <dgm:cxn modelId="{46E0F0D3-4482-4223-BC6D-87E35DB33BA4}" type="presOf" srcId="{D986FB5D-0CA7-4649-B32F-B5E0E933678C}" destId="{2C41F697-0E28-482E-AA48-4CE8F1252801}" srcOrd="1" destOrd="0" presId="urn:microsoft.com/office/officeart/2009/3/layout/HorizontalOrganizationChart"/>
    <dgm:cxn modelId="{048D48DB-9E44-4545-897E-28702C0E184F}" type="presOf" srcId="{D286143D-BDC1-499D-885B-6D79F1C29B05}" destId="{A6480A6F-B9F2-41EE-AF4B-E34F34808E52}" srcOrd="1" destOrd="0" presId="urn:microsoft.com/office/officeart/2009/3/layout/HorizontalOrganizationChart"/>
    <dgm:cxn modelId="{9CFFEBDD-A97F-4725-8E34-1D3BF03F80C1}" type="presOf" srcId="{9018C639-B15B-4ECF-9E83-173C32DF5BB7}" destId="{F901269B-131C-4B8B-8A5C-1A38CEB625BB}" srcOrd="1" destOrd="0" presId="urn:microsoft.com/office/officeart/2009/3/layout/HorizontalOrganizationChart"/>
    <dgm:cxn modelId="{39FB46A7-F5F2-440D-B78D-549A3DA33BCC}" type="presParOf" srcId="{1363C39E-132F-44FF-9F82-3EB8134AD84C}" destId="{FE4C99D6-65BF-48DF-B04A-68EB7417A1B0}" srcOrd="0" destOrd="0" presId="urn:microsoft.com/office/officeart/2009/3/layout/HorizontalOrganizationChart"/>
    <dgm:cxn modelId="{DEAA98D4-A1DC-4864-A1DB-2AC20E7407D9}" type="presParOf" srcId="{FE4C99D6-65BF-48DF-B04A-68EB7417A1B0}" destId="{2712F7D2-D78C-4A52-A407-4516BAF4561D}" srcOrd="0" destOrd="0" presId="urn:microsoft.com/office/officeart/2009/3/layout/HorizontalOrganizationChart"/>
    <dgm:cxn modelId="{B7029028-C309-45A4-86E7-3C73BF92C1B4}" type="presParOf" srcId="{2712F7D2-D78C-4A52-A407-4516BAF4561D}" destId="{10B685FD-79F8-49D8-B895-E2380080227F}" srcOrd="0" destOrd="0" presId="urn:microsoft.com/office/officeart/2009/3/layout/HorizontalOrganizationChart"/>
    <dgm:cxn modelId="{74147E6B-921D-444C-B57B-F301FF6EDB67}" type="presParOf" srcId="{2712F7D2-D78C-4A52-A407-4516BAF4561D}" destId="{F901269B-131C-4B8B-8A5C-1A38CEB625BB}" srcOrd="1" destOrd="0" presId="urn:microsoft.com/office/officeart/2009/3/layout/HorizontalOrganizationChart"/>
    <dgm:cxn modelId="{D5D86390-4CB6-4BB1-A96F-10C6430CF7CD}" type="presParOf" srcId="{FE4C99D6-65BF-48DF-B04A-68EB7417A1B0}" destId="{D3896F1F-A879-4D26-A937-B6BD3CF93672}" srcOrd="1" destOrd="0" presId="urn:microsoft.com/office/officeart/2009/3/layout/HorizontalOrganizationChart"/>
    <dgm:cxn modelId="{41052341-BAE4-479E-8EA3-D101E9C426B5}" type="presParOf" srcId="{D3896F1F-A879-4D26-A937-B6BD3CF93672}" destId="{D33BB0EA-F195-438F-8A00-24E5C8226EA3}" srcOrd="0" destOrd="0" presId="urn:microsoft.com/office/officeart/2009/3/layout/HorizontalOrganizationChart"/>
    <dgm:cxn modelId="{2CE43E30-C6CB-4852-9BE3-2A881C6B38B3}" type="presParOf" srcId="{D3896F1F-A879-4D26-A937-B6BD3CF93672}" destId="{75679D68-C971-4953-8DBE-59CC76684E30}" srcOrd="1" destOrd="0" presId="urn:microsoft.com/office/officeart/2009/3/layout/HorizontalOrganizationChart"/>
    <dgm:cxn modelId="{264D18BA-F43E-4500-982F-B7355FDCE074}" type="presParOf" srcId="{75679D68-C971-4953-8DBE-59CC76684E30}" destId="{FEB0C5A7-694E-4F1E-892B-56EDBAA81AB7}" srcOrd="0" destOrd="0" presId="urn:microsoft.com/office/officeart/2009/3/layout/HorizontalOrganizationChart"/>
    <dgm:cxn modelId="{64A017D5-F549-4EBC-B307-294976C97194}" type="presParOf" srcId="{FEB0C5A7-694E-4F1E-892B-56EDBAA81AB7}" destId="{83A068E7-16B4-4313-9BD7-86F2CC6ED717}" srcOrd="0" destOrd="0" presId="urn:microsoft.com/office/officeart/2009/3/layout/HorizontalOrganizationChart"/>
    <dgm:cxn modelId="{4E7512E0-3F1F-402B-9CED-0F934E58E3AF}" type="presParOf" srcId="{FEB0C5A7-694E-4F1E-892B-56EDBAA81AB7}" destId="{A6480A6F-B9F2-41EE-AF4B-E34F34808E52}" srcOrd="1" destOrd="0" presId="urn:microsoft.com/office/officeart/2009/3/layout/HorizontalOrganizationChart"/>
    <dgm:cxn modelId="{ADDD7AEB-DE67-4AF7-81D2-6ADB471E1AB0}" type="presParOf" srcId="{75679D68-C971-4953-8DBE-59CC76684E30}" destId="{3B1511B9-2CB6-4EE5-A072-C412CA5E1460}" srcOrd="1" destOrd="0" presId="urn:microsoft.com/office/officeart/2009/3/layout/HorizontalOrganizationChart"/>
    <dgm:cxn modelId="{A5E97885-9434-4CFE-B5BD-5C6A4C7F942B}" type="presParOf" srcId="{75679D68-C971-4953-8DBE-59CC76684E30}" destId="{3DC5C3BA-4BA4-4B23-9164-FE3A9D3B6DC8}" srcOrd="2" destOrd="0" presId="urn:microsoft.com/office/officeart/2009/3/layout/HorizontalOrganizationChart"/>
    <dgm:cxn modelId="{62A9E393-FDC5-4F50-A527-82A512120756}" type="presParOf" srcId="{D3896F1F-A879-4D26-A937-B6BD3CF93672}" destId="{501FCC22-A997-4163-86D1-18CF96D2C847}" srcOrd="2" destOrd="0" presId="urn:microsoft.com/office/officeart/2009/3/layout/HorizontalOrganizationChart"/>
    <dgm:cxn modelId="{6F22BCC9-036F-4989-B200-A3A925C25A48}" type="presParOf" srcId="{D3896F1F-A879-4D26-A937-B6BD3CF93672}" destId="{73DC2737-AE28-4599-BF47-8A413BD88520}" srcOrd="3" destOrd="0" presId="urn:microsoft.com/office/officeart/2009/3/layout/HorizontalOrganizationChart"/>
    <dgm:cxn modelId="{AED4EE52-86F0-4465-9633-007F0A171E12}" type="presParOf" srcId="{73DC2737-AE28-4599-BF47-8A413BD88520}" destId="{67A19D61-B496-4CCB-B6FD-094B27937291}" srcOrd="0" destOrd="0" presId="urn:microsoft.com/office/officeart/2009/3/layout/HorizontalOrganizationChart"/>
    <dgm:cxn modelId="{C70E4719-5935-408F-8C57-D4642DEA0B6D}" type="presParOf" srcId="{67A19D61-B496-4CCB-B6FD-094B27937291}" destId="{808B666D-E5F6-46A6-9724-A881F7C0FFFF}" srcOrd="0" destOrd="0" presId="urn:microsoft.com/office/officeart/2009/3/layout/HorizontalOrganizationChart"/>
    <dgm:cxn modelId="{8392755B-C5A6-431D-8C62-369A4C09D954}" type="presParOf" srcId="{67A19D61-B496-4CCB-B6FD-094B27937291}" destId="{2C41F697-0E28-482E-AA48-4CE8F1252801}" srcOrd="1" destOrd="0" presId="urn:microsoft.com/office/officeart/2009/3/layout/HorizontalOrganizationChart"/>
    <dgm:cxn modelId="{0B641C22-F483-484A-B0A7-3913493AC680}" type="presParOf" srcId="{73DC2737-AE28-4599-BF47-8A413BD88520}" destId="{516FE777-892C-4934-BD88-8A7C99F99675}" srcOrd="1" destOrd="0" presId="urn:microsoft.com/office/officeart/2009/3/layout/HorizontalOrganizationChart"/>
    <dgm:cxn modelId="{1AA587C5-6469-409A-B845-78E4E238DE05}" type="presParOf" srcId="{73DC2737-AE28-4599-BF47-8A413BD88520}" destId="{9391B30D-6099-4F7D-931E-5CA5E50A3576}" srcOrd="2" destOrd="0" presId="urn:microsoft.com/office/officeart/2009/3/layout/HorizontalOrganizationChart"/>
    <dgm:cxn modelId="{1FF5C01D-F94D-4B99-9D05-7FB2CC43FEAA}" type="presParOf" srcId="{FE4C99D6-65BF-48DF-B04A-68EB7417A1B0}" destId="{3FB5198A-F36E-40C3-9614-823EDC5B678C}" srcOrd="2" destOrd="0" presId="urn:microsoft.com/office/officeart/2009/3/layout/HorizontalOrganizationChart"/>
    <dgm:cxn modelId="{80BAFF79-1795-4711-89FA-E7B31E2DC74E}" type="presParOf" srcId="{1363C39E-132F-44FF-9F82-3EB8134AD84C}" destId="{F358C963-5BE0-455B-949E-74397151E2C2}" srcOrd="1" destOrd="0" presId="urn:microsoft.com/office/officeart/2009/3/layout/HorizontalOrganizationChart"/>
    <dgm:cxn modelId="{18F199BA-C267-4DD8-93BA-5E0EAF1E5EEC}" type="presParOf" srcId="{F358C963-5BE0-455B-949E-74397151E2C2}" destId="{6C3F996A-64B7-4D11-A5A7-2B626E9DBC61}" srcOrd="0" destOrd="0" presId="urn:microsoft.com/office/officeart/2009/3/layout/HorizontalOrganizationChart"/>
    <dgm:cxn modelId="{92FD325C-CA69-4B11-897D-D3CFB6452D75}" type="presParOf" srcId="{6C3F996A-64B7-4D11-A5A7-2B626E9DBC61}" destId="{16BDD1B1-6573-49A9-B5D7-5900380DA9FE}" srcOrd="0" destOrd="0" presId="urn:microsoft.com/office/officeart/2009/3/layout/HorizontalOrganizationChart"/>
    <dgm:cxn modelId="{07208AF7-6A86-4DD8-A399-7AD6CF4A0DB3}" type="presParOf" srcId="{6C3F996A-64B7-4D11-A5A7-2B626E9DBC61}" destId="{64294F2E-0A55-4FF7-B70A-76D6ADF390AD}" srcOrd="1" destOrd="0" presId="urn:microsoft.com/office/officeart/2009/3/layout/HorizontalOrganizationChart"/>
    <dgm:cxn modelId="{BC44D588-C5B5-4DA2-97C0-5DD18E633E84}" type="presParOf" srcId="{F358C963-5BE0-455B-949E-74397151E2C2}" destId="{7BEC5FF6-C856-4846-A476-DB98A7D46425}" srcOrd="1" destOrd="0" presId="urn:microsoft.com/office/officeart/2009/3/layout/HorizontalOrganizationChart"/>
    <dgm:cxn modelId="{825DA910-7FE6-43C3-B7BD-6CD71C5F916F}" type="presParOf" srcId="{7BEC5FF6-C856-4846-A476-DB98A7D46425}" destId="{38CAB2FC-CDD3-4A35-A221-9A549B4B8A33}" srcOrd="0" destOrd="0" presId="urn:microsoft.com/office/officeart/2009/3/layout/HorizontalOrganizationChart"/>
    <dgm:cxn modelId="{5BF5608B-0FC4-4742-AA0B-4A51DBB80BF0}" type="presParOf" srcId="{7BEC5FF6-C856-4846-A476-DB98A7D46425}" destId="{FF5D2CCD-1E7D-4B64-B325-D5829E55109C}" srcOrd="1" destOrd="0" presId="urn:microsoft.com/office/officeart/2009/3/layout/HorizontalOrganizationChart"/>
    <dgm:cxn modelId="{39E13800-6247-4274-92BD-C544F3A6D6CB}" type="presParOf" srcId="{FF5D2CCD-1E7D-4B64-B325-D5829E55109C}" destId="{0654D5FE-0349-4776-A15E-F58FDDE363B8}" srcOrd="0" destOrd="0" presId="urn:microsoft.com/office/officeart/2009/3/layout/HorizontalOrganizationChart"/>
    <dgm:cxn modelId="{3C497C5B-DE9C-44D5-9184-0A9F89AAAE0B}" type="presParOf" srcId="{0654D5FE-0349-4776-A15E-F58FDDE363B8}" destId="{1EADD7DE-598F-474D-8DE1-B38E166EFCE4}" srcOrd="0" destOrd="0" presId="urn:microsoft.com/office/officeart/2009/3/layout/HorizontalOrganizationChart"/>
    <dgm:cxn modelId="{A1C59128-9B43-4DEA-8393-22C797358785}" type="presParOf" srcId="{0654D5FE-0349-4776-A15E-F58FDDE363B8}" destId="{BDE4A4FF-134F-4B07-9A39-8219F99B66D2}" srcOrd="1" destOrd="0" presId="urn:microsoft.com/office/officeart/2009/3/layout/HorizontalOrganizationChart"/>
    <dgm:cxn modelId="{EB6B32C1-F4DD-46DF-83FC-5F6559E70AA0}" type="presParOf" srcId="{FF5D2CCD-1E7D-4B64-B325-D5829E55109C}" destId="{FE7F874B-5677-4740-8EE2-C4117C1D5D5F}" srcOrd="1" destOrd="0" presId="urn:microsoft.com/office/officeart/2009/3/layout/HorizontalOrganizationChart"/>
    <dgm:cxn modelId="{A3904B8B-C3A5-4491-BC61-220EF8869936}" type="presParOf" srcId="{FF5D2CCD-1E7D-4B64-B325-D5829E55109C}" destId="{A801AF83-E4AA-40B2-BD76-3DA93FAE1075}" srcOrd="2" destOrd="0" presId="urn:microsoft.com/office/officeart/2009/3/layout/HorizontalOrganizationChart"/>
    <dgm:cxn modelId="{C3EF37DD-1CC4-4678-A6D5-CFA33941FA44}" type="presParOf" srcId="{7BEC5FF6-C856-4846-A476-DB98A7D46425}" destId="{9E03AE5D-C23A-46B8-B964-A46B90DA0053}" srcOrd="2" destOrd="0" presId="urn:microsoft.com/office/officeart/2009/3/layout/HorizontalOrganizationChart"/>
    <dgm:cxn modelId="{15EE2E11-C2BC-4FD4-B4BE-877309E646A4}" type="presParOf" srcId="{7BEC5FF6-C856-4846-A476-DB98A7D46425}" destId="{BE3B835F-577C-4B9A-A3C6-A25D20389131}" srcOrd="3" destOrd="0" presId="urn:microsoft.com/office/officeart/2009/3/layout/HorizontalOrganizationChart"/>
    <dgm:cxn modelId="{F9C8ED75-B82C-4AB9-814E-5A4B958AD21C}" type="presParOf" srcId="{BE3B835F-577C-4B9A-A3C6-A25D20389131}" destId="{CC9094CE-5ED4-417A-B638-F8828CDF3FD5}" srcOrd="0" destOrd="0" presId="urn:microsoft.com/office/officeart/2009/3/layout/HorizontalOrganizationChart"/>
    <dgm:cxn modelId="{437163A4-5CB0-4839-B05D-9CD4781DF798}" type="presParOf" srcId="{CC9094CE-5ED4-417A-B638-F8828CDF3FD5}" destId="{0340B2DA-10AB-4A2C-B5B3-1D09FB4689EE}" srcOrd="0" destOrd="0" presId="urn:microsoft.com/office/officeart/2009/3/layout/HorizontalOrganizationChart"/>
    <dgm:cxn modelId="{EBA8DE3A-6A8E-4DBA-9E26-04AFA40D1E3A}" type="presParOf" srcId="{CC9094CE-5ED4-417A-B638-F8828CDF3FD5}" destId="{80B03C1E-6337-4C16-BA97-9C346D39A2E9}" srcOrd="1" destOrd="0" presId="urn:microsoft.com/office/officeart/2009/3/layout/HorizontalOrganizationChart"/>
    <dgm:cxn modelId="{AEA98E9F-24D0-48D9-AE45-79D13BB6D60C}" type="presParOf" srcId="{BE3B835F-577C-4B9A-A3C6-A25D20389131}" destId="{BEDDD4D5-198B-4E07-9850-AACE2E3A0A8B}" srcOrd="1" destOrd="0" presId="urn:microsoft.com/office/officeart/2009/3/layout/HorizontalOrganizationChart"/>
    <dgm:cxn modelId="{98828D46-CAEF-42CB-8E57-CF99D06B62D1}" type="presParOf" srcId="{BE3B835F-577C-4B9A-A3C6-A25D20389131}" destId="{CA2F93E0-E501-48BE-ABF0-500B0D3BA84B}" srcOrd="2" destOrd="0" presId="urn:microsoft.com/office/officeart/2009/3/layout/HorizontalOrganizationChart"/>
    <dgm:cxn modelId="{65CA371B-EA59-4717-817E-CD60A1679A40}" type="presParOf" srcId="{7BEC5FF6-C856-4846-A476-DB98A7D46425}" destId="{BF6A2EDE-993A-4893-826D-AF4E7107BFF0}" srcOrd="4" destOrd="0" presId="urn:microsoft.com/office/officeart/2009/3/layout/HorizontalOrganizationChart"/>
    <dgm:cxn modelId="{A87B60CE-03BC-49CB-B5F0-215B48929516}" type="presParOf" srcId="{7BEC5FF6-C856-4846-A476-DB98A7D46425}" destId="{0BD332BB-A0B9-4451-8D83-E705C568F857}" srcOrd="5" destOrd="0" presId="urn:microsoft.com/office/officeart/2009/3/layout/HorizontalOrganizationChart"/>
    <dgm:cxn modelId="{080EEA78-AB35-479D-B0E4-A7071F60C352}" type="presParOf" srcId="{0BD332BB-A0B9-4451-8D83-E705C568F857}" destId="{B1A2C359-B502-41A2-924C-E8346DE2FC7E}" srcOrd="0" destOrd="0" presId="urn:microsoft.com/office/officeart/2009/3/layout/HorizontalOrganizationChart"/>
    <dgm:cxn modelId="{623ADEF1-76B3-41C5-8065-B973687DFB8B}" type="presParOf" srcId="{B1A2C359-B502-41A2-924C-E8346DE2FC7E}" destId="{74BE0ADB-6336-415F-9DCE-A816E2F16C27}" srcOrd="0" destOrd="0" presId="urn:microsoft.com/office/officeart/2009/3/layout/HorizontalOrganizationChart"/>
    <dgm:cxn modelId="{9D80EA88-594F-4F57-920B-FE8A198D7F16}" type="presParOf" srcId="{B1A2C359-B502-41A2-924C-E8346DE2FC7E}" destId="{39EF86C4-52C9-4059-8D66-DE9E16D39188}" srcOrd="1" destOrd="0" presId="urn:microsoft.com/office/officeart/2009/3/layout/HorizontalOrganizationChart"/>
    <dgm:cxn modelId="{5A2E77BD-723A-495E-B6EB-2F7E651F76C2}" type="presParOf" srcId="{0BD332BB-A0B9-4451-8D83-E705C568F857}" destId="{44335B97-9215-4D40-BD83-62AD515686F3}" srcOrd="1" destOrd="0" presId="urn:microsoft.com/office/officeart/2009/3/layout/HorizontalOrganizationChart"/>
    <dgm:cxn modelId="{44AD2705-F9A4-48E3-9269-00BBE276EE1C}" type="presParOf" srcId="{0BD332BB-A0B9-4451-8D83-E705C568F857}" destId="{BBBB63B8-3715-4751-AF15-CD7BAFE3D5AD}" srcOrd="2" destOrd="0" presId="urn:microsoft.com/office/officeart/2009/3/layout/HorizontalOrganizationChart"/>
    <dgm:cxn modelId="{EBAA05EF-0BD1-47D6-AEFA-1167AE312DBC}" type="presParOf" srcId="{F358C963-5BE0-455B-949E-74397151E2C2}" destId="{94CD9E86-7D3C-4C22-B9AF-4795860EAE86}"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4BE9020-0C02-45F6-8621-0B6B81AA3A0C}"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US"/>
        </a:p>
      </dgm:t>
    </dgm:pt>
    <dgm:pt modelId="{CC65717C-322D-4891-9595-28C9AA699F7E}">
      <dgm:prSet/>
      <dgm:spPr/>
      <dgm:t>
        <a:bodyPr/>
        <a:lstStyle/>
        <a:p>
          <a:r>
            <a:rPr lang="en-GB"/>
            <a:t>Power BI</a:t>
          </a:r>
          <a:endParaRPr lang="en-US"/>
        </a:p>
      </dgm:t>
    </dgm:pt>
    <dgm:pt modelId="{7BE7719C-F999-4F8D-9610-039992C27416}" type="parTrans" cxnId="{BE6D7DBC-5DEB-4BED-BB6B-2BF0F38A7E21}">
      <dgm:prSet/>
      <dgm:spPr/>
      <dgm:t>
        <a:bodyPr/>
        <a:lstStyle/>
        <a:p>
          <a:endParaRPr lang="en-US"/>
        </a:p>
      </dgm:t>
    </dgm:pt>
    <dgm:pt modelId="{0194F8DC-E010-4710-A4B4-A4A2309D01F5}" type="sibTrans" cxnId="{BE6D7DBC-5DEB-4BED-BB6B-2BF0F38A7E21}">
      <dgm:prSet/>
      <dgm:spPr/>
      <dgm:t>
        <a:bodyPr/>
        <a:lstStyle/>
        <a:p>
          <a:endParaRPr lang="en-US"/>
        </a:p>
      </dgm:t>
    </dgm:pt>
    <dgm:pt modelId="{0B3A37CE-04CB-4C06-A7D5-294E3647869D}">
      <dgm:prSet/>
      <dgm:spPr/>
      <dgm:t>
        <a:bodyPr/>
        <a:lstStyle/>
        <a:p>
          <a:r>
            <a:rPr lang="en-GB"/>
            <a:t>Machine Learning</a:t>
          </a:r>
          <a:endParaRPr lang="en-US"/>
        </a:p>
      </dgm:t>
    </dgm:pt>
    <dgm:pt modelId="{C5B64C33-BF47-47D7-A9FF-30FA16704F58}" type="parTrans" cxnId="{7CA4C0A8-6F59-46E2-9B20-E69D5A89767F}">
      <dgm:prSet/>
      <dgm:spPr/>
      <dgm:t>
        <a:bodyPr/>
        <a:lstStyle/>
        <a:p>
          <a:endParaRPr lang="en-US"/>
        </a:p>
      </dgm:t>
    </dgm:pt>
    <dgm:pt modelId="{B6CA65DA-B59D-4C21-ACA8-986249BCD6E9}" type="sibTrans" cxnId="{7CA4C0A8-6F59-46E2-9B20-E69D5A89767F}">
      <dgm:prSet/>
      <dgm:spPr/>
      <dgm:t>
        <a:bodyPr/>
        <a:lstStyle/>
        <a:p>
          <a:endParaRPr lang="en-US"/>
        </a:p>
      </dgm:t>
    </dgm:pt>
    <dgm:pt modelId="{D033CB4A-7A0D-4B2B-93ED-F8A600DFA105}">
      <dgm:prSet/>
      <dgm:spPr/>
      <dgm:t>
        <a:bodyPr/>
        <a:lstStyle/>
        <a:p>
          <a:r>
            <a:rPr lang="en-GB"/>
            <a:t>Big Data Analytics</a:t>
          </a:r>
          <a:endParaRPr lang="en-US"/>
        </a:p>
      </dgm:t>
    </dgm:pt>
    <dgm:pt modelId="{3E542E5B-61F3-452C-8583-4A76133E2561}" type="parTrans" cxnId="{89ECFE2F-241C-4FA7-98C5-A2DF57A2B66F}">
      <dgm:prSet/>
      <dgm:spPr/>
      <dgm:t>
        <a:bodyPr/>
        <a:lstStyle/>
        <a:p>
          <a:endParaRPr lang="en-US"/>
        </a:p>
      </dgm:t>
    </dgm:pt>
    <dgm:pt modelId="{8EA7912A-3A09-4320-BB27-E52729B4A23F}" type="sibTrans" cxnId="{89ECFE2F-241C-4FA7-98C5-A2DF57A2B66F}">
      <dgm:prSet/>
      <dgm:spPr/>
      <dgm:t>
        <a:bodyPr/>
        <a:lstStyle/>
        <a:p>
          <a:endParaRPr lang="en-US"/>
        </a:p>
      </dgm:t>
    </dgm:pt>
    <dgm:pt modelId="{D1395570-C00B-4501-9DFC-88EC1D96B94C}">
      <dgm:prSet/>
      <dgm:spPr/>
      <dgm:t>
        <a:bodyPr/>
        <a:lstStyle/>
        <a:p>
          <a:r>
            <a:rPr lang="en-GB"/>
            <a:t>Visualisation</a:t>
          </a:r>
          <a:endParaRPr lang="en-US"/>
        </a:p>
      </dgm:t>
    </dgm:pt>
    <dgm:pt modelId="{D4019E8B-DAD6-4725-9404-E98FD07F628D}" type="parTrans" cxnId="{27710602-4378-4577-8C1C-4CE7F3DF8134}">
      <dgm:prSet/>
      <dgm:spPr/>
      <dgm:t>
        <a:bodyPr/>
        <a:lstStyle/>
        <a:p>
          <a:endParaRPr lang="en-US"/>
        </a:p>
      </dgm:t>
    </dgm:pt>
    <dgm:pt modelId="{F5F217F7-455E-471B-9358-8A8A46ECDB2F}" type="sibTrans" cxnId="{27710602-4378-4577-8C1C-4CE7F3DF8134}">
      <dgm:prSet/>
      <dgm:spPr/>
      <dgm:t>
        <a:bodyPr/>
        <a:lstStyle/>
        <a:p>
          <a:endParaRPr lang="en-US"/>
        </a:p>
      </dgm:t>
    </dgm:pt>
    <dgm:pt modelId="{42E15EDF-1D92-4073-89F8-041AB43EA1F1}">
      <dgm:prSet/>
      <dgm:spPr/>
      <dgm:t>
        <a:bodyPr/>
        <a:lstStyle/>
        <a:p>
          <a:r>
            <a:rPr lang="en-GB"/>
            <a:t>Operational Reporting</a:t>
          </a:r>
          <a:endParaRPr lang="en-US"/>
        </a:p>
      </dgm:t>
    </dgm:pt>
    <dgm:pt modelId="{15F553E9-3F5A-4A6E-AB7E-D02C2DE373A0}" type="parTrans" cxnId="{CD46BC28-D808-4500-B738-53A047C5F6B1}">
      <dgm:prSet/>
      <dgm:spPr/>
      <dgm:t>
        <a:bodyPr/>
        <a:lstStyle/>
        <a:p>
          <a:endParaRPr lang="en-US"/>
        </a:p>
      </dgm:t>
    </dgm:pt>
    <dgm:pt modelId="{93ED6BD4-EA83-4ED5-B5A5-09D19C53AB79}" type="sibTrans" cxnId="{CD46BC28-D808-4500-B738-53A047C5F6B1}">
      <dgm:prSet/>
      <dgm:spPr/>
      <dgm:t>
        <a:bodyPr/>
        <a:lstStyle/>
        <a:p>
          <a:endParaRPr lang="en-US"/>
        </a:p>
      </dgm:t>
    </dgm:pt>
    <dgm:pt modelId="{8F158907-B863-4970-9170-DC58A3C4A578}">
      <dgm:prSet/>
      <dgm:spPr/>
      <dgm:t>
        <a:bodyPr/>
        <a:lstStyle/>
        <a:p>
          <a:r>
            <a:rPr lang="en-GB"/>
            <a:t>Ad hoc Reporting</a:t>
          </a:r>
          <a:endParaRPr lang="en-US"/>
        </a:p>
      </dgm:t>
    </dgm:pt>
    <dgm:pt modelId="{EAC96F37-40E0-43BC-B04A-2664DF3CE6D0}" type="parTrans" cxnId="{CE42C143-B419-4458-881A-72ACBE2251EF}">
      <dgm:prSet/>
      <dgm:spPr/>
      <dgm:t>
        <a:bodyPr/>
        <a:lstStyle/>
        <a:p>
          <a:endParaRPr lang="en-US"/>
        </a:p>
      </dgm:t>
    </dgm:pt>
    <dgm:pt modelId="{1F96DAAF-39AC-4814-8BCF-EA3C508F58F8}" type="sibTrans" cxnId="{CE42C143-B419-4458-881A-72ACBE2251EF}">
      <dgm:prSet/>
      <dgm:spPr/>
      <dgm:t>
        <a:bodyPr/>
        <a:lstStyle/>
        <a:p>
          <a:endParaRPr lang="en-US"/>
        </a:p>
      </dgm:t>
    </dgm:pt>
    <dgm:pt modelId="{2131644F-576C-4A91-A121-95D6E31A3755}" type="pres">
      <dgm:prSet presAssocID="{A4BE9020-0C02-45F6-8621-0B6B81AA3A0C}" presName="composite" presStyleCnt="0">
        <dgm:presLayoutVars>
          <dgm:chMax val="1"/>
          <dgm:dir/>
          <dgm:resizeHandles val="exact"/>
        </dgm:presLayoutVars>
      </dgm:prSet>
      <dgm:spPr/>
    </dgm:pt>
    <dgm:pt modelId="{BB6D3A35-D364-4BD7-9C2F-2BB216B5F8D3}" type="pres">
      <dgm:prSet presAssocID="{A4BE9020-0C02-45F6-8621-0B6B81AA3A0C}" presName="radial" presStyleCnt="0">
        <dgm:presLayoutVars>
          <dgm:animLvl val="ctr"/>
        </dgm:presLayoutVars>
      </dgm:prSet>
      <dgm:spPr/>
    </dgm:pt>
    <dgm:pt modelId="{448980E8-6B95-4F97-867B-3D500730670E}" type="pres">
      <dgm:prSet presAssocID="{CC65717C-322D-4891-9595-28C9AA699F7E}" presName="centerShape" presStyleLbl="vennNode1" presStyleIdx="0" presStyleCnt="6" custScaleX="85118" custScaleY="72475" custLinFactNeighborY="3904"/>
      <dgm:spPr/>
    </dgm:pt>
    <dgm:pt modelId="{25EC0CBC-AEB8-48BC-8912-E438DB6B94FD}" type="pres">
      <dgm:prSet presAssocID="{0B3A37CE-04CB-4C06-A7D5-294E3647869D}" presName="node" presStyleLbl="vennNode1" presStyleIdx="1" presStyleCnt="6" custScaleX="131656" custScaleY="107258" custRadScaleRad="78784">
        <dgm:presLayoutVars>
          <dgm:bulletEnabled val="1"/>
        </dgm:presLayoutVars>
      </dgm:prSet>
      <dgm:spPr/>
    </dgm:pt>
    <dgm:pt modelId="{4FE94B90-8E7E-473A-8096-192EEA081E9A}" type="pres">
      <dgm:prSet presAssocID="{D033CB4A-7A0D-4B2B-93ED-F8A600DFA105}" presName="node" presStyleLbl="vennNode1" presStyleIdx="2" presStyleCnt="6" custScaleX="131656" custScaleY="107258" custRadScaleRad="99905" custRadScaleInc="6891">
        <dgm:presLayoutVars>
          <dgm:bulletEnabled val="1"/>
        </dgm:presLayoutVars>
      </dgm:prSet>
      <dgm:spPr/>
    </dgm:pt>
    <dgm:pt modelId="{C0536A2B-DBCF-458C-9A36-2F54E664766A}" type="pres">
      <dgm:prSet presAssocID="{D1395570-C00B-4501-9DFC-88EC1D96B94C}" presName="node" presStyleLbl="vennNode1" presStyleIdx="3" presStyleCnt="6" custScaleX="131656" custScaleY="107258">
        <dgm:presLayoutVars>
          <dgm:bulletEnabled val="1"/>
        </dgm:presLayoutVars>
      </dgm:prSet>
      <dgm:spPr/>
    </dgm:pt>
    <dgm:pt modelId="{DF0EA2C6-9D37-42FE-B1C3-53C1B573078D}" type="pres">
      <dgm:prSet presAssocID="{42E15EDF-1D92-4073-89F8-041AB43EA1F1}" presName="node" presStyleLbl="vennNode1" presStyleIdx="4" presStyleCnt="6" custScaleX="131656" custScaleY="107258">
        <dgm:presLayoutVars>
          <dgm:bulletEnabled val="1"/>
        </dgm:presLayoutVars>
      </dgm:prSet>
      <dgm:spPr/>
    </dgm:pt>
    <dgm:pt modelId="{F82D3312-316D-46F0-ADEA-9650AFB59293}" type="pres">
      <dgm:prSet presAssocID="{8F158907-B863-4970-9170-DC58A3C4A578}" presName="node" presStyleLbl="vennNode1" presStyleIdx="5" presStyleCnt="6" custScaleX="131656" custScaleY="107258" custRadScaleRad="101621" custRadScaleInc="-412">
        <dgm:presLayoutVars>
          <dgm:bulletEnabled val="1"/>
        </dgm:presLayoutVars>
      </dgm:prSet>
      <dgm:spPr/>
    </dgm:pt>
  </dgm:ptLst>
  <dgm:cxnLst>
    <dgm:cxn modelId="{27710602-4378-4577-8C1C-4CE7F3DF8134}" srcId="{CC65717C-322D-4891-9595-28C9AA699F7E}" destId="{D1395570-C00B-4501-9DFC-88EC1D96B94C}" srcOrd="2" destOrd="0" parTransId="{D4019E8B-DAD6-4725-9404-E98FD07F628D}" sibTransId="{F5F217F7-455E-471B-9358-8A8A46ECDB2F}"/>
    <dgm:cxn modelId="{213FDD0B-503C-4FAC-91A8-92A822B36B53}" type="presOf" srcId="{0B3A37CE-04CB-4C06-A7D5-294E3647869D}" destId="{25EC0CBC-AEB8-48BC-8912-E438DB6B94FD}" srcOrd="0" destOrd="0" presId="urn:microsoft.com/office/officeart/2005/8/layout/radial3"/>
    <dgm:cxn modelId="{CD46BC28-D808-4500-B738-53A047C5F6B1}" srcId="{CC65717C-322D-4891-9595-28C9AA699F7E}" destId="{42E15EDF-1D92-4073-89F8-041AB43EA1F1}" srcOrd="3" destOrd="0" parTransId="{15F553E9-3F5A-4A6E-AB7E-D02C2DE373A0}" sibTransId="{93ED6BD4-EA83-4ED5-B5A5-09D19C53AB79}"/>
    <dgm:cxn modelId="{89ECFE2F-241C-4FA7-98C5-A2DF57A2B66F}" srcId="{CC65717C-322D-4891-9595-28C9AA699F7E}" destId="{D033CB4A-7A0D-4B2B-93ED-F8A600DFA105}" srcOrd="1" destOrd="0" parTransId="{3E542E5B-61F3-452C-8583-4A76133E2561}" sibTransId="{8EA7912A-3A09-4320-BB27-E52729B4A23F}"/>
    <dgm:cxn modelId="{CE42C143-B419-4458-881A-72ACBE2251EF}" srcId="{CC65717C-322D-4891-9595-28C9AA699F7E}" destId="{8F158907-B863-4970-9170-DC58A3C4A578}" srcOrd="4" destOrd="0" parTransId="{EAC96F37-40E0-43BC-B04A-2664DF3CE6D0}" sibTransId="{1F96DAAF-39AC-4814-8BCF-EA3C508F58F8}"/>
    <dgm:cxn modelId="{7AB2BE91-A67C-45DF-B40B-26D1CDBCBB85}" type="presOf" srcId="{8F158907-B863-4970-9170-DC58A3C4A578}" destId="{F82D3312-316D-46F0-ADEA-9650AFB59293}" srcOrd="0" destOrd="0" presId="urn:microsoft.com/office/officeart/2005/8/layout/radial3"/>
    <dgm:cxn modelId="{43B82C95-7DC0-4296-AA5F-910691390E3E}" type="presOf" srcId="{D033CB4A-7A0D-4B2B-93ED-F8A600DFA105}" destId="{4FE94B90-8E7E-473A-8096-192EEA081E9A}" srcOrd="0" destOrd="0" presId="urn:microsoft.com/office/officeart/2005/8/layout/radial3"/>
    <dgm:cxn modelId="{BE8200A3-2AB9-4601-B59C-B2436A8E47EB}" type="presOf" srcId="{CC65717C-322D-4891-9595-28C9AA699F7E}" destId="{448980E8-6B95-4F97-867B-3D500730670E}" srcOrd="0" destOrd="0" presId="urn:microsoft.com/office/officeart/2005/8/layout/radial3"/>
    <dgm:cxn modelId="{7CA4C0A8-6F59-46E2-9B20-E69D5A89767F}" srcId="{CC65717C-322D-4891-9595-28C9AA699F7E}" destId="{0B3A37CE-04CB-4C06-A7D5-294E3647869D}" srcOrd="0" destOrd="0" parTransId="{C5B64C33-BF47-47D7-A9FF-30FA16704F58}" sibTransId="{B6CA65DA-B59D-4C21-ACA8-986249BCD6E9}"/>
    <dgm:cxn modelId="{F3C02BB7-5FBE-4F0E-BA8F-395B53EC2912}" type="presOf" srcId="{A4BE9020-0C02-45F6-8621-0B6B81AA3A0C}" destId="{2131644F-576C-4A91-A121-95D6E31A3755}" srcOrd="0" destOrd="0" presId="urn:microsoft.com/office/officeart/2005/8/layout/radial3"/>
    <dgm:cxn modelId="{BE6D7DBC-5DEB-4BED-BB6B-2BF0F38A7E21}" srcId="{A4BE9020-0C02-45F6-8621-0B6B81AA3A0C}" destId="{CC65717C-322D-4891-9595-28C9AA699F7E}" srcOrd="0" destOrd="0" parTransId="{7BE7719C-F999-4F8D-9610-039992C27416}" sibTransId="{0194F8DC-E010-4710-A4B4-A4A2309D01F5}"/>
    <dgm:cxn modelId="{5C3597CF-A0E6-48EB-8697-0FC0AEFBE469}" type="presOf" srcId="{42E15EDF-1D92-4073-89F8-041AB43EA1F1}" destId="{DF0EA2C6-9D37-42FE-B1C3-53C1B573078D}" srcOrd="0" destOrd="0" presId="urn:microsoft.com/office/officeart/2005/8/layout/radial3"/>
    <dgm:cxn modelId="{671E27EB-BCDC-4AC5-8732-51B7415878AC}" type="presOf" srcId="{D1395570-C00B-4501-9DFC-88EC1D96B94C}" destId="{C0536A2B-DBCF-458C-9A36-2F54E664766A}" srcOrd="0" destOrd="0" presId="urn:microsoft.com/office/officeart/2005/8/layout/radial3"/>
    <dgm:cxn modelId="{DC2705E5-E996-4FDD-857B-C48E4289C58D}" type="presParOf" srcId="{2131644F-576C-4A91-A121-95D6E31A3755}" destId="{BB6D3A35-D364-4BD7-9C2F-2BB216B5F8D3}" srcOrd="0" destOrd="0" presId="urn:microsoft.com/office/officeart/2005/8/layout/radial3"/>
    <dgm:cxn modelId="{F3788AFA-80A2-49DF-9526-EE5F37DDC061}" type="presParOf" srcId="{BB6D3A35-D364-4BD7-9C2F-2BB216B5F8D3}" destId="{448980E8-6B95-4F97-867B-3D500730670E}" srcOrd="0" destOrd="0" presId="urn:microsoft.com/office/officeart/2005/8/layout/radial3"/>
    <dgm:cxn modelId="{52951CEA-EE5D-4508-BE31-D459AF446D50}" type="presParOf" srcId="{BB6D3A35-D364-4BD7-9C2F-2BB216B5F8D3}" destId="{25EC0CBC-AEB8-48BC-8912-E438DB6B94FD}" srcOrd="1" destOrd="0" presId="urn:microsoft.com/office/officeart/2005/8/layout/radial3"/>
    <dgm:cxn modelId="{C844E631-5D41-4552-BE82-61068EC2ECCF}" type="presParOf" srcId="{BB6D3A35-D364-4BD7-9C2F-2BB216B5F8D3}" destId="{4FE94B90-8E7E-473A-8096-192EEA081E9A}" srcOrd="2" destOrd="0" presId="urn:microsoft.com/office/officeart/2005/8/layout/radial3"/>
    <dgm:cxn modelId="{73AD4FD3-F4D6-49D2-A74C-69B4310D21A7}" type="presParOf" srcId="{BB6D3A35-D364-4BD7-9C2F-2BB216B5F8D3}" destId="{C0536A2B-DBCF-458C-9A36-2F54E664766A}" srcOrd="3" destOrd="0" presId="urn:microsoft.com/office/officeart/2005/8/layout/radial3"/>
    <dgm:cxn modelId="{330832AF-1073-470A-81F5-C10011209918}" type="presParOf" srcId="{BB6D3A35-D364-4BD7-9C2F-2BB216B5F8D3}" destId="{DF0EA2C6-9D37-42FE-B1C3-53C1B573078D}" srcOrd="4" destOrd="0" presId="urn:microsoft.com/office/officeart/2005/8/layout/radial3"/>
    <dgm:cxn modelId="{C56FBCB9-CC08-4339-8EE5-41E395DF4CB8}" type="presParOf" srcId="{BB6D3A35-D364-4BD7-9C2F-2BB216B5F8D3}" destId="{F82D3312-316D-46F0-ADEA-9650AFB5929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F82E2B1-8FA6-4227-B06D-26E3F99F2E62}" type="doc">
      <dgm:prSet loTypeId="urn:microsoft.com/office/officeart/2018/5/layout/IconCircle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DD507516-5FD4-4675-BBC2-DAB629E97D77}">
      <dgm:prSet/>
      <dgm:spPr/>
      <dgm:t>
        <a:bodyPr/>
        <a:lstStyle/>
        <a:p>
          <a:pPr>
            <a:lnSpc>
              <a:spcPct val="100000"/>
            </a:lnSpc>
            <a:defRPr cap="all"/>
          </a:pPr>
          <a:r>
            <a:rPr lang="en-GB"/>
            <a:t>The Team</a:t>
          </a:r>
          <a:endParaRPr lang="en-US"/>
        </a:p>
      </dgm:t>
    </dgm:pt>
    <dgm:pt modelId="{76F881C2-058A-400D-B371-1FD254A1D0A1}" type="parTrans" cxnId="{4A0FEA6D-6F7A-4F55-8140-8FFDC8E6C8D0}">
      <dgm:prSet/>
      <dgm:spPr/>
      <dgm:t>
        <a:bodyPr/>
        <a:lstStyle/>
        <a:p>
          <a:endParaRPr lang="en-US"/>
        </a:p>
      </dgm:t>
    </dgm:pt>
    <dgm:pt modelId="{4BBBA5AB-BB62-4975-8ED3-34F551D9CE1C}" type="sibTrans" cxnId="{4A0FEA6D-6F7A-4F55-8140-8FFDC8E6C8D0}">
      <dgm:prSet/>
      <dgm:spPr/>
      <dgm:t>
        <a:bodyPr/>
        <a:lstStyle/>
        <a:p>
          <a:endParaRPr lang="en-US"/>
        </a:p>
      </dgm:t>
    </dgm:pt>
    <dgm:pt modelId="{1B27ADF7-1188-47B5-B3B8-4418A4D77282}">
      <dgm:prSet/>
      <dgm:spPr/>
      <dgm:t>
        <a:bodyPr/>
        <a:lstStyle/>
        <a:p>
          <a:pPr>
            <a:lnSpc>
              <a:spcPct val="100000"/>
            </a:lnSpc>
            <a:defRPr cap="all"/>
          </a:pPr>
          <a:r>
            <a:rPr lang="en-GB"/>
            <a:t>Initial Strategy, partnerships</a:t>
          </a:r>
          <a:endParaRPr lang="en-US"/>
        </a:p>
      </dgm:t>
    </dgm:pt>
    <dgm:pt modelId="{6BB9DD24-2497-4704-B4BA-8947D314926F}" type="parTrans" cxnId="{BAA7F82C-D5FE-4EA8-8F0D-37A2A44CD48D}">
      <dgm:prSet/>
      <dgm:spPr/>
      <dgm:t>
        <a:bodyPr/>
        <a:lstStyle/>
        <a:p>
          <a:endParaRPr lang="en-US"/>
        </a:p>
      </dgm:t>
    </dgm:pt>
    <dgm:pt modelId="{C1F82844-7781-473B-BF6D-520025C7122E}" type="sibTrans" cxnId="{BAA7F82C-D5FE-4EA8-8F0D-37A2A44CD48D}">
      <dgm:prSet/>
      <dgm:spPr/>
      <dgm:t>
        <a:bodyPr/>
        <a:lstStyle/>
        <a:p>
          <a:endParaRPr lang="en-US"/>
        </a:p>
      </dgm:t>
    </dgm:pt>
    <dgm:pt modelId="{F8804C3B-77F5-43DB-98A8-198B96B19DCB}">
      <dgm:prSet/>
      <dgm:spPr/>
      <dgm:t>
        <a:bodyPr/>
        <a:lstStyle/>
        <a:p>
          <a:pPr>
            <a:lnSpc>
              <a:spcPct val="100000"/>
            </a:lnSpc>
            <a:defRPr cap="all"/>
          </a:pPr>
          <a:r>
            <a:rPr lang="en-GB"/>
            <a:t>Initial Setup</a:t>
          </a:r>
          <a:endParaRPr lang="en-US"/>
        </a:p>
      </dgm:t>
    </dgm:pt>
    <dgm:pt modelId="{EEBEC73F-84DA-474B-814C-7F2597F310EA}" type="parTrans" cxnId="{29A0E660-586D-4E79-8406-2E8777F285E0}">
      <dgm:prSet/>
      <dgm:spPr/>
      <dgm:t>
        <a:bodyPr/>
        <a:lstStyle/>
        <a:p>
          <a:endParaRPr lang="en-US"/>
        </a:p>
      </dgm:t>
    </dgm:pt>
    <dgm:pt modelId="{66189DDA-4FC3-46E6-A107-FCEE5CF14968}" type="sibTrans" cxnId="{29A0E660-586D-4E79-8406-2E8777F285E0}">
      <dgm:prSet/>
      <dgm:spPr/>
      <dgm:t>
        <a:bodyPr/>
        <a:lstStyle/>
        <a:p>
          <a:endParaRPr lang="en-US"/>
        </a:p>
      </dgm:t>
    </dgm:pt>
    <dgm:pt modelId="{2E0C6D22-C01C-4C09-9EDA-EAA2EA3FCB54}">
      <dgm:prSet/>
      <dgm:spPr/>
      <dgm:t>
        <a:bodyPr/>
        <a:lstStyle/>
        <a:p>
          <a:pPr>
            <a:lnSpc>
              <a:spcPct val="100000"/>
            </a:lnSpc>
            <a:defRPr cap="all"/>
          </a:pPr>
          <a:r>
            <a:rPr lang="en-GB"/>
            <a:t>Implementation guidance, best practice, governance</a:t>
          </a:r>
          <a:endParaRPr lang="en-US"/>
        </a:p>
      </dgm:t>
    </dgm:pt>
    <dgm:pt modelId="{33267698-DFE6-4AF1-98DC-CB3C382A472C}" type="parTrans" cxnId="{0FED5BEC-9A6C-4C3F-92D6-FCDD0E733A60}">
      <dgm:prSet/>
      <dgm:spPr/>
      <dgm:t>
        <a:bodyPr/>
        <a:lstStyle/>
        <a:p>
          <a:endParaRPr lang="en-US"/>
        </a:p>
      </dgm:t>
    </dgm:pt>
    <dgm:pt modelId="{A0ECC6DC-7451-4F9D-81CE-19F83E0C9BB8}" type="sibTrans" cxnId="{0FED5BEC-9A6C-4C3F-92D6-FCDD0E733A60}">
      <dgm:prSet/>
      <dgm:spPr/>
      <dgm:t>
        <a:bodyPr/>
        <a:lstStyle/>
        <a:p>
          <a:endParaRPr lang="en-US"/>
        </a:p>
      </dgm:t>
    </dgm:pt>
    <dgm:pt modelId="{DED0F22A-557E-44B1-B2C7-637A75E3EED3}">
      <dgm:prSet/>
      <dgm:spPr/>
      <dgm:t>
        <a:bodyPr/>
        <a:lstStyle/>
        <a:p>
          <a:pPr>
            <a:lnSpc>
              <a:spcPct val="100000"/>
            </a:lnSpc>
            <a:defRPr cap="all"/>
          </a:pPr>
          <a:r>
            <a:rPr lang="en-GB"/>
            <a:t>Same roles, less involvement over time</a:t>
          </a:r>
          <a:endParaRPr lang="en-US"/>
        </a:p>
      </dgm:t>
    </dgm:pt>
    <dgm:pt modelId="{60943BB0-8EC1-4A4D-A8FB-4CA485801369}" type="parTrans" cxnId="{A61E8861-3D27-4BDB-8891-2C8DA8188FAD}">
      <dgm:prSet/>
      <dgm:spPr/>
      <dgm:t>
        <a:bodyPr/>
        <a:lstStyle/>
        <a:p>
          <a:endParaRPr lang="en-US"/>
        </a:p>
      </dgm:t>
    </dgm:pt>
    <dgm:pt modelId="{14544770-76E1-4467-8BC6-1B1406191E76}" type="sibTrans" cxnId="{A61E8861-3D27-4BDB-8891-2C8DA8188FAD}">
      <dgm:prSet/>
      <dgm:spPr/>
      <dgm:t>
        <a:bodyPr/>
        <a:lstStyle/>
        <a:p>
          <a:endParaRPr lang="en-US"/>
        </a:p>
      </dgm:t>
    </dgm:pt>
    <dgm:pt modelId="{59BED4F0-571E-434A-BF6C-60476E9454BD}">
      <dgm:prSet/>
      <dgm:spPr/>
      <dgm:t>
        <a:bodyPr/>
        <a:lstStyle/>
        <a:p>
          <a:pPr>
            <a:lnSpc>
              <a:spcPct val="100000"/>
            </a:lnSpc>
            <a:defRPr cap="all"/>
          </a:pPr>
          <a:r>
            <a:rPr lang="en-GB"/>
            <a:t>Implementation can be partner led</a:t>
          </a:r>
          <a:endParaRPr lang="en-US"/>
        </a:p>
      </dgm:t>
    </dgm:pt>
    <dgm:pt modelId="{CC2C7BC7-586F-48A8-A820-B6514A4B4148}" type="parTrans" cxnId="{34E44BA6-FCEB-4F76-BFCB-56C4A475A24E}">
      <dgm:prSet/>
      <dgm:spPr/>
      <dgm:t>
        <a:bodyPr/>
        <a:lstStyle/>
        <a:p>
          <a:endParaRPr lang="en-US"/>
        </a:p>
      </dgm:t>
    </dgm:pt>
    <dgm:pt modelId="{C235AB09-567B-4628-AB26-6E8045E7B378}" type="sibTrans" cxnId="{34E44BA6-FCEB-4F76-BFCB-56C4A475A24E}">
      <dgm:prSet/>
      <dgm:spPr/>
      <dgm:t>
        <a:bodyPr/>
        <a:lstStyle/>
        <a:p>
          <a:endParaRPr lang="en-US"/>
        </a:p>
      </dgm:t>
    </dgm:pt>
    <dgm:pt modelId="{4726E35F-E5D0-48B5-B047-43C4BAAB8191}">
      <dgm:prSet/>
      <dgm:spPr/>
      <dgm:t>
        <a:bodyPr/>
        <a:lstStyle/>
        <a:p>
          <a:pPr>
            <a:lnSpc>
              <a:spcPct val="100000"/>
            </a:lnSpc>
            <a:defRPr cap="all"/>
          </a:pPr>
          <a:r>
            <a:rPr lang="en-GB"/>
            <a:t>Enablement - Training, continuous learning</a:t>
          </a:r>
          <a:endParaRPr lang="en-US"/>
        </a:p>
      </dgm:t>
    </dgm:pt>
    <dgm:pt modelId="{394A58C1-01C1-4C66-9D9A-838F7A9A0BC8}" type="parTrans" cxnId="{E7C2BE27-0A10-4BDF-A8FA-16EF158D468E}">
      <dgm:prSet/>
      <dgm:spPr/>
      <dgm:t>
        <a:bodyPr/>
        <a:lstStyle/>
        <a:p>
          <a:endParaRPr lang="en-US"/>
        </a:p>
      </dgm:t>
    </dgm:pt>
    <dgm:pt modelId="{2BE52F4E-AC72-4EFF-BD48-1CCDEF1D4FB4}" type="sibTrans" cxnId="{E7C2BE27-0A10-4BDF-A8FA-16EF158D468E}">
      <dgm:prSet/>
      <dgm:spPr/>
      <dgm:t>
        <a:bodyPr/>
        <a:lstStyle/>
        <a:p>
          <a:endParaRPr lang="en-US"/>
        </a:p>
      </dgm:t>
    </dgm:pt>
    <dgm:pt modelId="{E5EADB75-BC51-4018-B29A-EFE0AFF3228D}" type="pres">
      <dgm:prSet presAssocID="{2F82E2B1-8FA6-4227-B06D-26E3F99F2E62}" presName="root" presStyleCnt="0">
        <dgm:presLayoutVars>
          <dgm:dir/>
          <dgm:resizeHandles val="exact"/>
        </dgm:presLayoutVars>
      </dgm:prSet>
      <dgm:spPr/>
    </dgm:pt>
    <dgm:pt modelId="{A16AD476-163B-4206-BDE7-2E2CDC8F915B}" type="pres">
      <dgm:prSet presAssocID="{DD507516-5FD4-4675-BBC2-DAB629E97D77}" presName="compNode" presStyleCnt="0"/>
      <dgm:spPr/>
    </dgm:pt>
    <dgm:pt modelId="{46B67FF9-97BE-4898-BB09-4698EAFFAE64}" type="pres">
      <dgm:prSet presAssocID="{DD507516-5FD4-4675-BBC2-DAB629E97D77}" presName="iconBgRect" presStyleLbl="bgShp" presStyleIdx="0" presStyleCnt="7"/>
      <dgm:spPr/>
    </dgm:pt>
    <dgm:pt modelId="{7B615D12-DB38-448D-A179-9A1ECE394CFC}" type="pres">
      <dgm:prSet presAssocID="{DD507516-5FD4-4675-BBC2-DAB629E97D77}"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84547FF6-0F73-424C-B078-A15BA3911DAB}" type="pres">
      <dgm:prSet presAssocID="{DD507516-5FD4-4675-BBC2-DAB629E97D77}" presName="spaceRect" presStyleCnt="0"/>
      <dgm:spPr/>
    </dgm:pt>
    <dgm:pt modelId="{C0357E8E-6063-4DEC-A786-E5D238ADEFEB}" type="pres">
      <dgm:prSet presAssocID="{DD507516-5FD4-4675-BBC2-DAB629E97D77}" presName="textRect" presStyleLbl="revTx" presStyleIdx="0" presStyleCnt="7">
        <dgm:presLayoutVars>
          <dgm:chMax val="1"/>
          <dgm:chPref val="1"/>
        </dgm:presLayoutVars>
      </dgm:prSet>
      <dgm:spPr/>
    </dgm:pt>
    <dgm:pt modelId="{004C77F4-AD97-40A5-B040-521F875B9236}" type="pres">
      <dgm:prSet presAssocID="{4BBBA5AB-BB62-4975-8ED3-34F551D9CE1C}" presName="sibTrans" presStyleCnt="0"/>
      <dgm:spPr/>
    </dgm:pt>
    <dgm:pt modelId="{A60BF072-0A4A-4E93-9286-FA2023A8A448}" type="pres">
      <dgm:prSet presAssocID="{1B27ADF7-1188-47B5-B3B8-4418A4D77282}" presName="compNode" presStyleCnt="0"/>
      <dgm:spPr/>
    </dgm:pt>
    <dgm:pt modelId="{D4A631C9-9C15-4D39-9814-3109ED621C87}" type="pres">
      <dgm:prSet presAssocID="{1B27ADF7-1188-47B5-B3B8-4418A4D77282}" presName="iconBgRect" presStyleLbl="bgShp" presStyleIdx="1" presStyleCnt="7"/>
      <dgm:spPr/>
    </dgm:pt>
    <dgm:pt modelId="{B22BE457-D353-4FFF-8AD2-8BF9D55C67D0}" type="pres">
      <dgm:prSet presAssocID="{1B27ADF7-1188-47B5-B3B8-4418A4D77282}"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D615C80B-D821-4435-96C2-47F318FD0551}" type="pres">
      <dgm:prSet presAssocID="{1B27ADF7-1188-47B5-B3B8-4418A4D77282}" presName="spaceRect" presStyleCnt="0"/>
      <dgm:spPr/>
    </dgm:pt>
    <dgm:pt modelId="{F47E1716-EB0B-4931-AED2-1DD48F9A99E4}" type="pres">
      <dgm:prSet presAssocID="{1B27ADF7-1188-47B5-B3B8-4418A4D77282}" presName="textRect" presStyleLbl="revTx" presStyleIdx="1" presStyleCnt="7">
        <dgm:presLayoutVars>
          <dgm:chMax val="1"/>
          <dgm:chPref val="1"/>
        </dgm:presLayoutVars>
      </dgm:prSet>
      <dgm:spPr/>
    </dgm:pt>
    <dgm:pt modelId="{8EF6847E-BE39-4985-932A-405BE04DCC4A}" type="pres">
      <dgm:prSet presAssocID="{C1F82844-7781-473B-BF6D-520025C7122E}" presName="sibTrans" presStyleCnt="0"/>
      <dgm:spPr/>
    </dgm:pt>
    <dgm:pt modelId="{5F878B74-0AC6-457F-B0B3-5B877AC0AA20}" type="pres">
      <dgm:prSet presAssocID="{F8804C3B-77F5-43DB-98A8-198B96B19DCB}" presName="compNode" presStyleCnt="0"/>
      <dgm:spPr/>
    </dgm:pt>
    <dgm:pt modelId="{50D1FF38-0114-4DE5-8C48-52F9073EFF2A}" type="pres">
      <dgm:prSet presAssocID="{F8804C3B-77F5-43DB-98A8-198B96B19DCB}" presName="iconBgRect" presStyleLbl="bgShp" presStyleIdx="2" presStyleCnt="7"/>
      <dgm:spPr/>
    </dgm:pt>
    <dgm:pt modelId="{C0AD2460-AD66-40E9-B4CD-4B6058CBB77B}" type="pres">
      <dgm:prSet presAssocID="{F8804C3B-77F5-43DB-98A8-198B96B19DCB}"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6E9F4FCC-862B-468F-AB18-2CA941345097}" type="pres">
      <dgm:prSet presAssocID="{F8804C3B-77F5-43DB-98A8-198B96B19DCB}" presName="spaceRect" presStyleCnt="0"/>
      <dgm:spPr/>
    </dgm:pt>
    <dgm:pt modelId="{B8558585-EEDB-4AAA-83FC-B0E19803EBF7}" type="pres">
      <dgm:prSet presAssocID="{F8804C3B-77F5-43DB-98A8-198B96B19DCB}" presName="textRect" presStyleLbl="revTx" presStyleIdx="2" presStyleCnt="7">
        <dgm:presLayoutVars>
          <dgm:chMax val="1"/>
          <dgm:chPref val="1"/>
        </dgm:presLayoutVars>
      </dgm:prSet>
      <dgm:spPr/>
    </dgm:pt>
    <dgm:pt modelId="{2DC6A7BD-9BC8-4104-8D72-E91F60C13969}" type="pres">
      <dgm:prSet presAssocID="{66189DDA-4FC3-46E6-A107-FCEE5CF14968}" presName="sibTrans" presStyleCnt="0"/>
      <dgm:spPr/>
    </dgm:pt>
    <dgm:pt modelId="{9A561613-7900-41CF-91B1-34D0DCAFD2BD}" type="pres">
      <dgm:prSet presAssocID="{2E0C6D22-C01C-4C09-9EDA-EAA2EA3FCB54}" presName="compNode" presStyleCnt="0"/>
      <dgm:spPr/>
    </dgm:pt>
    <dgm:pt modelId="{2241E776-EF51-485D-A54B-BD8DFE4BB441}" type="pres">
      <dgm:prSet presAssocID="{2E0C6D22-C01C-4C09-9EDA-EAA2EA3FCB54}" presName="iconBgRect" presStyleLbl="bgShp" presStyleIdx="3" presStyleCnt="7"/>
      <dgm:spPr/>
    </dgm:pt>
    <dgm:pt modelId="{1E733EA8-E812-481F-AA5A-87D2EA791950}" type="pres">
      <dgm:prSet presAssocID="{2E0C6D22-C01C-4C09-9EDA-EAA2EA3FCB54}"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eting"/>
        </a:ext>
      </dgm:extLst>
    </dgm:pt>
    <dgm:pt modelId="{EEC5D72D-ED90-4CC4-A4A0-5225D4179EC0}" type="pres">
      <dgm:prSet presAssocID="{2E0C6D22-C01C-4C09-9EDA-EAA2EA3FCB54}" presName="spaceRect" presStyleCnt="0"/>
      <dgm:spPr/>
    </dgm:pt>
    <dgm:pt modelId="{C6F810AC-4359-4160-8564-076A829D6FDD}" type="pres">
      <dgm:prSet presAssocID="{2E0C6D22-C01C-4C09-9EDA-EAA2EA3FCB54}" presName="textRect" presStyleLbl="revTx" presStyleIdx="3" presStyleCnt="7">
        <dgm:presLayoutVars>
          <dgm:chMax val="1"/>
          <dgm:chPref val="1"/>
        </dgm:presLayoutVars>
      </dgm:prSet>
      <dgm:spPr/>
    </dgm:pt>
    <dgm:pt modelId="{93FF198C-E2E7-4488-89CF-847C03FFC197}" type="pres">
      <dgm:prSet presAssocID="{A0ECC6DC-7451-4F9D-81CE-19F83E0C9BB8}" presName="sibTrans" presStyleCnt="0"/>
      <dgm:spPr/>
    </dgm:pt>
    <dgm:pt modelId="{74A0A660-2132-4092-B3B9-B3FC7824DA54}" type="pres">
      <dgm:prSet presAssocID="{DED0F22A-557E-44B1-B2C7-637A75E3EED3}" presName="compNode" presStyleCnt="0"/>
      <dgm:spPr/>
    </dgm:pt>
    <dgm:pt modelId="{0897814F-7661-445D-8848-BADA1C853A8F}" type="pres">
      <dgm:prSet presAssocID="{DED0F22A-557E-44B1-B2C7-637A75E3EED3}" presName="iconBgRect" presStyleLbl="bgShp" presStyleIdx="4" presStyleCnt="7"/>
      <dgm:spPr/>
    </dgm:pt>
    <dgm:pt modelId="{04B6846D-C5E9-44AD-9206-AD5EF52BE6F9}" type="pres">
      <dgm:prSet presAssocID="{DED0F22A-557E-44B1-B2C7-637A75E3EED3}"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topwatch"/>
        </a:ext>
      </dgm:extLst>
    </dgm:pt>
    <dgm:pt modelId="{32903F25-4D41-45B5-ACB9-3FC332ABC5EB}" type="pres">
      <dgm:prSet presAssocID="{DED0F22A-557E-44B1-B2C7-637A75E3EED3}" presName="spaceRect" presStyleCnt="0"/>
      <dgm:spPr/>
    </dgm:pt>
    <dgm:pt modelId="{00A9984B-BF36-49AD-9B96-4116137CC17A}" type="pres">
      <dgm:prSet presAssocID="{DED0F22A-557E-44B1-B2C7-637A75E3EED3}" presName="textRect" presStyleLbl="revTx" presStyleIdx="4" presStyleCnt="7">
        <dgm:presLayoutVars>
          <dgm:chMax val="1"/>
          <dgm:chPref val="1"/>
        </dgm:presLayoutVars>
      </dgm:prSet>
      <dgm:spPr/>
    </dgm:pt>
    <dgm:pt modelId="{516CED30-EA30-4017-8F61-2EF124FADAB4}" type="pres">
      <dgm:prSet presAssocID="{14544770-76E1-4467-8BC6-1B1406191E76}" presName="sibTrans" presStyleCnt="0"/>
      <dgm:spPr/>
    </dgm:pt>
    <dgm:pt modelId="{480EB228-BBA2-4BEF-9072-CE8AB8440609}" type="pres">
      <dgm:prSet presAssocID="{59BED4F0-571E-434A-BF6C-60476E9454BD}" presName="compNode" presStyleCnt="0"/>
      <dgm:spPr/>
    </dgm:pt>
    <dgm:pt modelId="{1B9B6BE2-9449-4B20-97C0-1DD275EB6DD0}" type="pres">
      <dgm:prSet presAssocID="{59BED4F0-571E-434A-BF6C-60476E9454BD}" presName="iconBgRect" presStyleLbl="bgShp" presStyleIdx="5" presStyleCnt="7"/>
      <dgm:spPr/>
    </dgm:pt>
    <dgm:pt modelId="{697DAEE7-0AB9-4B35-B08F-24A71DBEA9F2}" type="pres">
      <dgm:prSet presAssocID="{59BED4F0-571E-434A-BF6C-60476E9454BD}"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Lightbulb"/>
        </a:ext>
      </dgm:extLst>
    </dgm:pt>
    <dgm:pt modelId="{16B08488-D025-4FE0-92F3-4B7064316BCB}" type="pres">
      <dgm:prSet presAssocID="{59BED4F0-571E-434A-BF6C-60476E9454BD}" presName="spaceRect" presStyleCnt="0"/>
      <dgm:spPr/>
    </dgm:pt>
    <dgm:pt modelId="{814F0199-BDA0-4F39-B6EE-2B32626F3B1D}" type="pres">
      <dgm:prSet presAssocID="{59BED4F0-571E-434A-BF6C-60476E9454BD}" presName="textRect" presStyleLbl="revTx" presStyleIdx="5" presStyleCnt="7">
        <dgm:presLayoutVars>
          <dgm:chMax val="1"/>
          <dgm:chPref val="1"/>
        </dgm:presLayoutVars>
      </dgm:prSet>
      <dgm:spPr/>
    </dgm:pt>
    <dgm:pt modelId="{39BEF99C-91C9-42F3-B23C-13C01457D35D}" type="pres">
      <dgm:prSet presAssocID="{C235AB09-567B-4628-AB26-6E8045E7B378}" presName="sibTrans" presStyleCnt="0"/>
      <dgm:spPr/>
    </dgm:pt>
    <dgm:pt modelId="{0C792538-3F50-4C90-BF09-268B4F0DF20F}" type="pres">
      <dgm:prSet presAssocID="{4726E35F-E5D0-48B5-B047-43C4BAAB8191}" presName="compNode" presStyleCnt="0"/>
      <dgm:spPr/>
    </dgm:pt>
    <dgm:pt modelId="{7DE7EB8F-B243-4AD8-83BA-0D0B5F4E6D1E}" type="pres">
      <dgm:prSet presAssocID="{4726E35F-E5D0-48B5-B047-43C4BAAB8191}" presName="iconBgRect" presStyleLbl="bgShp" presStyleIdx="6" presStyleCnt="7"/>
      <dgm:spPr/>
    </dgm:pt>
    <dgm:pt modelId="{7C611B4C-78AC-4865-ACAC-645346E1929B}" type="pres">
      <dgm:prSet presAssocID="{4726E35F-E5D0-48B5-B047-43C4BAAB8191}"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Teacher"/>
        </a:ext>
      </dgm:extLst>
    </dgm:pt>
    <dgm:pt modelId="{F9C336FD-C62B-4D4C-9DA9-6A60268C531B}" type="pres">
      <dgm:prSet presAssocID="{4726E35F-E5D0-48B5-B047-43C4BAAB8191}" presName="spaceRect" presStyleCnt="0"/>
      <dgm:spPr/>
    </dgm:pt>
    <dgm:pt modelId="{55A8D358-2149-4FFE-BCD3-D43DD9F6D293}" type="pres">
      <dgm:prSet presAssocID="{4726E35F-E5D0-48B5-B047-43C4BAAB8191}" presName="textRect" presStyleLbl="revTx" presStyleIdx="6" presStyleCnt="7">
        <dgm:presLayoutVars>
          <dgm:chMax val="1"/>
          <dgm:chPref val="1"/>
        </dgm:presLayoutVars>
      </dgm:prSet>
      <dgm:spPr/>
    </dgm:pt>
  </dgm:ptLst>
  <dgm:cxnLst>
    <dgm:cxn modelId="{2A7E200D-E762-43F4-9099-790B3A9C686E}" type="presOf" srcId="{4726E35F-E5D0-48B5-B047-43C4BAAB8191}" destId="{55A8D358-2149-4FFE-BCD3-D43DD9F6D293}" srcOrd="0" destOrd="0" presId="urn:microsoft.com/office/officeart/2018/5/layout/IconCircleLabelList"/>
    <dgm:cxn modelId="{0B4F730E-F006-4341-89A7-3A3E022F168F}" type="presOf" srcId="{DD507516-5FD4-4675-BBC2-DAB629E97D77}" destId="{C0357E8E-6063-4DEC-A786-E5D238ADEFEB}" srcOrd="0" destOrd="0" presId="urn:microsoft.com/office/officeart/2018/5/layout/IconCircleLabelList"/>
    <dgm:cxn modelId="{E7C2BE27-0A10-4BDF-A8FA-16EF158D468E}" srcId="{2F82E2B1-8FA6-4227-B06D-26E3F99F2E62}" destId="{4726E35F-E5D0-48B5-B047-43C4BAAB8191}" srcOrd="6" destOrd="0" parTransId="{394A58C1-01C1-4C66-9D9A-838F7A9A0BC8}" sibTransId="{2BE52F4E-AC72-4EFF-BD48-1CCDEF1D4FB4}"/>
    <dgm:cxn modelId="{BAA7F82C-D5FE-4EA8-8F0D-37A2A44CD48D}" srcId="{2F82E2B1-8FA6-4227-B06D-26E3F99F2E62}" destId="{1B27ADF7-1188-47B5-B3B8-4418A4D77282}" srcOrd="1" destOrd="0" parTransId="{6BB9DD24-2497-4704-B4BA-8947D314926F}" sibTransId="{C1F82844-7781-473B-BF6D-520025C7122E}"/>
    <dgm:cxn modelId="{29A0E660-586D-4E79-8406-2E8777F285E0}" srcId="{2F82E2B1-8FA6-4227-B06D-26E3F99F2E62}" destId="{F8804C3B-77F5-43DB-98A8-198B96B19DCB}" srcOrd="2" destOrd="0" parTransId="{EEBEC73F-84DA-474B-814C-7F2597F310EA}" sibTransId="{66189DDA-4FC3-46E6-A107-FCEE5CF14968}"/>
    <dgm:cxn modelId="{A61E8861-3D27-4BDB-8891-2C8DA8188FAD}" srcId="{2F82E2B1-8FA6-4227-B06D-26E3F99F2E62}" destId="{DED0F22A-557E-44B1-B2C7-637A75E3EED3}" srcOrd="4" destOrd="0" parTransId="{60943BB0-8EC1-4A4D-A8FB-4CA485801369}" sibTransId="{14544770-76E1-4467-8BC6-1B1406191E76}"/>
    <dgm:cxn modelId="{D24DD345-A938-4709-B680-44141DD52852}" type="presOf" srcId="{DED0F22A-557E-44B1-B2C7-637A75E3EED3}" destId="{00A9984B-BF36-49AD-9B96-4116137CC17A}" srcOrd="0" destOrd="0" presId="urn:microsoft.com/office/officeart/2018/5/layout/IconCircleLabelList"/>
    <dgm:cxn modelId="{4A0FEA6D-6F7A-4F55-8140-8FFDC8E6C8D0}" srcId="{2F82E2B1-8FA6-4227-B06D-26E3F99F2E62}" destId="{DD507516-5FD4-4675-BBC2-DAB629E97D77}" srcOrd="0" destOrd="0" parTransId="{76F881C2-058A-400D-B371-1FD254A1D0A1}" sibTransId="{4BBBA5AB-BB62-4975-8ED3-34F551D9CE1C}"/>
    <dgm:cxn modelId="{34E44BA6-FCEB-4F76-BFCB-56C4A475A24E}" srcId="{2F82E2B1-8FA6-4227-B06D-26E3F99F2E62}" destId="{59BED4F0-571E-434A-BF6C-60476E9454BD}" srcOrd="5" destOrd="0" parTransId="{CC2C7BC7-586F-48A8-A820-B6514A4B4148}" sibTransId="{C235AB09-567B-4628-AB26-6E8045E7B378}"/>
    <dgm:cxn modelId="{0E18F3B2-BFFB-4A6B-B38D-EBC51AB7ECCD}" type="presOf" srcId="{59BED4F0-571E-434A-BF6C-60476E9454BD}" destId="{814F0199-BDA0-4F39-B6EE-2B32626F3B1D}" srcOrd="0" destOrd="0" presId="urn:microsoft.com/office/officeart/2018/5/layout/IconCircleLabelList"/>
    <dgm:cxn modelId="{164078B5-25DB-43B0-9793-FF246BC6ED90}" type="presOf" srcId="{1B27ADF7-1188-47B5-B3B8-4418A4D77282}" destId="{F47E1716-EB0B-4931-AED2-1DD48F9A99E4}" srcOrd="0" destOrd="0" presId="urn:microsoft.com/office/officeart/2018/5/layout/IconCircleLabelList"/>
    <dgm:cxn modelId="{722012CA-DDCD-4CCE-8DDF-1D3E0117B23E}" type="presOf" srcId="{F8804C3B-77F5-43DB-98A8-198B96B19DCB}" destId="{B8558585-EEDB-4AAA-83FC-B0E19803EBF7}" srcOrd="0" destOrd="0" presId="urn:microsoft.com/office/officeart/2018/5/layout/IconCircleLabelList"/>
    <dgm:cxn modelId="{3A5F3FDE-083C-49C6-8EBA-130B88086B37}" type="presOf" srcId="{2F82E2B1-8FA6-4227-B06D-26E3F99F2E62}" destId="{E5EADB75-BC51-4018-B29A-EFE0AFF3228D}" srcOrd="0" destOrd="0" presId="urn:microsoft.com/office/officeart/2018/5/layout/IconCircleLabelList"/>
    <dgm:cxn modelId="{0FED5BEC-9A6C-4C3F-92D6-FCDD0E733A60}" srcId="{2F82E2B1-8FA6-4227-B06D-26E3F99F2E62}" destId="{2E0C6D22-C01C-4C09-9EDA-EAA2EA3FCB54}" srcOrd="3" destOrd="0" parTransId="{33267698-DFE6-4AF1-98DC-CB3C382A472C}" sibTransId="{A0ECC6DC-7451-4F9D-81CE-19F83E0C9BB8}"/>
    <dgm:cxn modelId="{DC722BFE-3A8A-402F-B4EB-76A1D8159D34}" type="presOf" srcId="{2E0C6D22-C01C-4C09-9EDA-EAA2EA3FCB54}" destId="{C6F810AC-4359-4160-8564-076A829D6FDD}" srcOrd="0" destOrd="0" presId="urn:microsoft.com/office/officeart/2018/5/layout/IconCircleLabelList"/>
    <dgm:cxn modelId="{25DFFFBE-6792-485E-ABD8-05853F1F6C91}" type="presParOf" srcId="{E5EADB75-BC51-4018-B29A-EFE0AFF3228D}" destId="{A16AD476-163B-4206-BDE7-2E2CDC8F915B}" srcOrd="0" destOrd="0" presId="urn:microsoft.com/office/officeart/2018/5/layout/IconCircleLabelList"/>
    <dgm:cxn modelId="{B636299F-BC37-4763-9788-EE8AA7493A02}" type="presParOf" srcId="{A16AD476-163B-4206-BDE7-2E2CDC8F915B}" destId="{46B67FF9-97BE-4898-BB09-4698EAFFAE64}" srcOrd="0" destOrd="0" presId="urn:microsoft.com/office/officeart/2018/5/layout/IconCircleLabelList"/>
    <dgm:cxn modelId="{32326254-9BEB-4846-B8FA-43792D93E707}" type="presParOf" srcId="{A16AD476-163B-4206-BDE7-2E2CDC8F915B}" destId="{7B615D12-DB38-448D-A179-9A1ECE394CFC}" srcOrd="1" destOrd="0" presId="urn:microsoft.com/office/officeart/2018/5/layout/IconCircleLabelList"/>
    <dgm:cxn modelId="{7BEEE559-929B-4D53-AA49-64E0B2FE5AEC}" type="presParOf" srcId="{A16AD476-163B-4206-BDE7-2E2CDC8F915B}" destId="{84547FF6-0F73-424C-B078-A15BA3911DAB}" srcOrd="2" destOrd="0" presId="urn:microsoft.com/office/officeart/2018/5/layout/IconCircleLabelList"/>
    <dgm:cxn modelId="{5686EF41-8052-4029-AFC5-E2AC2762C3DE}" type="presParOf" srcId="{A16AD476-163B-4206-BDE7-2E2CDC8F915B}" destId="{C0357E8E-6063-4DEC-A786-E5D238ADEFEB}" srcOrd="3" destOrd="0" presId="urn:microsoft.com/office/officeart/2018/5/layout/IconCircleLabelList"/>
    <dgm:cxn modelId="{0DB0A005-F3EA-43F6-AE9E-EB758462A078}" type="presParOf" srcId="{E5EADB75-BC51-4018-B29A-EFE0AFF3228D}" destId="{004C77F4-AD97-40A5-B040-521F875B9236}" srcOrd="1" destOrd="0" presId="urn:microsoft.com/office/officeart/2018/5/layout/IconCircleLabelList"/>
    <dgm:cxn modelId="{ABC7D8C5-9D7C-4EF1-AD61-17ECE45F7789}" type="presParOf" srcId="{E5EADB75-BC51-4018-B29A-EFE0AFF3228D}" destId="{A60BF072-0A4A-4E93-9286-FA2023A8A448}" srcOrd="2" destOrd="0" presId="urn:microsoft.com/office/officeart/2018/5/layout/IconCircleLabelList"/>
    <dgm:cxn modelId="{5F282A59-DB16-4823-99A0-BAB74D0049B0}" type="presParOf" srcId="{A60BF072-0A4A-4E93-9286-FA2023A8A448}" destId="{D4A631C9-9C15-4D39-9814-3109ED621C87}" srcOrd="0" destOrd="0" presId="urn:microsoft.com/office/officeart/2018/5/layout/IconCircleLabelList"/>
    <dgm:cxn modelId="{7FC0AE1F-0EB3-4C0E-AD08-E03B44D25715}" type="presParOf" srcId="{A60BF072-0A4A-4E93-9286-FA2023A8A448}" destId="{B22BE457-D353-4FFF-8AD2-8BF9D55C67D0}" srcOrd="1" destOrd="0" presId="urn:microsoft.com/office/officeart/2018/5/layout/IconCircleLabelList"/>
    <dgm:cxn modelId="{0BBFEBCB-54CE-4FAA-8FBA-27CBBAB5D5A6}" type="presParOf" srcId="{A60BF072-0A4A-4E93-9286-FA2023A8A448}" destId="{D615C80B-D821-4435-96C2-47F318FD0551}" srcOrd="2" destOrd="0" presId="urn:microsoft.com/office/officeart/2018/5/layout/IconCircleLabelList"/>
    <dgm:cxn modelId="{470F16A9-629C-4DA6-9A31-B8ABFB414C5A}" type="presParOf" srcId="{A60BF072-0A4A-4E93-9286-FA2023A8A448}" destId="{F47E1716-EB0B-4931-AED2-1DD48F9A99E4}" srcOrd="3" destOrd="0" presId="urn:microsoft.com/office/officeart/2018/5/layout/IconCircleLabelList"/>
    <dgm:cxn modelId="{B5E1DDE1-610E-47A8-8222-01F5629A1ABB}" type="presParOf" srcId="{E5EADB75-BC51-4018-B29A-EFE0AFF3228D}" destId="{8EF6847E-BE39-4985-932A-405BE04DCC4A}" srcOrd="3" destOrd="0" presId="urn:microsoft.com/office/officeart/2018/5/layout/IconCircleLabelList"/>
    <dgm:cxn modelId="{1B7A36B2-A2FC-4BD0-B847-314F53ACE040}" type="presParOf" srcId="{E5EADB75-BC51-4018-B29A-EFE0AFF3228D}" destId="{5F878B74-0AC6-457F-B0B3-5B877AC0AA20}" srcOrd="4" destOrd="0" presId="urn:microsoft.com/office/officeart/2018/5/layout/IconCircleLabelList"/>
    <dgm:cxn modelId="{FA9CD100-88F4-430F-B952-CB25BAA7FC5E}" type="presParOf" srcId="{5F878B74-0AC6-457F-B0B3-5B877AC0AA20}" destId="{50D1FF38-0114-4DE5-8C48-52F9073EFF2A}" srcOrd="0" destOrd="0" presId="urn:microsoft.com/office/officeart/2018/5/layout/IconCircleLabelList"/>
    <dgm:cxn modelId="{1B19A99D-459A-4C58-A927-5BCED1271463}" type="presParOf" srcId="{5F878B74-0AC6-457F-B0B3-5B877AC0AA20}" destId="{C0AD2460-AD66-40E9-B4CD-4B6058CBB77B}" srcOrd="1" destOrd="0" presId="urn:microsoft.com/office/officeart/2018/5/layout/IconCircleLabelList"/>
    <dgm:cxn modelId="{423908FE-94BD-484B-8337-AC25338B31CC}" type="presParOf" srcId="{5F878B74-0AC6-457F-B0B3-5B877AC0AA20}" destId="{6E9F4FCC-862B-468F-AB18-2CA941345097}" srcOrd="2" destOrd="0" presId="urn:microsoft.com/office/officeart/2018/5/layout/IconCircleLabelList"/>
    <dgm:cxn modelId="{F2ECBA34-35F5-48AC-B393-768EB883662D}" type="presParOf" srcId="{5F878B74-0AC6-457F-B0B3-5B877AC0AA20}" destId="{B8558585-EEDB-4AAA-83FC-B0E19803EBF7}" srcOrd="3" destOrd="0" presId="urn:microsoft.com/office/officeart/2018/5/layout/IconCircleLabelList"/>
    <dgm:cxn modelId="{4E37829C-34D7-4B1F-896C-99A6B19BA39F}" type="presParOf" srcId="{E5EADB75-BC51-4018-B29A-EFE0AFF3228D}" destId="{2DC6A7BD-9BC8-4104-8D72-E91F60C13969}" srcOrd="5" destOrd="0" presId="urn:microsoft.com/office/officeart/2018/5/layout/IconCircleLabelList"/>
    <dgm:cxn modelId="{FF453C61-5F78-4AE6-847C-7387FFC42FD2}" type="presParOf" srcId="{E5EADB75-BC51-4018-B29A-EFE0AFF3228D}" destId="{9A561613-7900-41CF-91B1-34D0DCAFD2BD}" srcOrd="6" destOrd="0" presId="urn:microsoft.com/office/officeart/2018/5/layout/IconCircleLabelList"/>
    <dgm:cxn modelId="{15CC48B3-86D6-409A-96C6-18077E8C704F}" type="presParOf" srcId="{9A561613-7900-41CF-91B1-34D0DCAFD2BD}" destId="{2241E776-EF51-485D-A54B-BD8DFE4BB441}" srcOrd="0" destOrd="0" presId="urn:microsoft.com/office/officeart/2018/5/layout/IconCircleLabelList"/>
    <dgm:cxn modelId="{5D20C58C-CAD7-48B6-B4DC-BC887D1ED19D}" type="presParOf" srcId="{9A561613-7900-41CF-91B1-34D0DCAFD2BD}" destId="{1E733EA8-E812-481F-AA5A-87D2EA791950}" srcOrd="1" destOrd="0" presId="urn:microsoft.com/office/officeart/2018/5/layout/IconCircleLabelList"/>
    <dgm:cxn modelId="{2FA83A25-C818-4693-9D87-4D95696B6EE9}" type="presParOf" srcId="{9A561613-7900-41CF-91B1-34D0DCAFD2BD}" destId="{EEC5D72D-ED90-4CC4-A4A0-5225D4179EC0}" srcOrd="2" destOrd="0" presId="urn:microsoft.com/office/officeart/2018/5/layout/IconCircleLabelList"/>
    <dgm:cxn modelId="{F30D17FA-0379-4590-98A3-77D3F6EBBB9F}" type="presParOf" srcId="{9A561613-7900-41CF-91B1-34D0DCAFD2BD}" destId="{C6F810AC-4359-4160-8564-076A829D6FDD}" srcOrd="3" destOrd="0" presId="urn:microsoft.com/office/officeart/2018/5/layout/IconCircleLabelList"/>
    <dgm:cxn modelId="{5AD4A8AA-AA00-4CA6-800D-BA9D82B78653}" type="presParOf" srcId="{E5EADB75-BC51-4018-B29A-EFE0AFF3228D}" destId="{93FF198C-E2E7-4488-89CF-847C03FFC197}" srcOrd="7" destOrd="0" presId="urn:microsoft.com/office/officeart/2018/5/layout/IconCircleLabelList"/>
    <dgm:cxn modelId="{0FBC2111-8CC5-47DE-A299-B9E5065A6C39}" type="presParOf" srcId="{E5EADB75-BC51-4018-B29A-EFE0AFF3228D}" destId="{74A0A660-2132-4092-B3B9-B3FC7824DA54}" srcOrd="8" destOrd="0" presId="urn:microsoft.com/office/officeart/2018/5/layout/IconCircleLabelList"/>
    <dgm:cxn modelId="{4D3C54AE-798E-40BC-AF55-BEF65403B24B}" type="presParOf" srcId="{74A0A660-2132-4092-B3B9-B3FC7824DA54}" destId="{0897814F-7661-445D-8848-BADA1C853A8F}" srcOrd="0" destOrd="0" presId="urn:microsoft.com/office/officeart/2018/5/layout/IconCircleLabelList"/>
    <dgm:cxn modelId="{3B599A16-9F28-4D18-9D85-E07B32CBE269}" type="presParOf" srcId="{74A0A660-2132-4092-B3B9-B3FC7824DA54}" destId="{04B6846D-C5E9-44AD-9206-AD5EF52BE6F9}" srcOrd="1" destOrd="0" presId="urn:microsoft.com/office/officeart/2018/5/layout/IconCircleLabelList"/>
    <dgm:cxn modelId="{F7063CAD-7D6E-4BEB-B073-18904CDEECEE}" type="presParOf" srcId="{74A0A660-2132-4092-B3B9-B3FC7824DA54}" destId="{32903F25-4D41-45B5-ACB9-3FC332ABC5EB}" srcOrd="2" destOrd="0" presId="urn:microsoft.com/office/officeart/2018/5/layout/IconCircleLabelList"/>
    <dgm:cxn modelId="{4353234F-1806-4856-8603-87D1DD738CDC}" type="presParOf" srcId="{74A0A660-2132-4092-B3B9-B3FC7824DA54}" destId="{00A9984B-BF36-49AD-9B96-4116137CC17A}" srcOrd="3" destOrd="0" presId="urn:microsoft.com/office/officeart/2018/5/layout/IconCircleLabelList"/>
    <dgm:cxn modelId="{CCA9ABE7-1196-4BE2-B3C9-6D37954CC7B2}" type="presParOf" srcId="{E5EADB75-BC51-4018-B29A-EFE0AFF3228D}" destId="{516CED30-EA30-4017-8F61-2EF124FADAB4}" srcOrd="9" destOrd="0" presId="urn:microsoft.com/office/officeart/2018/5/layout/IconCircleLabelList"/>
    <dgm:cxn modelId="{6312F5E9-2953-4413-B5FC-FEF56392F0A4}" type="presParOf" srcId="{E5EADB75-BC51-4018-B29A-EFE0AFF3228D}" destId="{480EB228-BBA2-4BEF-9072-CE8AB8440609}" srcOrd="10" destOrd="0" presId="urn:microsoft.com/office/officeart/2018/5/layout/IconCircleLabelList"/>
    <dgm:cxn modelId="{0F09AF37-4B80-4EF0-8F17-D927FE951F75}" type="presParOf" srcId="{480EB228-BBA2-4BEF-9072-CE8AB8440609}" destId="{1B9B6BE2-9449-4B20-97C0-1DD275EB6DD0}" srcOrd="0" destOrd="0" presId="urn:microsoft.com/office/officeart/2018/5/layout/IconCircleLabelList"/>
    <dgm:cxn modelId="{8A66D96B-75AC-4106-913C-1BC4752A335A}" type="presParOf" srcId="{480EB228-BBA2-4BEF-9072-CE8AB8440609}" destId="{697DAEE7-0AB9-4B35-B08F-24A71DBEA9F2}" srcOrd="1" destOrd="0" presId="urn:microsoft.com/office/officeart/2018/5/layout/IconCircleLabelList"/>
    <dgm:cxn modelId="{2549F2D5-0E7E-4E88-8499-36461F13B2EE}" type="presParOf" srcId="{480EB228-BBA2-4BEF-9072-CE8AB8440609}" destId="{16B08488-D025-4FE0-92F3-4B7064316BCB}" srcOrd="2" destOrd="0" presId="urn:microsoft.com/office/officeart/2018/5/layout/IconCircleLabelList"/>
    <dgm:cxn modelId="{04E4D3A9-0716-4638-9EB4-FEA7B1EE9D47}" type="presParOf" srcId="{480EB228-BBA2-4BEF-9072-CE8AB8440609}" destId="{814F0199-BDA0-4F39-B6EE-2B32626F3B1D}" srcOrd="3" destOrd="0" presId="urn:microsoft.com/office/officeart/2018/5/layout/IconCircleLabelList"/>
    <dgm:cxn modelId="{FF82859B-E167-4D2E-B43F-0D5D1BB0D76E}" type="presParOf" srcId="{E5EADB75-BC51-4018-B29A-EFE0AFF3228D}" destId="{39BEF99C-91C9-42F3-B23C-13C01457D35D}" srcOrd="11" destOrd="0" presId="urn:microsoft.com/office/officeart/2018/5/layout/IconCircleLabelList"/>
    <dgm:cxn modelId="{CD31EDC5-AD9A-4DF9-A6EF-19CCA4DC2532}" type="presParOf" srcId="{E5EADB75-BC51-4018-B29A-EFE0AFF3228D}" destId="{0C792538-3F50-4C90-BF09-268B4F0DF20F}" srcOrd="12" destOrd="0" presId="urn:microsoft.com/office/officeart/2018/5/layout/IconCircleLabelList"/>
    <dgm:cxn modelId="{E65D3801-26C7-4DC3-820D-E8768CAA9414}" type="presParOf" srcId="{0C792538-3F50-4C90-BF09-268B4F0DF20F}" destId="{7DE7EB8F-B243-4AD8-83BA-0D0B5F4E6D1E}" srcOrd="0" destOrd="0" presId="urn:microsoft.com/office/officeart/2018/5/layout/IconCircleLabelList"/>
    <dgm:cxn modelId="{2C926A86-4D7F-43FF-AE44-710363E30F5E}" type="presParOf" srcId="{0C792538-3F50-4C90-BF09-268B4F0DF20F}" destId="{7C611B4C-78AC-4865-ACAC-645346E1929B}" srcOrd="1" destOrd="0" presId="urn:microsoft.com/office/officeart/2018/5/layout/IconCircleLabelList"/>
    <dgm:cxn modelId="{F4FF10A4-45B7-493A-B449-4BBEDB130512}" type="presParOf" srcId="{0C792538-3F50-4C90-BF09-268B4F0DF20F}" destId="{F9C336FD-C62B-4D4C-9DA9-6A60268C531B}" srcOrd="2" destOrd="0" presId="urn:microsoft.com/office/officeart/2018/5/layout/IconCircleLabelList"/>
    <dgm:cxn modelId="{60C76A0E-798F-469E-A5EF-3A73546107A2}" type="presParOf" srcId="{0C792538-3F50-4C90-BF09-268B4F0DF20F}" destId="{55A8D358-2149-4FFE-BCD3-D43DD9F6D293}"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F82E2B1-8FA6-4227-B06D-26E3F99F2E62}" type="doc">
      <dgm:prSet loTypeId="urn:microsoft.com/office/officeart/2018/5/layout/IconCircle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DD507516-5FD4-4675-BBC2-DAB629E97D77}">
      <dgm:prSet/>
      <dgm:spPr/>
      <dgm:t>
        <a:bodyPr/>
        <a:lstStyle/>
        <a:p>
          <a:pPr>
            <a:lnSpc>
              <a:spcPct val="100000"/>
            </a:lnSpc>
            <a:defRPr cap="all"/>
          </a:pPr>
          <a:r>
            <a:rPr lang="en-GB"/>
            <a:t>Team OF EXPERTS</a:t>
          </a:r>
          <a:endParaRPr lang="en-US"/>
        </a:p>
      </dgm:t>
    </dgm:pt>
    <dgm:pt modelId="{76F881C2-058A-400D-B371-1FD254A1D0A1}" type="parTrans" cxnId="{4A0FEA6D-6F7A-4F55-8140-8FFDC8E6C8D0}">
      <dgm:prSet/>
      <dgm:spPr/>
      <dgm:t>
        <a:bodyPr/>
        <a:lstStyle/>
        <a:p>
          <a:endParaRPr lang="en-US"/>
        </a:p>
      </dgm:t>
    </dgm:pt>
    <dgm:pt modelId="{4BBBA5AB-BB62-4975-8ED3-34F551D9CE1C}" type="sibTrans" cxnId="{4A0FEA6D-6F7A-4F55-8140-8FFDC8E6C8D0}">
      <dgm:prSet/>
      <dgm:spPr/>
      <dgm:t>
        <a:bodyPr/>
        <a:lstStyle/>
        <a:p>
          <a:endParaRPr lang="en-US"/>
        </a:p>
      </dgm:t>
    </dgm:pt>
    <dgm:pt modelId="{1B27ADF7-1188-47B5-B3B8-4418A4D77282}">
      <dgm:prSet/>
      <dgm:spPr/>
      <dgm:t>
        <a:bodyPr/>
        <a:lstStyle/>
        <a:p>
          <a:pPr>
            <a:lnSpc>
              <a:spcPct val="100000"/>
            </a:lnSpc>
            <a:defRPr cap="all"/>
          </a:pPr>
          <a:r>
            <a:rPr lang="en-GB"/>
            <a:t>Funding model</a:t>
          </a:r>
          <a:endParaRPr lang="en-US"/>
        </a:p>
      </dgm:t>
    </dgm:pt>
    <dgm:pt modelId="{6BB9DD24-2497-4704-B4BA-8947D314926F}" type="parTrans" cxnId="{BAA7F82C-D5FE-4EA8-8F0D-37A2A44CD48D}">
      <dgm:prSet/>
      <dgm:spPr/>
      <dgm:t>
        <a:bodyPr/>
        <a:lstStyle/>
        <a:p>
          <a:endParaRPr lang="en-US"/>
        </a:p>
      </dgm:t>
    </dgm:pt>
    <dgm:pt modelId="{C1F82844-7781-473B-BF6D-520025C7122E}" type="sibTrans" cxnId="{BAA7F82C-D5FE-4EA8-8F0D-37A2A44CD48D}">
      <dgm:prSet/>
      <dgm:spPr/>
      <dgm:t>
        <a:bodyPr/>
        <a:lstStyle/>
        <a:p>
          <a:endParaRPr lang="en-US"/>
        </a:p>
      </dgm:t>
    </dgm:pt>
    <dgm:pt modelId="{F8804C3B-77F5-43DB-98A8-198B96B19DCB}">
      <dgm:prSet/>
      <dgm:spPr/>
      <dgm:t>
        <a:bodyPr/>
        <a:lstStyle/>
        <a:p>
          <a:pPr>
            <a:lnSpc>
              <a:spcPct val="100000"/>
            </a:lnSpc>
            <a:defRPr cap="all"/>
          </a:pPr>
          <a:r>
            <a:rPr lang="en-GB"/>
            <a:t>Maintain Power bi platform</a:t>
          </a:r>
          <a:endParaRPr lang="en-US"/>
        </a:p>
      </dgm:t>
    </dgm:pt>
    <dgm:pt modelId="{EEBEC73F-84DA-474B-814C-7F2597F310EA}" type="parTrans" cxnId="{29A0E660-586D-4E79-8406-2E8777F285E0}">
      <dgm:prSet/>
      <dgm:spPr/>
      <dgm:t>
        <a:bodyPr/>
        <a:lstStyle/>
        <a:p>
          <a:endParaRPr lang="en-US"/>
        </a:p>
      </dgm:t>
    </dgm:pt>
    <dgm:pt modelId="{66189DDA-4FC3-46E6-A107-FCEE5CF14968}" type="sibTrans" cxnId="{29A0E660-586D-4E79-8406-2E8777F285E0}">
      <dgm:prSet/>
      <dgm:spPr/>
      <dgm:t>
        <a:bodyPr/>
        <a:lstStyle/>
        <a:p>
          <a:endParaRPr lang="en-US"/>
        </a:p>
      </dgm:t>
    </dgm:pt>
    <dgm:pt modelId="{2E0C6D22-C01C-4C09-9EDA-EAA2EA3FCB54}">
      <dgm:prSet/>
      <dgm:spPr/>
      <dgm:t>
        <a:bodyPr/>
        <a:lstStyle/>
        <a:p>
          <a:pPr>
            <a:lnSpc>
              <a:spcPct val="100000"/>
            </a:lnSpc>
            <a:defRPr cap="all"/>
          </a:pPr>
          <a:r>
            <a:rPr lang="en-GB"/>
            <a:t>Implementation guidance, best practice, governance</a:t>
          </a:r>
          <a:endParaRPr lang="en-US"/>
        </a:p>
      </dgm:t>
    </dgm:pt>
    <dgm:pt modelId="{33267698-DFE6-4AF1-98DC-CB3C382A472C}" type="parTrans" cxnId="{0FED5BEC-9A6C-4C3F-92D6-FCDD0E733A60}">
      <dgm:prSet/>
      <dgm:spPr/>
      <dgm:t>
        <a:bodyPr/>
        <a:lstStyle/>
        <a:p>
          <a:endParaRPr lang="en-US"/>
        </a:p>
      </dgm:t>
    </dgm:pt>
    <dgm:pt modelId="{A0ECC6DC-7451-4F9D-81CE-19F83E0C9BB8}" type="sibTrans" cxnId="{0FED5BEC-9A6C-4C3F-92D6-FCDD0E733A60}">
      <dgm:prSet/>
      <dgm:spPr/>
      <dgm:t>
        <a:bodyPr/>
        <a:lstStyle/>
        <a:p>
          <a:endParaRPr lang="en-US"/>
        </a:p>
      </dgm:t>
    </dgm:pt>
    <dgm:pt modelId="{59BED4F0-571E-434A-BF6C-60476E9454BD}">
      <dgm:prSet/>
      <dgm:spPr/>
      <dgm:t>
        <a:bodyPr/>
        <a:lstStyle/>
        <a:p>
          <a:pPr>
            <a:lnSpc>
              <a:spcPct val="100000"/>
            </a:lnSpc>
            <a:defRPr cap="all"/>
          </a:pPr>
          <a:r>
            <a:rPr lang="en-GB"/>
            <a:t>Implementation can be partner led</a:t>
          </a:r>
          <a:endParaRPr lang="en-US"/>
        </a:p>
      </dgm:t>
    </dgm:pt>
    <dgm:pt modelId="{CC2C7BC7-586F-48A8-A820-B6514A4B4148}" type="parTrans" cxnId="{34E44BA6-FCEB-4F76-BFCB-56C4A475A24E}">
      <dgm:prSet/>
      <dgm:spPr/>
      <dgm:t>
        <a:bodyPr/>
        <a:lstStyle/>
        <a:p>
          <a:endParaRPr lang="en-US"/>
        </a:p>
      </dgm:t>
    </dgm:pt>
    <dgm:pt modelId="{C235AB09-567B-4628-AB26-6E8045E7B378}" type="sibTrans" cxnId="{34E44BA6-FCEB-4F76-BFCB-56C4A475A24E}">
      <dgm:prSet/>
      <dgm:spPr/>
      <dgm:t>
        <a:bodyPr/>
        <a:lstStyle/>
        <a:p>
          <a:endParaRPr lang="en-US"/>
        </a:p>
      </dgm:t>
    </dgm:pt>
    <dgm:pt modelId="{4726E35F-E5D0-48B5-B047-43C4BAAB8191}">
      <dgm:prSet/>
      <dgm:spPr/>
      <dgm:t>
        <a:bodyPr/>
        <a:lstStyle/>
        <a:p>
          <a:pPr>
            <a:lnSpc>
              <a:spcPct val="100000"/>
            </a:lnSpc>
            <a:defRPr cap="all"/>
          </a:pPr>
          <a:r>
            <a:rPr lang="en-GB"/>
            <a:t>Enablement - Training, continuous learning</a:t>
          </a:r>
          <a:endParaRPr lang="en-US"/>
        </a:p>
      </dgm:t>
    </dgm:pt>
    <dgm:pt modelId="{394A58C1-01C1-4C66-9D9A-838F7A9A0BC8}" type="parTrans" cxnId="{E7C2BE27-0A10-4BDF-A8FA-16EF158D468E}">
      <dgm:prSet/>
      <dgm:spPr/>
      <dgm:t>
        <a:bodyPr/>
        <a:lstStyle/>
        <a:p>
          <a:endParaRPr lang="en-US"/>
        </a:p>
      </dgm:t>
    </dgm:pt>
    <dgm:pt modelId="{2BE52F4E-AC72-4EFF-BD48-1CCDEF1D4FB4}" type="sibTrans" cxnId="{E7C2BE27-0A10-4BDF-A8FA-16EF158D468E}">
      <dgm:prSet/>
      <dgm:spPr/>
      <dgm:t>
        <a:bodyPr/>
        <a:lstStyle/>
        <a:p>
          <a:endParaRPr lang="en-US"/>
        </a:p>
      </dgm:t>
    </dgm:pt>
    <dgm:pt modelId="{E5EADB75-BC51-4018-B29A-EFE0AFF3228D}" type="pres">
      <dgm:prSet presAssocID="{2F82E2B1-8FA6-4227-B06D-26E3F99F2E62}" presName="root" presStyleCnt="0">
        <dgm:presLayoutVars>
          <dgm:dir/>
          <dgm:resizeHandles val="exact"/>
        </dgm:presLayoutVars>
      </dgm:prSet>
      <dgm:spPr/>
    </dgm:pt>
    <dgm:pt modelId="{A16AD476-163B-4206-BDE7-2E2CDC8F915B}" type="pres">
      <dgm:prSet presAssocID="{DD507516-5FD4-4675-BBC2-DAB629E97D77}" presName="compNode" presStyleCnt="0"/>
      <dgm:spPr/>
    </dgm:pt>
    <dgm:pt modelId="{46B67FF9-97BE-4898-BB09-4698EAFFAE64}" type="pres">
      <dgm:prSet presAssocID="{DD507516-5FD4-4675-BBC2-DAB629E97D77}" presName="iconBgRect" presStyleLbl="bgShp" presStyleIdx="0" presStyleCnt="6"/>
      <dgm:spPr/>
    </dgm:pt>
    <dgm:pt modelId="{7B615D12-DB38-448D-A179-9A1ECE394CFC}" type="pres">
      <dgm:prSet presAssocID="{DD507516-5FD4-4675-BBC2-DAB629E97D7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84547FF6-0F73-424C-B078-A15BA3911DAB}" type="pres">
      <dgm:prSet presAssocID="{DD507516-5FD4-4675-BBC2-DAB629E97D77}" presName="spaceRect" presStyleCnt="0"/>
      <dgm:spPr/>
    </dgm:pt>
    <dgm:pt modelId="{C0357E8E-6063-4DEC-A786-E5D238ADEFEB}" type="pres">
      <dgm:prSet presAssocID="{DD507516-5FD4-4675-BBC2-DAB629E97D77}" presName="textRect" presStyleLbl="revTx" presStyleIdx="0" presStyleCnt="6">
        <dgm:presLayoutVars>
          <dgm:chMax val="1"/>
          <dgm:chPref val="1"/>
        </dgm:presLayoutVars>
      </dgm:prSet>
      <dgm:spPr/>
    </dgm:pt>
    <dgm:pt modelId="{004C77F4-AD97-40A5-B040-521F875B9236}" type="pres">
      <dgm:prSet presAssocID="{4BBBA5AB-BB62-4975-8ED3-34F551D9CE1C}" presName="sibTrans" presStyleCnt="0"/>
      <dgm:spPr/>
    </dgm:pt>
    <dgm:pt modelId="{A60BF072-0A4A-4E93-9286-FA2023A8A448}" type="pres">
      <dgm:prSet presAssocID="{1B27ADF7-1188-47B5-B3B8-4418A4D77282}" presName="compNode" presStyleCnt="0"/>
      <dgm:spPr/>
    </dgm:pt>
    <dgm:pt modelId="{D4A631C9-9C15-4D39-9814-3109ED621C87}" type="pres">
      <dgm:prSet presAssocID="{1B27ADF7-1188-47B5-B3B8-4418A4D77282}" presName="iconBgRect" presStyleLbl="bgShp" presStyleIdx="1" presStyleCnt="6"/>
      <dgm:spPr/>
    </dgm:pt>
    <dgm:pt modelId="{B22BE457-D353-4FFF-8AD2-8BF9D55C67D0}" type="pres">
      <dgm:prSet presAssocID="{1B27ADF7-1188-47B5-B3B8-4418A4D77282}"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D615C80B-D821-4435-96C2-47F318FD0551}" type="pres">
      <dgm:prSet presAssocID="{1B27ADF7-1188-47B5-B3B8-4418A4D77282}" presName="spaceRect" presStyleCnt="0"/>
      <dgm:spPr/>
    </dgm:pt>
    <dgm:pt modelId="{F47E1716-EB0B-4931-AED2-1DD48F9A99E4}" type="pres">
      <dgm:prSet presAssocID="{1B27ADF7-1188-47B5-B3B8-4418A4D77282}" presName="textRect" presStyleLbl="revTx" presStyleIdx="1" presStyleCnt="6">
        <dgm:presLayoutVars>
          <dgm:chMax val="1"/>
          <dgm:chPref val="1"/>
        </dgm:presLayoutVars>
      </dgm:prSet>
      <dgm:spPr/>
    </dgm:pt>
    <dgm:pt modelId="{8EF6847E-BE39-4985-932A-405BE04DCC4A}" type="pres">
      <dgm:prSet presAssocID="{C1F82844-7781-473B-BF6D-520025C7122E}" presName="sibTrans" presStyleCnt="0"/>
      <dgm:spPr/>
    </dgm:pt>
    <dgm:pt modelId="{5F878B74-0AC6-457F-B0B3-5B877AC0AA20}" type="pres">
      <dgm:prSet presAssocID="{F8804C3B-77F5-43DB-98A8-198B96B19DCB}" presName="compNode" presStyleCnt="0"/>
      <dgm:spPr/>
    </dgm:pt>
    <dgm:pt modelId="{50D1FF38-0114-4DE5-8C48-52F9073EFF2A}" type="pres">
      <dgm:prSet presAssocID="{F8804C3B-77F5-43DB-98A8-198B96B19DCB}" presName="iconBgRect" presStyleLbl="bgShp" presStyleIdx="2" presStyleCnt="6"/>
      <dgm:spPr/>
    </dgm:pt>
    <dgm:pt modelId="{C0AD2460-AD66-40E9-B4CD-4B6058CBB77B}" type="pres">
      <dgm:prSet presAssocID="{F8804C3B-77F5-43DB-98A8-198B96B19DCB}"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6E9F4FCC-862B-468F-AB18-2CA941345097}" type="pres">
      <dgm:prSet presAssocID="{F8804C3B-77F5-43DB-98A8-198B96B19DCB}" presName="spaceRect" presStyleCnt="0"/>
      <dgm:spPr/>
    </dgm:pt>
    <dgm:pt modelId="{B8558585-EEDB-4AAA-83FC-B0E19803EBF7}" type="pres">
      <dgm:prSet presAssocID="{F8804C3B-77F5-43DB-98A8-198B96B19DCB}" presName="textRect" presStyleLbl="revTx" presStyleIdx="2" presStyleCnt="6">
        <dgm:presLayoutVars>
          <dgm:chMax val="1"/>
          <dgm:chPref val="1"/>
        </dgm:presLayoutVars>
      </dgm:prSet>
      <dgm:spPr/>
    </dgm:pt>
    <dgm:pt modelId="{2DC6A7BD-9BC8-4104-8D72-E91F60C13969}" type="pres">
      <dgm:prSet presAssocID="{66189DDA-4FC3-46E6-A107-FCEE5CF14968}" presName="sibTrans" presStyleCnt="0"/>
      <dgm:spPr/>
    </dgm:pt>
    <dgm:pt modelId="{9A561613-7900-41CF-91B1-34D0DCAFD2BD}" type="pres">
      <dgm:prSet presAssocID="{2E0C6D22-C01C-4C09-9EDA-EAA2EA3FCB54}" presName="compNode" presStyleCnt="0"/>
      <dgm:spPr/>
    </dgm:pt>
    <dgm:pt modelId="{2241E776-EF51-485D-A54B-BD8DFE4BB441}" type="pres">
      <dgm:prSet presAssocID="{2E0C6D22-C01C-4C09-9EDA-EAA2EA3FCB54}" presName="iconBgRect" presStyleLbl="bgShp" presStyleIdx="3" presStyleCnt="6"/>
      <dgm:spPr/>
    </dgm:pt>
    <dgm:pt modelId="{1E733EA8-E812-481F-AA5A-87D2EA791950}" type="pres">
      <dgm:prSet presAssocID="{2E0C6D22-C01C-4C09-9EDA-EAA2EA3FCB54}"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eting"/>
        </a:ext>
      </dgm:extLst>
    </dgm:pt>
    <dgm:pt modelId="{EEC5D72D-ED90-4CC4-A4A0-5225D4179EC0}" type="pres">
      <dgm:prSet presAssocID="{2E0C6D22-C01C-4C09-9EDA-EAA2EA3FCB54}" presName="spaceRect" presStyleCnt="0"/>
      <dgm:spPr/>
    </dgm:pt>
    <dgm:pt modelId="{C6F810AC-4359-4160-8564-076A829D6FDD}" type="pres">
      <dgm:prSet presAssocID="{2E0C6D22-C01C-4C09-9EDA-EAA2EA3FCB54}" presName="textRect" presStyleLbl="revTx" presStyleIdx="3" presStyleCnt="6">
        <dgm:presLayoutVars>
          <dgm:chMax val="1"/>
          <dgm:chPref val="1"/>
        </dgm:presLayoutVars>
      </dgm:prSet>
      <dgm:spPr/>
    </dgm:pt>
    <dgm:pt modelId="{93FF198C-E2E7-4488-89CF-847C03FFC197}" type="pres">
      <dgm:prSet presAssocID="{A0ECC6DC-7451-4F9D-81CE-19F83E0C9BB8}" presName="sibTrans" presStyleCnt="0"/>
      <dgm:spPr/>
    </dgm:pt>
    <dgm:pt modelId="{480EB228-BBA2-4BEF-9072-CE8AB8440609}" type="pres">
      <dgm:prSet presAssocID="{59BED4F0-571E-434A-BF6C-60476E9454BD}" presName="compNode" presStyleCnt="0"/>
      <dgm:spPr/>
    </dgm:pt>
    <dgm:pt modelId="{1B9B6BE2-9449-4B20-97C0-1DD275EB6DD0}" type="pres">
      <dgm:prSet presAssocID="{59BED4F0-571E-434A-BF6C-60476E9454BD}" presName="iconBgRect" presStyleLbl="bgShp" presStyleIdx="4" presStyleCnt="6"/>
      <dgm:spPr/>
    </dgm:pt>
    <dgm:pt modelId="{697DAEE7-0AB9-4B35-B08F-24A71DBEA9F2}" type="pres">
      <dgm:prSet presAssocID="{59BED4F0-571E-434A-BF6C-60476E9454BD}"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ghtbulb"/>
        </a:ext>
      </dgm:extLst>
    </dgm:pt>
    <dgm:pt modelId="{16B08488-D025-4FE0-92F3-4B7064316BCB}" type="pres">
      <dgm:prSet presAssocID="{59BED4F0-571E-434A-BF6C-60476E9454BD}" presName="spaceRect" presStyleCnt="0"/>
      <dgm:spPr/>
    </dgm:pt>
    <dgm:pt modelId="{814F0199-BDA0-4F39-B6EE-2B32626F3B1D}" type="pres">
      <dgm:prSet presAssocID="{59BED4F0-571E-434A-BF6C-60476E9454BD}" presName="textRect" presStyleLbl="revTx" presStyleIdx="4" presStyleCnt="6">
        <dgm:presLayoutVars>
          <dgm:chMax val="1"/>
          <dgm:chPref val="1"/>
        </dgm:presLayoutVars>
      </dgm:prSet>
      <dgm:spPr/>
    </dgm:pt>
    <dgm:pt modelId="{39BEF99C-91C9-42F3-B23C-13C01457D35D}" type="pres">
      <dgm:prSet presAssocID="{C235AB09-567B-4628-AB26-6E8045E7B378}" presName="sibTrans" presStyleCnt="0"/>
      <dgm:spPr/>
    </dgm:pt>
    <dgm:pt modelId="{0C792538-3F50-4C90-BF09-268B4F0DF20F}" type="pres">
      <dgm:prSet presAssocID="{4726E35F-E5D0-48B5-B047-43C4BAAB8191}" presName="compNode" presStyleCnt="0"/>
      <dgm:spPr/>
    </dgm:pt>
    <dgm:pt modelId="{7DE7EB8F-B243-4AD8-83BA-0D0B5F4E6D1E}" type="pres">
      <dgm:prSet presAssocID="{4726E35F-E5D0-48B5-B047-43C4BAAB8191}" presName="iconBgRect" presStyleLbl="bgShp" presStyleIdx="5" presStyleCnt="6"/>
      <dgm:spPr/>
    </dgm:pt>
    <dgm:pt modelId="{7C611B4C-78AC-4865-ACAC-645346E1929B}" type="pres">
      <dgm:prSet presAssocID="{4726E35F-E5D0-48B5-B047-43C4BAAB819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Teacher"/>
        </a:ext>
      </dgm:extLst>
    </dgm:pt>
    <dgm:pt modelId="{F9C336FD-C62B-4D4C-9DA9-6A60268C531B}" type="pres">
      <dgm:prSet presAssocID="{4726E35F-E5D0-48B5-B047-43C4BAAB8191}" presName="spaceRect" presStyleCnt="0"/>
      <dgm:spPr/>
    </dgm:pt>
    <dgm:pt modelId="{55A8D358-2149-4FFE-BCD3-D43DD9F6D293}" type="pres">
      <dgm:prSet presAssocID="{4726E35F-E5D0-48B5-B047-43C4BAAB8191}" presName="textRect" presStyleLbl="revTx" presStyleIdx="5" presStyleCnt="6">
        <dgm:presLayoutVars>
          <dgm:chMax val="1"/>
          <dgm:chPref val="1"/>
        </dgm:presLayoutVars>
      </dgm:prSet>
      <dgm:spPr/>
    </dgm:pt>
  </dgm:ptLst>
  <dgm:cxnLst>
    <dgm:cxn modelId="{2A7E200D-E762-43F4-9099-790B3A9C686E}" type="presOf" srcId="{4726E35F-E5D0-48B5-B047-43C4BAAB8191}" destId="{55A8D358-2149-4FFE-BCD3-D43DD9F6D293}" srcOrd="0" destOrd="0" presId="urn:microsoft.com/office/officeart/2018/5/layout/IconCircleLabelList"/>
    <dgm:cxn modelId="{0B4F730E-F006-4341-89A7-3A3E022F168F}" type="presOf" srcId="{DD507516-5FD4-4675-BBC2-DAB629E97D77}" destId="{C0357E8E-6063-4DEC-A786-E5D238ADEFEB}" srcOrd="0" destOrd="0" presId="urn:microsoft.com/office/officeart/2018/5/layout/IconCircleLabelList"/>
    <dgm:cxn modelId="{E7C2BE27-0A10-4BDF-A8FA-16EF158D468E}" srcId="{2F82E2B1-8FA6-4227-B06D-26E3F99F2E62}" destId="{4726E35F-E5D0-48B5-B047-43C4BAAB8191}" srcOrd="5" destOrd="0" parTransId="{394A58C1-01C1-4C66-9D9A-838F7A9A0BC8}" sibTransId="{2BE52F4E-AC72-4EFF-BD48-1CCDEF1D4FB4}"/>
    <dgm:cxn modelId="{BAA7F82C-D5FE-4EA8-8F0D-37A2A44CD48D}" srcId="{2F82E2B1-8FA6-4227-B06D-26E3F99F2E62}" destId="{1B27ADF7-1188-47B5-B3B8-4418A4D77282}" srcOrd="1" destOrd="0" parTransId="{6BB9DD24-2497-4704-B4BA-8947D314926F}" sibTransId="{C1F82844-7781-473B-BF6D-520025C7122E}"/>
    <dgm:cxn modelId="{29A0E660-586D-4E79-8406-2E8777F285E0}" srcId="{2F82E2B1-8FA6-4227-B06D-26E3F99F2E62}" destId="{F8804C3B-77F5-43DB-98A8-198B96B19DCB}" srcOrd="2" destOrd="0" parTransId="{EEBEC73F-84DA-474B-814C-7F2597F310EA}" sibTransId="{66189DDA-4FC3-46E6-A107-FCEE5CF14968}"/>
    <dgm:cxn modelId="{4A0FEA6D-6F7A-4F55-8140-8FFDC8E6C8D0}" srcId="{2F82E2B1-8FA6-4227-B06D-26E3F99F2E62}" destId="{DD507516-5FD4-4675-BBC2-DAB629E97D77}" srcOrd="0" destOrd="0" parTransId="{76F881C2-058A-400D-B371-1FD254A1D0A1}" sibTransId="{4BBBA5AB-BB62-4975-8ED3-34F551D9CE1C}"/>
    <dgm:cxn modelId="{34E44BA6-FCEB-4F76-BFCB-56C4A475A24E}" srcId="{2F82E2B1-8FA6-4227-B06D-26E3F99F2E62}" destId="{59BED4F0-571E-434A-BF6C-60476E9454BD}" srcOrd="4" destOrd="0" parTransId="{CC2C7BC7-586F-48A8-A820-B6514A4B4148}" sibTransId="{C235AB09-567B-4628-AB26-6E8045E7B378}"/>
    <dgm:cxn modelId="{0E18F3B2-BFFB-4A6B-B38D-EBC51AB7ECCD}" type="presOf" srcId="{59BED4F0-571E-434A-BF6C-60476E9454BD}" destId="{814F0199-BDA0-4F39-B6EE-2B32626F3B1D}" srcOrd="0" destOrd="0" presId="urn:microsoft.com/office/officeart/2018/5/layout/IconCircleLabelList"/>
    <dgm:cxn modelId="{164078B5-25DB-43B0-9793-FF246BC6ED90}" type="presOf" srcId="{1B27ADF7-1188-47B5-B3B8-4418A4D77282}" destId="{F47E1716-EB0B-4931-AED2-1DD48F9A99E4}" srcOrd="0" destOrd="0" presId="urn:microsoft.com/office/officeart/2018/5/layout/IconCircleLabelList"/>
    <dgm:cxn modelId="{722012CA-DDCD-4CCE-8DDF-1D3E0117B23E}" type="presOf" srcId="{F8804C3B-77F5-43DB-98A8-198B96B19DCB}" destId="{B8558585-EEDB-4AAA-83FC-B0E19803EBF7}" srcOrd="0" destOrd="0" presId="urn:microsoft.com/office/officeart/2018/5/layout/IconCircleLabelList"/>
    <dgm:cxn modelId="{3A5F3FDE-083C-49C6-8EBA-130B88086B37}" type="presOf" srcId="{2F82E2B1-8FA6-4227-B06D-26E3F99F2E62}" destId="{E5EADB75-BC51-4018-B29A-EFE0AFF3228D}" srcOrd="0" destOrd="0" presId="urn:microsoft.com/office/officeart/2018/5/layout/IconCircleLabelList"/>
    <dgm:cxn modelId="{0FED5BEC-9A6C-4C3F-92D6-FCDD0E733A60}" srcId="{2F82E2B1-8FA6-4227-B06D-26E3F99F2E62}" destId="{2E0C6D22-C01C-4C09-9EDA-EAA2EA3FCB54}" srcOrd="3" destOrd="0" parTransId="{33267698-DFE6-4AF1-98DC-CB3C382A472C}" sibTransId="{A0ECC6DC-7451-4F9D-81CE-19F83E0C9BB8}"/>
    <dgm:cxn modelId="{DC722BFE-3A8A-402F-B4EB-76A1D8159D34}" type="presOf" srcId="{2E0C6D22-C01C-4C09-9EDA-EAA2EA3FCB54}" destId="{C6F810AC-4359-4160-8564-076A829D6FDD}" srcOrd="0" destOrd="0" presId="urn:microsoft.com/office/officeart/2018/5/layout/IconCircleLabelList"/>
    <dgm:cxn modelId="{25DFFFBE-6792-485E-ABD8-05853F1F6C91}" type="presParOf" srcId="{E5EADB75-BC51-4018-B29A-EFE0AFF3228D}" destId="{A16AD476-163B-4206-BDE7-2E2CDC8F915B}" srcOrd="0" destOrd="0" presId="urn:microsoft.com/office/officeart/2018/5/layout/IconCircleLabelList"/>
    <dgm:cxn modelId="{B636299F-BC37-4763-9788-EE8AA7493A02}" type="presParOf" srcId="{A16AD476-163B-4206-BDE7-2E2CDC8F915B}" destId="{46B67FF9-97BE-4898-BB09-4698EAFFAE64}" srcOrd="0" destOrd="0" presId="urn:microsoft.com/office/officeart/2018/5/layout/IconCircleLabelList"/>
    <dgm:cxn modelId="{32326254-9BEB-4846-B8FA-43792D93E707}" type="presParOf" srcId="{A16AD476-163B-4206-BDE7-2E2CDC8F915B}" destId="{7B615D12-DB38-448D-A179-9A1ECE394CFC}" srcOrd="1" destOrd="0" presId="urn:microsoft.com/office/officeart/2018/5/layout/IconCircleLabelList"/>
    <dgm:cxn modelId="{7BEEE559-929B-4D53-AA49-64E0B2FE5AEC}" type="presParOf" srcId="{A16AD476-163B-4206-BDE7-2E2CDC8F915B}" destId="{84547FF6-0F73-424C-B078-A15BA3911DAB}" srcOrd="2" destOrd="0" presId="urn:microsoft.com/office/officeart/2018/5/layout/IconCircleLabelList"/>
    <dgm:cxn modelId="{5686EF41-8052-4029-AFC5-E2AC2762C3DE}" type="presParOf" srcId="{A16AD476-163B-4206-BDE7-2E2CDC8F915B}" destId="{C0357E8E-6063-4DEC-A786-E5D238ADEFEB}" srcOrd="3" destOrd="0" presId="urn:microsoft.com/office/officeart/2018/5/layout/IconCircleLabelList"/>
    <dgm:cxn modelId="{0DB0A005-F3EA-43F6-AE9E-EB758462A078}" type="presParOf" srcId="{E5EADB75-BC51-4018-B29A-EFE0AFF3228D}" destId="{004C77F4-AD97-40A5-B040-521F875B9236}" srcOrd="1" destOrd="0" presId="urn:microsoft.com/office/officeart/2018/5/layout/IconCircleLabelList"/>
    <dgm:cxn modelId="{ABC7D8C5-9D7C-4EF1-AD61-17ECE45F7789}" type="presParOf" srcId="{E5EADB75-BC51-4018-B29A-EFE0AFF3228D}" destId="{A60BF072-0A4A-4E93-9286-FA2023A8A448}" srcOrd="2" destOrd="0" presId="urn:microsoft.com/office/officeart/2018/5/layout/IconCircleLabelList"/>
    <dgm:cxn modelId="{5F282A59-DB16-4823-99A0-BAB74D0049B0}" type="presParOf" srcId="{A60BF072-0A4A-4E93-9286-FA2023A8A448}" destId="{D4A631C9-9C15-4D39-9814-3109ED621C87}" srcOrd="0" destOrd="0" presId="urn:microsoft.com/office/officeart/2018/5/layout/IconCircleLabelList"/>
    <dgm:cxn modelId="{7FC0AE1F-0EB3-4C0E-AD08-E03B44D25715}" type="presParOf" srcId="{A60BF072-0A4A-4E93-9286-FA2023A8A448}" destId="{B22BE457-D353-4FFF-8AD2-8BF9D55C67D0}" srcOrd="1" destOrd="0" presId="urn:microsoft.com/office/officeart/2018/5/layout/IconCircleLabelList"/>
    <dgm:cxn modelId="{0BBFEBCB-54CE-4FAA-8FBA-27CBBAB5D5A6}" type="presParOf" srcId="{A60BF072-0A4A-4E93-9286-FA2023A8A448}" destId="{D615C80B-D821-4435-96C2-47F318FD0551}" srcOrd="2" destOrd="0" presId="urn:microsoft.com/office/officeart/2018/5/layout/IconCircleLabelList"/>
    <dgm:cxn modelId="{470F16A9-629C-4DA6-9A31-B8ABFB414C5A}" type="presParOf" srcId="{A60BF072-0A4A-4E93-9286-FA2023A8A448}" destId="{F47E1716-EB0B-4931-AED2-1DD48F9A99E4}" srcOrd="3" destOrd="0" presId="urn:microsoft.com/office/officeart/2018/5/layout/IconCircleLabelList"/>
    <dgm:cxn modelId="{B5E1DDE1-610E-47A8-8222-01F5629A1ABB}" type="presParOf" srcId="{E5EADB75-BC51-4018-B29A-EFE0AFF3228D}" destId="{8EF6847E-BE39-4985-932A-405BE04DCC4A}" srcOrd="3" destOrd="0" presId="urn:microsoft.com/office/officeart/2018/5/layout/IconCircleLabelList"/>
    <dgm:cxn modelId="{1B7A36B2-A2FC-4BD0-B847-314F53ACE040}" type="presParOf" srcId="{E5EADB75-BC51-4018-B29A-EFE0AFF3228D}" destId="{5F878B74-0AC6-457F-B0B3-5B877AC0AA20}" srcOrd="4" destOrd="0" presId="urn:microsoft.com/office/officeart/2018/5/layout/IconCircleLabelList"/>
    <dgm:cxn modelId="{FA9CD100-88F4-430F-B952-CB25BAA7FC5E}" type="presParOf" srcId="{5F878B74-0AC6-457F-B0B3-5B877AC0AA20}" destId="{50D1FF38-0114-4DE5-8C48-52F9073EFF2A}" srcOrd="0" destOrd="0" presId="urn:microsoft.com/office/officeart/2018/5/layout/IconCircleLabelList"/>
    <dgm:cxn modelId="{1B19A99D-459A-4C58-A927-5BCED1271463}" type="presParOf" srcId="{5F878B74-0AC6-457F-B0B3-5B877AC0AA20}" destId="{C0AD2460-AD66-40E9-B4CD-4B6058CBB77B}" srcOrd="1" destOrd="0" presId="urn:microsoft.com/office/officeart/2018/5/layout/IconCircleLabelList"/>
    <dgm:cxn modelId="{423908FE-94BD-484B-8337-AC25338B31CC}" type="presParOf" srcId="{5F878B74-0AC6-457F-B0B3-5B877AC0AA20}" destId="{6E9F4FCC-862B-468F-AB18-2CA941345097}" srcOrd="2" destOrd="0" presId="urn:microsoft.com/office/officeart/2018/5/layout/IconCircleLabelList"/>
    <dgm:cxn modelId="{F2ECBA34-35F5-48AC-B393-768EB883662D}" type="presParOf" srcId="{5F878B74-0AC6-457F-B0B3-5B877AC0AA20}" destId="{B8558585-EEDB-4AAA-83FC-B0E19803EBF7}" srcOrd="3" destOrd="0" presId="urn:microsoft.com/office/officeart/2018/5/layout/IconCircleLabelList"/>
    <dgm:cxn modelId="{4E37829C-34D7-4B1F-896C-99A6B19BA39F}" type="presParOf" srcId="{E5EADB75-BC51-4018-B29A-EFE0AFF3228D}" destId="{2DC6A7BD-9BC8-4104-8D72-E91F60C13969}" srcOrd="5" destOrd="0" presId="urn:microsoft.com/office/officeart/2018/5/layout/IconCircleLabelList"/>
    <dgm:cxn modelId="{FF453C61-5F78-4AE6-847C-7387FFC42FD2}" type="presParOf" srcId="{E5EADB75-BC51-4018-B29A-EFE0AFF3228D}" destId="{9A561613-7900-41CF-91B1-34D0DCAFD2BD}" srcOrd="6" destOrd="0" presId="urn:microsoft.com/office/officeart/2018/5/layout/IconCircleLabelList"/>
    <dgm:cxn modelId="{15CC48B3-86D6-409A-96C6-18077E8C704F}" type="presParOf" srcId="{9A561613-7900-41CF-91B1-34D0DCAFD2BD}" destId="{2241E776-EF51-485D-A54B-BD8DFE4BB441}" srcOrd="0" destOrd="0" presId="urn:microsoft.com/office/officeart/2018/5/layout/IconCircleLabelList"/>
    <dgm:cxn modelId="{5D20C58C-CAD7-48B6-B4DC-BC887D1ED19D}" type="presParOf" srcId="{9A561613-7900-41CF-91B1-34D0DCAFD2BD}" destId="{1E733EA8-E812-481F-AA5A-87D2EA791950}" srcOrd="1" destOrd="0" presId="urn:microsoft.com/office/officeart/2018/5/layout/IconCircleLabelList"/>
    <dgm:cxn modelId="{2FA83A25-C818-4693-9D87-4D95696B6EE9}" type="presParOf" srcId="{9A561613-7900-41CF-91B1-34D0DCAFD2BD}" destId="{EEC5D72D-ED90-4CC4-A4A0-5225D4179EC0}" srcOrd="2" destOrd="0" presId="urn:microsoft.com/office/officeart/2018/5/layout/IconCircleLabelList"/>
    <dgm:cxn modelId="{F30D17FA-0379-4590-98A3-77D3F6EBBB9F}" type="presParOf" srcId="{9A561613-7900-41CF-91B1-34D0DCAFD2BD}" destId="{C6F810AC-4359-4160-8564-076A829D6FDD}" srcOrd="3" destOrd="0" presId="urn:microsoft.com/office/officeart/2018/5/layout/IconCircleLabelList"/>
    <dgm:cxn modelId="{5AD4A8AA-AA00-4CA6-800D-BA9D82B78653}" type="presParOf" srcId="{E5EADB75-BC51-4018-B29A-EFE0AFF3228D}" destId="{93FF198C-E2E7-4488-89CF-847C03FFC197}" srcOrd="7" destOrd="0" presId="urn:microsoft.com/office/officeart/2018/5/layout/IconCircleLabelList"/>
    <dgm:cxn modelId="{6312F5E9-2953-4413-B5FC-FEF56392F0A4}" type="presParOf" srcId="{E5EADB75-BC51-4018-B29A-EFE0AFF3228D}" destId="{480EB228-BBA2-4BEF-9072-CE8AB8440609}" srcOrd="8" destOrd="0" presId="urn:microsoft.com/office/officeart/2018/5/layout/IconCircleLabelList"/>
    <dgm:cxn modelId="{0F09AF37-4B80-4EF0-8F17-D927FE951F75}" type="presParOf" srcId="{480EB228-BBA2-4BEF-9072-CE8AB8440609}" destId="{1B9B6BE2-9449-4B20-97C0-1DD275EB6DD0}" srcOrd="0" destOrd="0" presId="urn:microsoft.com/office/officeart/2018/5/layout/IconCircleLabelList"/>
    <dgm:cxn modelId="{8A66D96B-75AC-4106-913C-1BC4752A335A}" type="presParOf" srcId="{480EB228-BBA2-4BEF-9072-CE8AB8440609}" destId="{697DAEE7-0AB9-4B35-B08F-24A71DBEA9F2}" srcOrd="1" destOrd="0" presId="urn:microsoft.com/office/officeart/2018/5/layout/IconCircleLabelList"/>
    <dgm:cxn modelId="{2549F2D5-0E7E-4E88-8499-36461F13B2EE}" type="presParOf" srcId="{480EB228-BBA2-4BEF-9072-CE8AB8440609}" destId="{16B08488-D025-4FE0-92F3-4B7064316BCB}" srcOrd="2" destOrd="0" presId="urn:microsoft.com/office/officeart/2018/5/layout/IconCircleLabelList"/>
    <dgm:cxn modelId="{04E4D3A9-0716-4638-9EB4-FEA7B1EE9D47}" type="presParOf" srcId="{480EB228-BBA2-4BEF-9072-CE8AB8440609}" destId="{814F0199-BDA0-4F39-B6EE-2B32626F3B1D}" srcOrd="3" destOrd="0" presId="urn:microsoft.com/office/officeart/2018/5/layout/IconCircleLabelList"/>
    <dgm:cxn modelId="{FF82859B-E167-4D2E-B43F-0D5D1BB0D76E}" type="presParOf" srcId="{E5EADB75-BC51-4018-B29A-EFE0AFF3228D}" destId="{39BEF99C-91C9-42F3-B23C-13C01457D35D}" srcOrd="9" destOrd="0" presId="urn:microsoft.com/office/officeart/2018/5/layout/IconCircleLabelList"/>
    <dgm:cxn modelId="{CD31EDC5-AD9A-4DF9-A6EF-19CCA4DC2532}" type="presParOf" srcId="{E5EADB75-BC51-4018-B29A-EFE0AFF3228D}" destId="{0C792538-3F50-4C90-BF09-268B4F0DF20F}" srcOrd="10" destOrd="0" presId="urn:microsoft.com/office/officeart/2018/5/layout/IconCircleLabelList"/>
    <dgm:cxn modelId="{E65D3801-26C7-4DC3-820D-E8768CAA9414}" type="presParOf" srcId="{0C792538-3F50-4C90-BF09-268B4F0DF20F}" destId="{7DE7EB8F-B243-4AD8-83BA-0D0B5F4E6D1E}" srcOrd="0" destOrd="0" presId="urn:microsoft.com/office/officeart/2018/5/layout/IconCircleLabelList"/>
    <dgm:cxn modelId="{2C926A86-4D7F-43FF-AE44-710363E30F5E}" type="presParOf" srcId="{0C792538-3F50-4C90-BF09-268B4F0DF20F}" destId="{7C611B4C-78AC-4865-ACAC-645346E1929B}" srcOrd="1" destOrd="0" presId="urn:microsoft.com/office/officeart/2018/5/layout/IconCircleLabelList"/>
    <dgm:cxn modelId="{F4FF10A4-45B7-493A-B449-4BBEDB130512}" type="presParOf" srcId="{0C792538-3F50-4C90-BF09-268B4F0DF20F}" destId="{F9C336FD-C62B-4D4C-9DA9-6A60268C531B}" srcOrd="2" destOrd="0" presId="urn:microsoft.com/office/officeart/2018/5/layout/IconCircleLabelList"/>
    <dgm:cxn modelId="{60C76A0E-798F-469E-A5EF-3A73546107A2}" type="presParOf" srcId="{0C792538-3F50-4C90-BF09-268B4F0DF20F}" destId="{55A8D358-2149-4FFE-BCD3-D43DD9F6D293}"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CA441-E565-4CAE-A1A6-0E184753E237}"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58E4D43-A598-4CA3-9A2B-D9A49E7C8AF3}">
      <dgm:prSet/>
      <dgm:spPr/>
      <dgm:t>
        <a:bodyPr/>
        <a:lstStyle/>
        <a:p>
          <a:r>
            <a:rPr lang="en-GB"/>
            <a:t>Data Culture</a:t>
          </a:r>
          <a:endParaRPr lang="en-US"/>
        </a:p>
      </dgm:t>
    </dgm:pt>
    <dgm:pt modelId="{5C2325E9-E8AF-4209-9C1E-4C27B8828559}" type="parTrans" cxnId="{CAA3CC02-C8A4-49E5-BAC8-3E3D58101E61}">
      <dgm:prSet/>
      <dgm:spPr/>
      <dgm:t>
        <a:bodyPr/>
        <a:lstStyle/>
        <a:p>
          <a:endParaRPr lang="en-US"/>
        </a:p>
      </dgm:t>
    </dgm:pt>
    <dgm:pt modelId="{F465B4D0-F178-4800-92AF-4EA5121BD0A6}" type="sibTrans" cxnId="{CAA3CC02-C8A4-49E5-BAC8-3E3D58101E61}">
      <dgm:prSet/>
      <dgm:spPr/>
      <dgm:t>
        <a:bodyPr/>
        <a:lstStyle/>
        <a:p>
          <a:endParaRPr lang="en-US"/>
        </a:p>
      </dgm:t>
    </dgm:pt>
    <dgm:pt modelId="{16B7A893-A5F9-43E2-96E6-04B67D39247F}">
      <dgm:prSet/>
      <dgm:spPr/>
      <dgm:t>
        <a:bodyPr/>
        <a:lstStyle/>
        <a:p>
          <a:r>
            <a:rPr lang="en-GB"/>
            <a:t>Agile BI Mindset</a:t>
          </a:r>
          <a:endParaRPr lang="en-US"/>
        </a:p>
      </dgm:t>
    </dgm:pt>
    <dgm:pt modelId="{AF17136B-D743-4D3F-B17D-DD3D92CF5519}" type="parTrans" cxnId="{0DE9FD27-B962-482C-8F55-DAC7771838AD}">
      <dgm:prSet/>
      <dgm:spPr/>
      <dgm:t>
        <a:bodyPr/>
        <a:lstStyle/>
        <a:p>
          <a:endParaRPr lang="en-US"/>
        </a:p>
      </dgm:t>
    </dgm:pt>
    <dgm:pt modelId="{2CE11F29-7056-4CDE-8456-E549D9A4447A}" type="sibTrans" cxnId="{0DE9FD27-B962-482C-8F55-DAC7771838AD}">
      <dgm:prSet/>
      <dgm:spPr/>
      <dgm:t>
        <a:bodyPr/>
        <a:lstStyle/>
        <a:p>
          <a:endParaRPr lang="en-US"/>
        </a:p>
      </dgm:t>
    </dgm:pt>
    <dgm:pt modelId="{BB931AC4-6815-42B2-9A3D-9DA76AE82714}">
      <dgm:prSet/>
      <dgm:spPr/>
      <dgm:t>
        <a:bodyPr/>
        <a:lstStyle/>
        <a:p>
          <a:r>
            <a:rPr lang="en-GB"/>
            <a:t>Consolidation of Tools</a:t>
          </a:r>
          <a:endParaRPr lang="en-US"/>
        </a:p>
      </dgm:t>
    </dgm:pt>
    <dgm:pt modelId="{E29E494F-94B4-424E-9888-5590F679209B}" type="parTrans" cxnId="{322B6303-A3B6-4B97-95AA-66860E64B07C}">
      <dgm:prSet/>
      <dgm:spPr/>
      <dgm:t>
        <a:bodyPr/>
        <a:lstStyle/>
        <a:p>
          <a:endParaRPr lang="en-US"/>
        </a:p>
      </dgm:t>
    </dgm:pt>
    <dgm:pt modelId="{260EE3C2-4EC9-4244-993A-A1D9B7D4BC19}" type="sibTrans" cxnId="{322B6303-A3B6-4B97-95AA-66860E64B07C}">
      <dgm:prSet/>
      <dgm:spPr/>
      <dgm:t>
        <a:bodyPr/>
        <a:lstStyle/>
        <a:p>
          <a:endParaRPr lang="en-US"/>
        </a:p>
      </dgm:t>
    </dgm:pt>
    <dgm:pt modelId="{A3D3C245-43D3-4AE7-84F0-62978627F09C}" type="pres">
      <dgm:prSet presAssocID="{5F0CA441-E565-4CAE-A1A6-0E184753E237}" presName="root" presStyleCnt="0">
        <dgm:presLayoutVars>
          <dgm:dir/>
          <dgm:resizeHandles val="exact"/>
        </dgm:presLayoutVars>
      </dgm:prSet>
      <dgm:spPr/>
    </dgm:pt>
    <dgm:pt modelId="{5D755B9F-D378-413B-94E9-E64191F289D6}" type="pres">
      <dgm:prSet presAssocID="{258E4D43-A598-4CA3-9A2B-D9A49E7C8AF3}" presName="compNode" presStyleCnt="0"/>
      <dgm:spPr/>
    </dgm:pt>
    <dgm:pt modelId="{6649D4BB-9078-4A63-B98A-D261CB49B459}" type="pres">
      <dgm:prSet presAssocID="{258E4D43-A598-4CA3-9A2B-D9A49E7C8AF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20009AF0-8181-47FF-8C26-D2904F8F08B3}" type="pres">
      <dgm:prSet presAssocID="{258E4D43-A598-4CA3-9A2B-D9A49E7C8AF3}" presName="spaceRect" presStyleCnt="0"/>
      <dgm:spPr/>
    </dgm:pt>
    <dgm:pt modelId="{DF0FB06A-AACA-4CBE-97E4-863F4C084A33}" type="pres">
      <dgm:prSet presAssocID="{258E4D43-A598-4CA3-9A2B-D9A49E7C8AF3}" presName="textRect" presStyleLbl="revTx" presStyleIdx="0" presStyleCnt="3">
        <dgm:presLayoutVars>
          <dgm:chMax val="1"/>
          <dgm:chPref val="1"/>
        </dgm:presLayoutVars>
      </dgm:prSet>
      <dgm:spPr/>
    </dgm:pt>
    <dgm:pt modelId="{0DD6405A-ADA8-4635-A9D5-1A12849EF9BC}" type="pres">
      <dgm:prSet presAssocID="{F465B4D0-F178-4800-92AF-4EA5121BD0A6}" presName="sibTrans" presStyleCnt="0"/>
      <dgm:spPr/>
    </dgm:pt>
    <dgm:pt modelId="{3F976FB8-187D-4B57-ABEA-EDF44A513F09}" type="pres">
      <dgm:prSet presAssocID="{16B7A893-A5F9-43E2-96E6-04B67D39247F}" presName="compNode" presStyleCnt="0"/>
      <dgm:spPr/>
    </dgm:pt>
    <dgm:pt modelId="{907D3017-1203-415E-90DD-76939E3C7734}" type="pres">
      <dgm:prSet presAssocID="{16B7A893-A5F9-43E2-96E6-04B67D39247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6138D781-7A0C-4EE2-9DE4-753957F0F356}" type="pres">
      <dgm:prSet presAssocID="{16B7A893-A5F9-43E2-96E6-04B67D39247F}" presName="spaceRect" presStyleCnt="0"/>
      <dgm:spPr/>
    </dgm:pt>
    <dgm:pt modelId="{5EDE808C-7170-4DE1-83F2-2CA0020AA758}" type="pres">
      <dgm:prSet presAssocID="{16B7A893-A5F9-43E2-96E6-04B67D39247F}" presName="textRect" presStyleLbl="revTx" presStyleIdx="1" presStyleCnt="3">
        <dgm:presLayoutVars>
          <dgm:chMax val="1"/>
          <dgm:chPref val="1"/>
        </dgm:presLayoutVars>
      </dgm:prSet>
      <dgm:spPr/>
    </dgm:pt>
    <dgm:pt modelId="{5E60468B-0DD1-4C10-91B7-C275CAA214E6}" type="pres">
      <dgm:prSet presAssocID="{2CE11F29-7056-4CDE-8456-E549D9A4447A}" presName="sibTrans" presStyleCnt="0"/>
      <dgm:spPr/>
    </dgm:pt>
    <dgm:pt modelId="{B32425BF-9D98-4F58-A8C8-7EB7757F17A9}" type="pres">
      <dgm:prSet presAssocID="{BB931AC4-6815-42B2-9A3D-9DA76AE82714}" presName="compNode" presStyleCnt="0"/>
      <dgm:spPr/>
    </dgm:pt>
    <dgm:pt modelId="{C8DC6501-2CC0-4FEB-9E6C-5EA8B9439192}" type="pres">
      <dgm:prSet presAssocID="{BB931AC4-6815-42B2-9A3D-9DA76AE8271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ools"/>
        </a:ext>
      </dgm:extLst>
    </dgm:pt>
    <dgm:pt modelId="{CE6D793A-1FA1-4414-889A-787D5CBC7526}" type="pres">
      <dgm:prSet presAssocID="{BB931AC4-6815-42B2-9A3D-9DA76AE82714}" presName="spaceRect" presStyleCnt="0"/>
      <dgm:spPr/>
    </dgm:pt>
    <dgm:pt modelId="{0DA93751-4E2F-4EFD-83B6-48672ED5E393}" type="pres">
      <dgm:prSet presAssocID="{BB931AC4-6815-42B2-9A3D-9DA76AE82714}" presName="textRect" presStyleLbl="revTx" presStyleIdx="2" presStyleCnt="3">
        <dgm:presLayoutVars>
          <dgm:chMax val="1"/>
          <dgm:chPref val="1"/>
        </dgm:presLayoutVars>
      </dgm:prSet>
      <dgm:spPr/>
    </dgm:pt>
  </dgm:ptLst>
  <dgm:cxnLst>
    <dgm:cxn modelId="{CAA3CC02-C8A4-49E5-BAC8-3E3D58101E61}" srcId="{5F0CA441-E565-4CAE-A1A6-0E184753E237}" destId="{258E4D43-A598-4CA3-9A2B-D9A49E7C8AF3}" srcOrd="0" destOrd="0" parTransId="{5C2325E9-E8AF-4209-9C1E-4C27B8828559}" sibTransId="{F465B4D0-F178-4800-92AF-4EA5121BD0A6}"/>
    <dgm:cxn modelId="{322B6303-A3B6-4B97-95AA-66860E64B07C}" srcId="{5F0CA441-E565-4CAE-A1A6-0E184753E237}" destId="{BB931AC4-6815-42B2-9A3D-9DA76AE82714}" srcOrd="2" destOrd="0" parTransId="{E29E494F-94B4-424E-9888-5590F679209B}" sibTransId="{260EE3C2-4EC9-4244-993A-A1D9B7D4BC19}"/>
    <dgm:cxn modelId="{B1E76C0B-3D0A-44E9-BCA9-715E23B79A7F}" type="presOf" srcId="{16B7A893-A5F9-43E2-96E6-04B67D39247F}" destId="{5EDE808C-7170-4DE1-83F2-2CA0020AA758}" srcOrd="0" destOrd="0" presId="urn:microsoft.com/office/officeart/2018/2/layout/IconLabelList"/>
    <dgm:cxn modelId="{0FDE2518-E3C6-40B0-A1CE-5D993CF26143}" type="presOf" srcId="{BB931AC4-6815-42B2-9A3D-9DA76AE82714}" destId="{0DA93751-4E2F-4EFD-83B6-48672ED5E393}" srcOrd="0" destOrd="0" presId="urn:microsoft.com/office/officeart/2018/2/layout/IconLabelList"/>
    <dgm:cxn modelId="{0DE9FD27-B962-482C-8F55-DAC7771838AD}" srcId="{5F0CA441-E565-4CAE-A1A6-0E184753E237}" destId="{16B7A893-A5F9-43E2-96E6-04B67D39247F}" srcOrd="1" destOrd="0" parTransId="{AF17136B-D743-4D3F-B17D-DD3D92CF5519}" sibTransId="{2CE11F29-7056-4CDE-8456-E549D9A4447A}"/>
    <dgm:cxn modelId="{4A80A637-D798-465B-960E-84C0ECEFA3C6}" type="presOf" srcId="{258E4D43-A598-4CA3-9A2B-D9A49E7C8AF3}" destId="{DF0FB06A-AACA-4CBE-97E4-863F4C084A33}" srcOrd="0" destOrd="0" presId="urn:microsoft.com/office/officeart/2018/2/layout/IconLabelList"/>
    <dgm:cxn modelId="{B29F466D-20F3-443E-8B5A-E22F374B25C2}" type="presOf" srcId="{5F0CA441-E565-4CAE-A1A6-0E184753E237}" destId="{A3D3C245-43D3-4AE7-84F0-62978627F09C}" srcOrd="0" destOrd="0" presId="urn:microsoft.com/office/officeart/2018/2/layout/IconLabelList"/>
    <dgm:cxn modelId="{B100BFEF-6565-4AA1-B5C2-7106EC4F405C}" type="presParOf" srcId="{A3D3C245-43D3-4AE7-84F0-62978627F09C}" destId="{5D755B9F-D378-413B-94E9-E64191F289D6}" srcOrd="0" destOrd="0" presId="urn:microsoft.com/office/officeart/2018/2/layout/IconLabelList"/>
    <dgm:cxn modelId="{BD732D0B-35B9-4425-87CE-19679191EC91}" type="presParOf" srcId="{5D755B9F-D378-413B-94E9-E64191F289D6}" destId="{6649D4BB-9078-4A63-B98A-D261CB49B459}" srcOrd="0" destOrd="0" presId="urn:microsoft.com/office/officeart/2018/2/layout/IconLabelList"/>
    <dgm:cxn modelId="{38E93255-ACA0-4340-906A-02C5C130BE72}" type="presParOf" srcId="{5D755B9F-D378-413B-94E9-E64191F289D6}" destId="{20009AF0-8181-47FF-8C26-D2904F8F08B3}" srcOrd="1" destOrd="0" presId="urn:microsoft.com/office/officeart/2018/2/layout/IconLabelList"/>
    <dgm:cxn modelId="{E113C6BD-176D-4DF1-A4EF-014E025DFDA5}" type="presParOf" srcId="{5D755B9F-D378-413B-94E9-E64191F289D6}" destId="{DF0FB06A-AACA-4CBE-97E4-863F4C084A33}" srcOrd="2" destOrd="0" presId="urn:microsoft.com/office/officeart/2018/2/layout/IconLabelList"/>
    <dgm:cxn modelId="{1CC103AB-0161-462B-A726-EF331B3CC2BB}" type="presParOf" srcId="{A3D3C245-43D3-4AE7-84F0-62978627F09C}" destId="{0DD6405A-ADA8-4635-A9D5-1A12849EF9BC}" srcOrd="1" destOrd="0" presId="urn:microsoft.com/office/officeart/2018/2/layout/IconLabelList"/>
    <dgm:cxn modelId="{27F4E032-4B4F-4314-AB53-F96AB5FBCF64}" type="presParOf" srcId="{A3D3C245-43D3-4AE7-84F0-62978627F09C}" destId="{3F976FB8-187D-4B57-ABEA-EDF44A513F09}" srcOrd="2" destOrd="0" presId="urn:microsoft.com/office/officeart/2018/2/layout/IconLabelList"/>
    <dgm:cxn modelId="{2099EB29-45A4-44AF-A745-2A59391015C1}" type="presParOf" srcId="{3F976FB8-187D-4B57-ABEA-EDF44A513F09}" destId="{907D3017-1203-415E-90DD-76939E3C7734}" srcOrd="0" destOrd="0" presId="urn:microsoft.com/office/officeart/2018/2/layout/IconLabelList"/>
    <dgm:cxn modelId="{92B90321-BA94-4F0E-AAF9-0C8037301E2B}" type="presParOf" srcId="{3F976FB8-187D-4B57-ABEA-EDF44A513F09}" destId="{6138D781-7A0C-4EE2-9DE4-753957F0F356}" srcOrd="1" destOrd="0" presId="urn:microsoft.com/office/officeart/2018/2/layout/IconLabelList"/>
    <dgm:cxn modelId="{60FD733F-D276-4D88-95C3-60EA065617FB}" type="presParOf" srcId="{3F976FB8-187D-4B57-ABEA-EDF44A513F09}" destId="{5EDE808C-7170-4DE1-83F2-2CA0020AA758}" srcOrd="2" destOrd="0" presId="urn:microsoft.com/office/officeart/2018/2/layout/IconLabelList"/>
    <dgm:cxn modelId="{E0D63343-48A6-4761-B03A-D410AA5F7AC5}" type="presParOf" srcId="{A3D3C245-43D3-4AE7-84F0-62978627F09C}" destId="{5E60468B-0DD1-4C10-91B7-C275CAA214E6}" srcOrd="3" destOrd="0" presId="urn:microsoft.com/office/officeart/2018/2/layout/IconLabelList"/>
    <dgm:cxn modelId="{D4B45203-F27A-4085-93E3-A74CC2D009B1}" type="presParOf" srcId="{A3D3C245-43D3-4AE7-84F0-62978627F09C}" destId="{B32425BF-9D98-4F58-A8C8-7EB7757F17A9}" srcOrd="4" destOrd="0" presId="urn:microsoft.com/office/officeart/2018/2/layout/IconLabelList"/>
    <dgm:cxn modelId="{6D82E6E6-3621-4190-8034-9B0F78965D4F}" type="presParOf" srcId="{B32425BF-9D98-4F58-A8C8-7EB7757F17A9}" destId="{C8DC6501-2CC0-4FEB-9E6C-5EA8B9439192}" srcOrd="0" destOrd="0" presId="urn:microsoft.com/office/officeart/2018/2/layout/IconLabelList"/>
    <dgm:cxn modelId="{42841EF0-406B-453A-B051-4DA3D8F863C0}" type="presParOf" srcId="{B32425BF-9D98-4F58-A8C8-7EB7757F17A9}" destId="{CE6D793A-1FA1-4414-889A-787D5CBC7526}" srcOrd="1" destOrd="0" presId="urn:microsoft.com/office/officeart/2018/2/layout/IconLabelList"/>
    <dgm:cxn modelId="{8749D212-B1A8-42C2-8434-A8C5AA794AD1}" type="presParOf" srcId="{B32425BF-9D98-4F58-A8C8-7EB7757F17A9}" destId="{0DA93751-4E2F-4EFD-83B6-48672ED5E393}" srcOrd="2" destOrd="0" presId="urn:microsoft.com/office/officeart/2018/2/layout/Icon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US" sz="2400">
              <a:solidFill>
                <a:schemeClr val="tx2"/>
              </a:solidFill>
            </a:rPr>
            <a:t>Power BI Overview, DIAD, Adoption Overview, </a:t>
          </a:r>
          <a:r>
            <a:rPr lang="en-US" sz="2400" err="1">
              <a:solidFill>
                <a:schemeClr val="tx2"/>
              </a:solidFill>
            </a:rPr>
            <a:t>PoV</a:t>
          </a:r>
          <a:endParaRPr lang="en-US" sz="24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6AC07E94-2856-4048-8A72-7C22EAD0DF38}">
      <dgm:prSet custT="1"/>
      <dgm:spPr/>
      <dgm:t>
        <a:bodyPr/>
        <a:lstStyle/>
        <a:p>
          <a:r>
            <a:rPr lang="en-GB" sz="2400"/>
            <a:t>Desire</a:t>
          </a:r>
        </a:p>
      </dgm:t>
    </dgm:pt>
    <dgm:pt modelId="{C3EE2636-2CCD-4190-B26A-8AAE9B2E7F9C}" type="parTrans" cxnId="{067ACA95-E7BB-43FD-883E-78A1CC6DE870}">
      <dgm:prSet/>
      <dgm:spPr/>
      <dgm:t>
        <a:bodyPr/>
        <a:lstStyle/>
        <a:p>
          <a:endParaRPr lang="en-GB"/>
        </a:p>
      </dgm:t>
    </dgm:pt>
    <dgm:pt modelId="{6CCB0DBC-57BF-4D5F-8782-B14BDE3B91E3}" type="sibTrans" cxnId="{067ACA95-E7BB-43FD-883E-78A1CC6DE870}">
      <dgm:prSet/>
      <dgm:spPr/>
      <dgm:t>
        <a:bodyPr/>
        <a:lstStyle/>
        <a:p>
          <a:endParaRPr lang="en-GB"/>
        </a:p>
      </dgm:t>
    </dgm:pt>
    <dgm:pt modelId="{25AB223E-4953-4EF2-BA3C-ECDF95A84747}">
      <dgm:prSet custT="1"/>
      <dgm:spPr/>
      <dgm:t>
        <a:bodyPr/>
        <a:lstStyle/>
        <a:p>
          <a:r>
            <a:rPr lang="en-US" sz="2400"/>
            <a:t>Awareness</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69FA0160-4697-402C-8F67-78CFF86929F7}">
      <dgm:prSet custT="1"/>
      <dgm:spPr/>
      <dgm:t>
        <a:bodyPr/>
        <a:lstStyle/>
        <a:p>
          <a:r>
            <a:rPr lang="en-GB" sz="2400" err="1">
              <a:solidFill>
                <a:schemeClr val="tx2"/>
              </a:solidFill>
            </a:rPr>
            <a:t>PoV</a:t>
          </a:r>
          <a:r>
            <a:rPr lang="en-GB" sz="2400">
              <a:solidFill>
                <a:schemeClr val="tx2"/>
              </a:solidFill>
            </a:rPr>
            <a:t> demos, Project videos, Lunch &amp; learn</a:t>
          </a:r>
        </a:p>
      </dgm:t>
    </dgm:pt>
    <dgm:pt modelId="{93585FC1-0156-48F3-9873-1C264B27FF96}" type="parTrans" cxnId="{FE8F981A-6C8F-4EDF-8D5F-37E9F52A82A3}">
      <dgm:prSet/>
      <dgm:spPr/>
      <dgm:t>
        <a:bodyPr/>
        <a:lstStyle/>
        <a:p>
          <a:endParaRPr lang="en-GB"/>
        </a:p>
      </dgm:t>
    </dgm:pt>
    <dgm:pt modelId="{F2DD4843-D59F-4ADD-9E06-1BB1B1A2FA36}" type="sibTrans" cxnId="{FE8F981A-6C8F-4EDF-8D5F-37E9F52A82A3}">
      <dgm:prSet/>
      <dgm:spPr/>
      <dgm:t>
        <a:bodyPr/>
        <a:lstStyle/>
        <a:p>
          <a:endParaRPr lang="en-GB"/>
        </a:p>
      </dgm:t>
    </dgm:pt>
    <dgm:pt modelId="{373ECD64-2EC0-49BF-BA9E-5321A56DF946}">
      <dgm:prSet custT="1"/>
      <dgm:spPr/>
      <dgm:t>
        <a:bodyPr/>
        <a:lstStyle/>
        <a:p>
          <a:r>
            <a:rPr lang="en-GB" sz="2400">
              <a:solidFill>
                <a:schemeClr val="bg2"/>
              </a:solidFill>
            </a:rPr>
            <a:t>Knowledge</a:t>
          </a: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a:solidFill>
                <a:schemeClr val="tx2"/>
              </a:solidFill>
            </a:rPr>
            <a:t>Adoption Framework, How to Videos, </a:t>
          </a:r>
          <a:r>
            <a:rPr lang="en-GB" sz="2400" err="1">
              <a:solidFill>
                <a:schemeClr val="tx2"/>
              </a:solidFill>
            </a:rPr>
            <a:t>edx</a:t>
          </a:r>
          <a:r>
            <a:rPr lang="en-GB" sz="2400">
              <a:solidFill>
                <a:schemeClr val="tx2"/>
              </a:solidFill>
            </a:rPr>
            <a:t>, Guy in a cube, partner blogs, </a:t>
          </a:r>
          <a:r>
            <a:rPr lang="en-GB" sz="2400" err="1">
              <a:solidFill>
                <a:schemeClr val="tx2"/>
              </a:solidFill>
            </a:rPr>
            <a:t>CoE</a:t>
          </a:r>
          <a:r>
            <a:rPr lang="en-GB" sz="2400">
              <a:solidFill>
                <a:schemeClr val="tx2"/>
              </a:solidFill>
            </a:rPr>
            <a:t> Website / Team</a:t>
          </a: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37CBE494-FA7D-4909-BC08-B2E55DB97F47}">
      <dgm:prSet custT="1"/>
      <dgm:spPr/>
      <dgm:t>
        <a:bodyPr/>
        <a:lstStyle/>
        <a:p>
          <a:r>
            <a:rPr lang="en-GB" sz="2400"/>
            <a:t>Ability</a:t>
          </a:r>
          <a:endParaRPr lang="en-GB" sz="2400">
            <a:solidFill>
              <a:schemeClr val="tx2"/>
            </a:solidFill>
          </a:endParaRPr>
        </a:p>
      </dgm:t>
    </dgm:pt>
    <dgm:pt modelId="{BDD02CC8-393B-47FA-9704-8F9B56396A7B}" type="parTrans" cxnId="{953E19FC-FE27-4705-98A1-CAD0025A6A37}">
      <dgm:prSet/>
      <dgm:spPr/>
      <dgm:t>
        <a:bodyPr/>
        <a:lstStyle/>
        <a:p>
          <a:endParaRPr lang="en-GB"/>
        </a:p>
      </dgm:t>
    </dgm:pt>
    <dgm:pt modelId="{737B748F-3667-4D77-B9E4-1CFB04FF8069}" type="sibTrans" cxnId="{953E19FC-FE27-4705-98A1-CAD0025A6A37}">
      <dgm:prSet/>
      <dgm:spPr/>
      <dgm:t>
        <a:bodyPr/>
        <a:lstStyle/>
        <a:p>
          <a:endParaRPr lang="en-GB"/>
        </a:p>
      </dgm:t>
    </dgm:pt>
    <dgm:pt modelId="{A77F6424-EBFE-43E8-BB75-4C3E31C6BCAA}">
      <dgm:prSet custT="1"/>
      <dgm:spPr/>
      <dgm:t>
        <a:bodyPr/>
        <a:lstStyle/>
        <a:p>
          <a:r>
            <a:rPr lang="en-GB" sz="2400"/>
            <a:t>Reinforcement </a:t>
          </a:r>
          <a:endParaRPr lang="en-GB" sz="2400">
            <a:solidFill>
              <a:schemeClr val="tx2"/>
            </a:solidFill>
          </a:endParaRPr>
        </a:p>
      </dgm:t>
    </dgm:pt>
    <dgm:pt modelId="{498EA13D-1F4E-4B35-89D0-9DC7D68955E4}" type="parTrans" cxnId="{09CFF4EB-ED76-4B71-99BA-4E9B0A159617}">
      <dgm:prSet/>
      <dgm:spPr/>
      <dgm:t>
        <a:bodyPr/>
        <a:lstStyle/>
        <a:p>
          <a:endParaRPr lang="en-GB"/>
        </a:p>
      </dgm:t>
    </dgm:pt>
    <dgm:pt modelId="{423ACF7C-CC80-4277-910E-08AAF2F103C1}" type="sibTrans" cxnId="{09CFF4EB-ED76-4B71-99BA-4E9B0A159617}">
      <dgm:prSet/>
      <dgm:spPr/>
      <dgm:t>
        <a:bodyPr/>
        <a:lstStyle/>
        <a:p>
          <a:endParaRPr lang="en-GB"/>
        </a:p>
      </dgm:t>
    </dgm:pt>
    <dgm:pt modelId="{2F95A8DE-5B45-42A5-AD27-061BEC394ABA}">
      <dgm:prSet custT="1"/>
      <dgm:spPr/>
      <dgm:t>
        <a:bodyPr/>
        <a:lstStyle/>
        <a:p>
          <a:r>
            <a:rPr lang="en-GB" sz="2400">
              <a:solidFill>
                <a:schemeClr val="tx2"/>
              </a:solidFill>
            </a:rPr>
            <a:t>Adoption Plan, Training, Docs, Enablement support, Community website, Internal communities</a:t>
          </a:r>
        </a:p>
      </dgm:t>
    </dgm:pt>
    <dgm:pt modelId="{3E4EDEC3-2C2C-478F-AEE8-788BCBC12583}" type="parTrans" cxnId="{B7342597-12B9-4BD4-BFAD-2BD97F41B81C}">
      <dgm:prSet/>
      <dgm:spPr/>
      <dgm:t>
        <a:bodyPr/>
        <a:lstStyle/>
        <a:p>
          <a:endParaRPr lang="en-GB"/>
        </a:p>
      </dgm:t>
    </dgm:pt>
    <dgm:pt modelId="{D74A8242-9394-4896-A217-D57775E68616}" type="sibTrans" cxnId="{B7342597-12B9-4BD4-BFAD-2BD97F41B81C}">
      <dgm:prSet/>
      <dgm:spPr/>
      <dgm:t>
        <a:bodyPr/>
        <a:lstStyle/>
        <a:p>
          <a:endParaRPr lang="en-GB"/>
        </a:p>
      </dgm:t>
    </dgm:pt>
    <dgm:pt modelId="{32A84124-FE73-4089-983F-8D5FD461BE50}">
      <dgm:prSet custT="1"/>
      <dgm:spPr/>
      <dgm:t>
        <a:bodyPr/>
        <a:lstStyle/>
        <a:p>
          <a:r>
            <a:rPr lang="en-GB" sz="2400">
              <a:solidFill>
                <a:schemeClr val="tx2"/>
              </a:solidFill>
            </a:rPr>
            <a:t>Management metrics, people reviews, Sharing stories</a:t>
          </a:r>
        </a:p>
      </dgm:t>
    </dgm:pt>
    <dgm:pt modelId="{27913890-BCA9-415F-9BCE-A1EEF86BD85A}" type="parTrans" cxnId="{6B9E2338-3333-4C95-A866-8C0F0C8C2661}">
      <dgm:prSet/>
      <dgm:spPr/>
      <dgm:t>
        <a:bodyPr/>
        <a:lstStyle/>
        <a:p>
          <a:endParaRPr lang="en-GB"/>
        </a:p>
      </dgm:t>
    </dgm:pt>
    <dgm:pt modelId="{8166EC10-73EF-43F1-BE84-9E802EDD4F62}" type="sibTrans" cxnId="{6B9E2338-3333-4C95-A866-8C0F0C8C2661}">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5">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5"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494F546C-45E2-4F17-84BF-93A9649823F5}" type="pres">
      <dgm:prSet presAssocID="{6AC07E94-2856-4048-8A72-7C22EAD0DF38}" presName="linNode" presStyleCnt="0"/>
      <dgm:spPr/>
    </dgm:pt>
    <dgm:pt modelId="{39756C08-B936-44B2-9A3D-90560B0311E9}" type="pres">
      <dgm:prSet presAssocID="{6AC07E94-2856-4048-8A72-7C22EAD0DF38}" presName="parentText" presStyleLbl="alignNode1" presStyleIdx="1" presStyleCnt="5">
        <dgm:presLayoutVars>
          <dgm:chMax val="1"/>
          <dgm:bulletEnabled/>
        </dgm:presLayoutVars>
      </dgm:prSet>
      <dgm:spPr/>
    </dgm:pt>
    <dgm:pt modelId="{8913CEDA-40AB-4CE7-9A23-57A66F010AED}" type="pres">
      <dgm:prSet presAssocID="{6AC07E94-2856-4048-8A72-7C22EAD0DF38}" presName="descendantText" presStyleLbl="alignAccFollowNode1" presStyleIdx="1" presStyleCnt="5">
        <dgm:presLayoutVars>
          <dgm:bulletEnabled/>
        </dgm:presLayoutVars>
      </dgm:prSet>
      <dgm:spPr/>
    </dgm:pt>
    <dgm:pt modelId="{AE58C5EF-A30A-438A-9E8D-F1A029E261AA}" type="pres">
      <dgm:prSet presAssocID="{6CCB0DBC-57BF-4D5F-8782-B14BDE3B91E3}"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2" presStyleCnt="5">
        <dgm:presLayoutVars>
          <dgm:chMax val="1"/>
          <dgm:bulletEnabled/>
        </dgm:presLayoutVars>
      </dgm:prSet>
      <dgm:spPr/>
    </dgm:pt>
    <dgm:pt modelId="{DF963225-B69D-4A74-A4C8-54F6919AC7F8}" type="pres">
      <dgm:prSet presAssocID="{373ECD64-2EC0-49BF-BA9E-5321A56DF946}" presName="descendantText" presStyleLbl="alignAccFollowNode1" presStyleIdx="2" presStyleCnt="5">
        <dgm:presLayoutVars>
          <dgm:bulletEnabled/>
        </dgm:presLayoutVars>
      </dgm:prSet>
      <dgm:spPr/>
    </dgm:pt>
    <dgm:pt modelId="{FF8EA80B-D8B1-4A7A-B078-89BD51E826EB}" type="pres">
      <dgm:prSet presAssocID="{E948C8CD-356D-475D-94BD-58FB51085574}" presName="sp" presStyleCnt="0"/>
      <dgm:spPr/>
    </dgm:pt>
    <dgm:pt modelId="{1C9249E7-DD43-4EB4-843F-441BE8465F67}" type="pres">
      <dgm:prSet presAssocID="{37CBE494-FA7D-4909-BC08-B2E55DB97F47}" presName="linNode" presStyleCnt="0"/>
      <dgm:spPr/>
    </dgm:pt>
    <dgm:pt modelId="{3E6263A7-9A46-4994-BAC3-91FA9F1B04C7}" type="pres">
      <dgm:prSet presAssocID="{37CBE494-FA7D-4909-BC08-B2E55DB97F47}" presName="parentText" presStyleLbl="alignNode1" presStyleIdx="3" presStyleCnt="5">
        <dgm:presLayoutVars>
          <dgm:chMax val="1"/>
          <dgm:bulletEnabled/>
        </dgm:presLayoutVars>
      </dgm:prSet>
      <dgm:spPr/>
    </dgm:pt>
    <dgm:pt modelId="{A7A301A0-80D4-4223-A864-BB174852226F}" type="pres">
      <dgm:prSet presAssocID="{37CBE494-FA7D-4909-BC08-B2E55DB97F47}" presName="descendantText" presStyleLbl="alignAccFollowNode1" presStyleIdx="3" presStyleCnt="5">
        <dgm:presLayoutVars>
          <dgm:bulletEnabled/>
        </dgm:presLayoutVars>
      </dgm:prSet>
      <dgm:spPr/>
    </dgm:pt>
    <dgm:pt modelId="{EE8415D8-9FA5-42BA-A4E6-A175DBB3F06D}" type="pres">
      <dgm:prSet presAssocID="{737B748F-3667-4D77-B9E4-1CFB04FF8069}" presName="sp" presStyleCnt="0"/>
      <dgm:spPr/>
    </dgm:pt>
    <dgm:pt modelId="{B4A3CE1D-3166-4A86-A167-FB7CB6100EB5}" type="pres">
      <dgm:prSet presAssocID="{A77F6424-EBFE-43E8-BB75-4C3E31C6BCAA}" presName="linNode" presStyleCnt="0"/>
      <dgm:spPr/>
    </dgm:pt>
    <dgm:pt modelId="{5A47FEE4-C561-4036-B650-0EF73D090244}" type="pres">
      <dgm:prSet presAssocID="{A77F6424-EBFE-43E8-BB75-4C3E31C6BCAA}" presName="parentText" presStyleLbl="alignNode1" presStyleIdx="4" presStyleCnt="5">
        <dgm:presLayoutVars>
          <dgm:chMax val="1"/>
          <dgm:bulletEnabled/>
        </dgm:presLayoutVars>
      </dgm:prSet>
      <dgm:spPr/>
    </dgm:pt>
    <dgm:pt modelId="{ABFD6B99-954F-4DE4-A369-E4F00410AC06}" type="pres">
      <dgm:prSet presAssocID="{A77F6424-EBFE-43E8-BB75-4C3E31C6BCAA}" presName="descendantText" presStyleLbl="alignAccFollowNode1" presStyleIdx="4" presStyleCnt="5">
        <dgm:presLayoutVars>
          <dgm:bulletEnabled/>
        </dgm:presLayoutVars>
      </dgm:prSet>
      <dgm:spPr/>
    </dgm:pt>
  </dgm:ptLst>
  <dgm:cxnLst>
    <dgm:cxn modelId="{A5ACE509-3D3A-4B60-B46E-9F4A0D355C4B}" type="presOf" srcId="{32A84124-FE73-4089-983F-8D5FD461BE50}" destId="{ABFD6B99-954F-4DE4-A369-E4F00410AC06}" srcOrd="0" destOrd="0" presId="urn:microsoft.com/office/officeart/2016/7/layout/VerticalSolidActionList"/>
    <dgm:cxn modelId="{44AF8B12-66A4-4AEB-B04A-BFC59526BADE}" type="presOf" srcId="{A77F6424-EBFE-43E8-BB75-4C3E31C6BCAA}" destId="{5A47FEE4-C561-4036-B650-0EF73D090244}" srcOrd="0" destOrd="0" presId="urn:microsoft.com/office/officeart/2016/7/layout/VerticalSolidActionList"/>
    <dgm:cxn modelId="{75829915-F8A4-4D21-A5ED-FF6CE6BCAFB4}" type="presOf" srcId="{25AB223E-4953-4EF2-BA3C-ECDF95A84747}" destId="{E9F836B8-166B-45D6-9F84-CEA44AD858A3}" srcOrd="0" destOrd="0" presId="urn:microsoft.com/office/officeart/2016/7/layout/VerticalSolidActionList"/>
    <dgm:cxn modelId="{FE8F981A-6C8F-4EDF-8D5F-37E9F52A82A3}" srcId="{6AC07E94-2856-4048-8A72-7C22EAD0DF38}" destId="{69FA0160-4697-402C-8F67-78CFF86929F7}" srcOrd="0" destOrd="0" parTransId="{93585FC1-0156-48F3-9873-1C264B27FF96}" sibTransId="{F2DD4843-D59F-4ADD-9E06-1BB1B1A2FA36}"/>
    <dgm:cxn modelId="{A1B0D81C-8A43-4877-A61E-76E317247593}" type="presOf" srcId="{37CBE494-FA7D-4909-BC08-B2E55DB97F47}" destId="{3E6263A7-9A46-4994-BAC3-91FA9F1B04C7}" srcOrd="0" destOrd="0" presId="urn:microsoft.com/office/officeart/2016/7/layout/VerticalSolidActionList"/>
    <dgm:cxn modelId="{6B9E2338-3333-4C95-A866-8C0F0C8C2661}" srcId="{A77F6424-EBFE-43E8-BB75-4C3E31C6BCAA}" destId="{32A84124-FE73-4089-983F-8D5FD461BE50}" srcOrd="0" destOrd="0" parTransId="{27913890-BCA9-415F-9BCE-A1EEF86BD85A}" sibTransId="{8166EC10-73EF-43F1-BE84-9E802EDD4F62}"/>
    <dgm:cxn modelId="{0F461262-EFC4-4415-A6EE-DE7575B136FA}" type="presOf" srcId="{7055B9F0-3D64-47FE-AD97-229CC0E3B5E5}" destId="{1D316B12-8CDF-4966-8386-A25B656CCFCB}" srcOrd="0" destOrd="0" presId="urn:microsoft.com/office/officeart/2016/7/layout/VerticalSolidActionList"/>
    <dgm:cxn modelId="{2107BF64-0F00-4C5A-9737-2B73EDE4B85E}" type="presOf" srcId="{6AC07E94-2856-4048-8A72-7C22EAD0DF38}" destId="{39756C08-B936-44B2-9A3D-90560B0311E9}"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373ECD64-2EC0-49BF-BA9E-5321A56DF946}" destId="{B3BD2D1F-1723-4A7F-8873-1BC47E3B1C6E}" srcOrd="0" destOrd="0" parTransId="{35796076-874A-4CA6-998F-FB139A086A72}" sibTransId="{DFB5D585-1EC8-451D-960A-7A091D40A066}"/>
    <dgm:cxn modelId="{4A455B59-70A0-42D7-A3E1-5A1D24FBA94A}" type="presOf" srcId="{B3BD2D1F-1723-4A7F-8873-1BC47E3B1C6E}" destId="{DF963225-B69D-4A74-A4C8-54F6919AC7F8}" srcOrd="0" destOrd="0" presId="urn:microsoft.com/office/officeart/2016/7/layout/VerticalSolidActionList"/>
    <dgm:cxn modelId="{B25C3080-06BE-4AAF-8319-6AD828390854}" srcId="{460449F7-7D3A-4340-8264-322BD3A20AB9}" destId="{25AB223E-4953-4EF2-BA3C-ECDF95A84747}" srcOrd="0" destOrd="0" parTransId="{296171BF-63AB-4CB5-A379-F0CA2FCF7867}" sibTransId="{7EE13155-3E37-4797-9EAD-C79787B72C15}"/>
    <dgm:cxn modelId="{066B4D8A-DB30-4579-99EB-C036C6D390CE}" srcId="{460449F7-7D3A-4340-8264-322BD3A20AB9}" destId="{373ECD64-2EC0-49BF-BA9E-5321A56DF946}" srcOrd="2" destOrd="0" parTransId="{84FFA4ED-AA6C-4CD9-A54E-92464A945C5B}" sibTransId="{E948C8CD-356D-475D-94BD-58FB51085574}"/>
    <dgm:cxn modelId="{067ACA95-E7BB-43FD-883E-78A1CC6DE870}" srcId="{460449F7-7D3A-4340-8264-322BD3A20AB9}" destId="{6AC07E94-2856-4048-8A72-7C22EAD0DF38}" srcOrd="1" destOrd="0" parTransId="{C3EE2636-2CCD-4190-B26A-8AAE9B2E7F9C}" sibTransId="{6CCB0DBC-57BF-4D5F-8782-B14BDE3B91E3}"/>
    <dgm:cxn modelId="{B7342597-12B9-4BD4-BFAD-2BD97F41B81C}" srcId="{37CBE494-FA7D-4909-BC08-B2E55DB97F47}" destId="{2F95A8DE-5B45-42A5-AD27-061BEC394ABA}" srcOrd="0" destOrd="0" parTransId="{3E4EDEC3-2C2C-478F-AEE8-788BCBC12583}" sibTransId="{D74A8242-9394-4896-A217-D57775E68616}"/>
    <dgm:cxn modelId="{167750A8-EF81-48D0-92EC-8D1B1D53797E}" type="presOf" srcId="{373ECD64-2EC0-49BF-BA9E-5321A56DF946}" destId="{54AC7EA8-AD67-4C0D-A259-7A17F4D1737E}" srcOrd="0" destOrd="0" presId="urn:microsoft.com/office/officeart/2016/7/layout/VerticalSolidActionList"/>
    <dgm:cxn modelId="{DBB777C9-2BB4-42B9-9698-D36D4E0A0CC9}" type="presOf" srcId="{2F95A8DE-5B45-42A5-AD27-061BEC394ABA}" destId="{A7A301A0-80D4-4223-A864-BB174852226F}" srcOrd="0" destOrd="0" presId="urn:microsoft.com/office/officeart/2016/7/layout/VerticalSolidActionList"/>
    <dgm:cxn modelId="{1C1EA6D1-5346-4143-B967-CD5143705D39}" type="presOf" srcId="{69FA0160-4697-402C-8F67-78CFF86929F7}" destId="{8913CEDA-40AB-4CE7-9A23-57A66F010AED}" srcOrd="0" destOrd="0" presId="urn:microsoft.com/office/officeart/2016/7/layout/VerticalSolidActionList"/>
    <dgm:cxn modelId="{09CFF4EB-ED76-4B71-99BA-4E9B0A159617}" srcId="{460449F7-7D3A-4340-8264-322BD3A20AB9}" destId="{A77F6424-EBFE-43E8-BB75-4C3E31C6BCAA}" srcOrd="4" destOrd="0" parTransId="{498EA13D-1F4E-4B35-89D0-9DC7D68955E4}" sibTransId="{423ACF7C-CC80-4277-910E-08AAF2F103C1}"/>
    <dgm:cxn modelId="{953E19FC-FE27-4705-98A1-CAD0025A6A37}" srcId="{460449F7-7D3A-4340-8264-322BD3A20AB9}" destId="{37CBE494-FA7D-4909-BC08-B2E55DB97F47}" srcOrd="3" destOrd="0" parTransId="{BDD02CC8-393B-47FA-9704-8F9B56396A7B}" sibTransId="{737B748F-3667-4D77-B9E4-1CFB04FF8069}"/>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419CCF00-3190-490A-B3D8-7E188358AC29}" type="presParOf" srcId="{106BB47F-E344-419C-9610-A22E2E783E6F}" destId="{494F546C-45E2-4F17-84BF-93A9649823F5}" srcOrd="2" destOrd="0" presId="urn:microsoft.com/office/officeart/2016/7/layout/VerticalSolidActionList"/>
    <dgm:cxn modelId="{D2A02AEE-F9AC-4E1A-BAA7-345E10DD59EB}" type="presParOf" srcId="{494F546C-45E2-4F17-84BF-93A9649823F5}" destId="{39756C08-B936-44B2-9A3D-90560B0311E9}" srcOrd="0" destOrd="0" presId="urn:microsoft.com/office/officeart/2016/7/layout/VerticalSolidActionList"/>
    <dgm:cxn modelId="{0008702C-6A63-43AF-A4FF-5A6D526EC5A5}" type="presParOf" srcId="{494F546C-45E2-4F17-84BF-93A9649823F5}" destId="{8913CEDA-40AB-4CE7-9A23-57A66F010AED}" srcOrd="1" destOrd="0" presId="urn:microsoft.com/office/officeart/2016/7/layout/VerticalSolidActionList"/>
    <dgm:cxn modelId="{D3491D0D-6ADC-4A59-A594-115A5B29E01F}" type="presParOf" srcId="{106BB47F-E344-419C-9610-A22E2E783E6F}" destId="{AE58C5EF-A30A-438A-9E8D-F1A029E261AA}" srcOrd="3" destOrd="0" presId="urn:microsoft.com/office/officeart/2016/7/layout/VerticalSolidActionList"/>
    <dgm:cxn modelId="{2A882B3A-EEBD-4F45-8F79-EBED89F7CC25}" type="presParOf" srcId="{106BB47F-E344-419C-9610-A22E2E783E6F}" destId="{6A7B7D85-B1FD-4859-89E6-ABB1CE154625}" srcOrd="4"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C8DCA8B7-3F27-48E7-A44C-4447C7A07058}" type="presParOf" srcId="{106BB47F-E344-419C-9610-A22E2E783E6F}" destId="{FF8EA80B-D8B1-4A7A-B078-89BD51E826EB}" srcOrd="5" destOrd="0" presId="urn:microsoft.com/office/officeart/2016/7/layout/VerticalSolidActionList"/>
    <dgm:cxn modelId="{7CF941EE-D2D1-4C42-9D0B-5C3998F5CEC8}" type="presParOf" srcId="{106BB47F-E344-419C-9610-A22E2E783E6F}" destId="{1C9249E7-DD43-4EB4-843F-441BE8465F67}" srcOrd="6" destOrd="0" presId="urn:microsoft.com/office/officeart/2016/7/layout/VerticalSolidActionList"/>
    <dgm:cxn modelId="{6B31047F-38BF-460C-B044-11445E571F30}" type="presParOf" srcId="{1C9249E7-DD43-4EB4-843F-441BE8465F67}" destId="{3E6263A7-9A46-4994-BAC3-91FA9F1B04C7}" srcOrd="0" destOrd="0" presId="urn:microsoft.com/office/officeart/2016/7/layout/VerticalSolidActionList"/>
    <dgm:cxn modelId="{D156081B-9F6D-4D5C-B69D-C0E952EE0CFF}" type="presParOf" srcId="{1C9249E7-DD43-4EB4-843F-441BE8465F67}" destId="{A7A301A0-80D4-4223-A864-BB174852226F}" srcOrd="1" destOrd="0" presId="urn:microsoft.com/office/officeart/2016/7/layout/VerticalSolidActionList"/>
    <dgm:cxn modelId="{DC46D9F7-71BE-455C-9677-1F81B96D4314}" type="presParOf" srcId="{106BB47F-E344-419C-9610-A22E2E783E6F}" destId="{EE8415D8-9FA5-42BA-A4E6-A175DBB3F06D}" srcOrd="7" destOrd="0" presId="urn:microsoft.com/office/officeart/2016/7/layout/VerticalSolidActionList"/>
    <dgm:cxn modelId="{59DDD45E-70D0-4FCC-B591-CB50F3DBBA32}" type="presParOf" srcId="{106BB47F-E344-419C-9610-A22E2E783E6F}" destId="{B4A3CE1D-3166-4A86-A167-FB7CB6100EB5}" srcOrd="8" destOrd="0" presId="urn:microsoft.com/office/officeart/2016/7/layout/VerticalSolidActionList"/>
    <dgm:cxn modelId="{E255F5EA-0379-43AE-9B6D-487ECCCB1856}" type="presParOf" srcId="{B4A3CE1D-3166-4A86-A167-FB7CB6100EB5}" destId="{5A47FEE4-C561-4036-B650-0EF73D090244}" srcOrd="0" destOrd="0" presId="urn:microsoft.com/office/officeart/2016/7/layout/VerticalSolidActionList"/>
    <dgm:cxn modelId="{470A3394-3D4D-4276-9F00-26C9492B7F01}" type="presParOf" srcId="{B4A3CE1D-3166-4A86-A167-FB7CB6100EB5}" destId="{ABFD6B99-954F-4DE4-A369-E4F00410AC06}"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E2D5F16-DBA6-4489-ABBE-1F5AB3DEA6B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579A0048-43D4-413C-AA79-466B2DAEAD89}">
      <dgm:prSet/>
      <dgm:spPr/>
      <dgm:t>
        <a:bodyPr/>
        <a:lstStyle/>
        <a:p>
          <a:r>
            <a:rPr lang="en-GB"/>
            <a:t>Mandatory Service</a:t>
          </a:r>
        </a:p>
      </dgm:t>
    </dgm:pt>
    <dgm:pt modelId="{1D37688B-604F-41DD-AC8E-0185484E40C6}" type="parTrans" cxnId="{6CF70D1A-8E3E-4737-92FE-1B3A869F4CCC}">
      <dgm:prSet/>
      <dgm:spPr/>
      <dgm:t>
        <a:bodyPr/>
        <a:lstStyle/>
        <a:p>
          <a:endParaRPr lang="en-GB"/>
        </a:p>
      </dgm:t>
    </dgm:pt>
    <dgm:pt modelId="{3AE7DE01-EE9A-47D7-BD73-6DF9AC012F1B}" type="sibTrans" cxnId="{6CF70D1A-8E3E-4737-92FE-1B3A869F4CCC}">
      <dgm:prSet/>
      <dgm:spPr/>
      <dgm:t>
        <a:bodyPr/>
        <a:lstStyle/>
        <a:p>
          <a:endParaRPr lang="en-GB"/>
        </a:p>
      </dgm:t>
    </dgm:pt>
    <dgm:pt modelId="{53B7EAAD-3A41-487F-B86E-0010A6CC6532}">
      <dgm:prSet/>
      <dgm:spPr/>
      <dgm:t>
        <a:bodyPr/>
        <a:lstStyle/>
        <a:p>
          <a:r>
            <a:rPr lang="en-GB"/>
            <a:t>IT budget</a:t>
          </a:r>
        </a:p>
      </dgm:t>
    </dgm:pt>
    <dgm:pt modelId="{0B62647E-CCFA-40E7-A304-B8BC2F61B5D4}" type="parTrans" cxnId="{D86FB227-2B41-4986-8EA8-7DCA4BF0E41F}">
      <dgm:prSet/>
      <dgm:spPr/>
      <dgm:t>
        <a:bodyPr/>
        <a:lstStyle/>
        <a:p>
          <a:endParaRPr lang="en-GB"/>
        </a:p>
      </dgm:t>
    </dgm:pt>
    <dgm:pt modelId="{CF827286-04CC-43D8-8419-D5C6485453D7}" type="sibTrans" cxnId="{D86FB227-2B41-4986-8EA8-7DCA4BF0E41F}">
      <dgm:prSet/>
      <dgm:spPr/>
      <dgm:t>
        <a:bodyPr/>
        <a:lstStyle/>
        <a:p>
          <a:endParaRPr lang="en-GB"/>
        </a:p>
      </dgm:t>
    </dgm:pt>
    <dgm:pt modelId="{1C94F776-47D6-4B13-8FA2-C1C8F5CC3D02}">
      <dgm:prSet/>
      <dgm:spPr/>
      <dgm:t>
        <a:bodyPr/>
        <a:lstStyle/>
        <a:p>
          <a:r>
            <a:rPr lang="en-GB"/>
            <a:t>Service knowledge is essential</a:t>
          </a:r>
        </a:p>
      </dgm:t>
    </dgm:pt>
    <dgm:pt modelId="{D1CBDAC6-A5B0-4033-8003-295709FF0CFA}" type="parTrans" cxnId="{D54BB086-3B00-401C-A431-C7EA765D49AC}">
      <dgm:prSet/>
      <dgm:spPr/>
      <dgm:t>
        <a:bodyPr/>
        <a:lstStyle/>
        <a:p>
          <a:endParaRPr lang="en-GB"/>
        </a:p>
      </dgm:t>
    </dgm:pt>
    <dgm:pt modelId="{EBEE54A0-72C8-4D91-BE3B-8EA066184CC5}" type="sibTrans" cxnId="{D54BB086-3B00-401C-A431-C7EA765D49AC}">
      <dgm:prSet/>
      <dgm:spPr/>
      <dgm:t>
        <a:bodyPr/>
        <a:lstStyle/>
        <a:p>
          <a:endParaRPr lang="en-GB"/>
        </a:p>
      </dgm:t>
    </dgm:pt>
    <dgm:pt modelId="{EFEAC1C0-1F1B-400B-924D-2EA97F750C3A}">
      <dgm:prSet/>
      <dgm:spPr/>
      <dgm:t>
        <a:bodyPr/>
        <a:lstStyle/>
        <a:p>
          <a:r>
            <a:rPr lang="en-GB"/>
            <a:t>Quick turnaround/ SLAs</a:t>
          </a:r>
        </a:p>
      </dgm:t>
    </dgm:pt>
    <dgm:pt modelId="{9266071D-2EEA-4355-9213-046038AED3E0}" type="parTrans" cxnId="{1065286E-6097-4C27-A69B-8D4AA98130AE}">
      <dgm:prSet/>
      <dgm:spPr/>
      <dgm:t>
        <a:bodyPr/>
        <a:lstStyle/>
        <a:p>
          <a:endParaRPr lang="en-GB"/>
        </a:p>
      </dgm:t>
    </dgm:pt>
    <dgm:pt modelId="{48BE2213-C474-4CA3-8817-D961A191EC77}" type="sibTrans" cxnId="{1065286E-6097-4C27-A69B-8D4AA98130AE}">
      <dgm:prSet/>
      <dgm:spPr/>
      <dgm:t>
        <a:bodyPr/>
        <a:lstStyle/>
        <a:p>
          <a:endParaRPr lang="en-GB"/>
        </a:p>
      </dgm:t>
    </dgm:pt>
    <dgm:pt modelId="{A07A8FB6-3099-4040-BF7F-6889317D2324}" type="pres">
      <dgm:prSet presAssocID="{2E2D5F16-DBA6-4489-ABBE-1F5AB3DEA6B7}" presName="vert0" presStyleCnt="0">
        <dgm:presLayoutVars>
          <dgm:dir/>
          <dgm:animOne val="branch"/>
          <dgm:animLvl val="lvl"/>
        </dgm:presLayoutVars>
      </dgm:prSet>
      <dgm:spPr/>
    </dgm:pt>
    <dgm:pt modelId="{1027017B-F8B2-462F-93EF-0BD850EA5E91}" type="pres">
      <dgm:prSet presAssocID="{579A0048-43D4-413C-AA79-466B2DAEAD89}" presName="thickLine" presStyleLbl="alignNode1" presStyleIdx="0" presStyleCnt="4"/>
      <dgm:spPr/>
    </dgm:pt>
    <dgm:pt modelId="{217E411D-EAD8-457E-B410-743593F9618E}" type="pres">
      <dgm:prSet presAssocID="{579A0048-43D4-413C-AA79-466B2DAEAD89}" presName="horz1" presStyleCnt="0"/>
      <dgm:spPr/>
    </dgm:pt>
    <dgm:pt modelId="{DFA8DB0F-8382-4276-B2B2-73C53B676270}" type="pres">
      <dgm:prSet presAssocID="{579A0048-43D4-413C-AA79-466B2DAEAD89}" presName="tx1" presStyleLbl="revTx" presStyleIdx="0" presStyleCnt="4"/>
      <dgm:spPr/>
    </dgm:pt>
    <dgm:pt modelId="{1DD707A4-2DB2-4640-BCD3-13F4975917D1}" type="pres">
      <dgm:prSet presAssocID="{579A0048-43D4-413C-AA79-466B2DAEAD89}" presName="vert1" presStyleCnt="0"/>
      <dgm:spPr/>
    </dgm:pt>
    <dgm:pt modelId="{1B127AEC-645E-4F25-AC32-48DD90541000}" type="pres">
      <dgm:prSet presAssocID="{53B7EAAD-3A41-487F-B86E-0010A6CC6532}" presName="thickLine" presStyleLbl="alignNode1" presStyleIdx="1" presStyleCnt="4"/>
      <dgm:spPr/>
    </dgm:pt>
    <dgm:pt modelId="{5A61831E-45C0-4D51-AA89-E6905D171565}" type="pres">
      <dgm:prSet presAssocID="{53B7EAAD-3A41-487F-B86E-0010A6CC6532}" presName="horz1" presStyleCnt="0"/>
      <dgm:spPr/>
    </dgm:pt>
    <dgm:pt modelId="{A763AE3A-75C4-418E-A338-9E01B0C7E514}" type="pres">
      <dgm:prSet presAssocID="{53B7EAAD-3A41-487F-B86E-0010A6CC6532}" presName="tx1" presStyleLbl="revTx" presStyleIdx="1" presStyleCnt="4"/>
      <dgm:spPr/>
    </dgm:pt>
    <dgm:pt modelId="{42BDD59A-5DED-47DC-A809-518894401D52}" type="pres">
      <dgm:prSet presAssocID="{53B7EAAD-3A41-487F-B86E-0010A6CC6532}" presName="vert1" presStyleCnt="0"/>
      <dgm:spPr/>
    </dgm:pt>
    <dgm:pt modelId="{CC876FB0-59DB-47C3-8E65-8EC713B59971}" type="pres">
      <dgm:prSet presAssocID="{1C94F776-47D6-4B13-8FA2-C1C8F5CC3D02}" presName="thickLine" presStyleLbl="alignNode1" presStyleIdx="2" presStyleCnt="4"/>
      <dgm:spPr/>
    </dgm:pt>
    <dgm:pt modelId="{CC766831-D29F-433D-AA9D-CE9AE7D72BEE}" type="pres">
      <dgm:prSet presAssocID="{1C94F776-47D6-4B13-8FA2-C1C8F5CC3D02}" presName="horz1" presStyleCnt="0"/>
      <dgm:spPr/>
    </dgm:pt>
    <dgm:pt modelId="{800C9387-00D1-4FAF-A636-A120B566F6F2}" type="pres">
      <dgm:prSet presAssocID="{1C94F776-47D6-4B13-8FA2-C1C8F5CC3D02}" presName="tx1" presStyleLbl="revTx" presStyleIdx="2" presStyleCnt="4"/>
      <dgm:spPr/>
    </dgm:pt>
    <dgm:pt modelId="{FBFEFDF8-3B2D-47D0-9605-B4AE914F962F}" type="pres">
      <dgm:prSet presAssocID="{1C94F776-47D6-4B13-8FA2-C1C8F5CC3D02}" presName="vert1" presStyleCnt="0"/>
      <dgm:spPr/>
    </dgm:pt>
    <dgm:pt modelId="{63B561D0-EBFE-4A43-8C58-B8F95E05781D}" type="pres">
      <dgm:prSet presAssocID="{EFEAC1C0-1F1B-400B-924D-2EA97F750C3A}" presName="thickLine" presStyleLbl="alignNode1" presStyleIdx="3" presStyleCnt="4"/>
      <dgm:spPr/>
    </dgm:pt>
    <dgm:pt modelId="{60B41F83-233B-4FB0-AB12-5FDDEF38A886}" type="pres">
      <dgm:prSet presAssocID="{EFEAC1C0-1F1B-400B-924D-2EA97F750C3A}" presName="horz1" presStyleCnt="0"/>
      <dgm:spPr/>
    </dgm:pt>
    <dgm:pt modelId="{2D86C70D-EDB2-4992-A62F-1BF2A641F06A}" type="pres">
      <dgm:prSet presAssocID="{EFEAC1C0-1F1B-400B-924D-2EA97F750C3A}" presName="tx1" presStyleLbl="revTx" presStyleIdx="3" presStyleCnt="4"/>
      <dgm:spPr/>
    </dgm:pt>
    <dgm:pt modelId="{9C48CDB5-DB80-41F5-BA88-6505C1013361}" type="pres">
      <dgm:prSet presAssocID="{EFEAC1C0-1F1B-400B-924D-2EA97F750C3A}" presName="vert1" presStyleCnt="0"/>
      <dgm:spPr/>
    </dgm:pt>
  </dgm:ptLst>
  <dgm:cxnLst>
    <dgm:cxn modelId="{DC62F309-2E03-40FB-B253-112E98934219}" type="presOf" srcId="{53B7EAAD-3A41-487F-B86E-0010A6CC6532}" destId="{A763AE3A-75C4-418E-A338-9E01B0C7E514}" srcOrd="0" destOrd="0" presId="urn:microsoft.com/office/officeart/2008/layout/LinedList"/>
    <dgm:cxn modelId="{E5789112-F4B2-4521-A12B-C93510C8B5C6}" type="presOf" srcId="{579A0048-43D4-413C-AA79-466B2DAEAD89}" destId="{DFA8DB0F-8382-4276-B2B2-73C53B676270}" srcOrd="0" destOrd="0" presId="urn:microsoft.com/office/officeart/2008/layout/LinedList"/>
    <dgm:cxn modelId="{6CF70D1A-8E3E-4737-92FE-1B3A869F4CCC}" srcId="{2E2D5F16-DBA6-4489-ABBE-1F5AB3DEA6B7}" destId="{579A0048-43D4-413C-AA79-466B2DAEAD89}" srcOrd="0" destOrd="0" parTransId="{1D37688B-604F-41DD-AC8E-0185484E40C6}" sibTransId="{3AE7DE01-EE9A-47D7-BD73-6DF9AC012F1B}"/>
    <dgm:cxn modelId="{D86FB227-2B41-4986-8EA8-7DCA4BF0E41F}" srcId="{2E2D5F16-DBA6-4489-ABBE-1F5AB3DEA6B7}" destId="{53B7EAAD-3A41-487F-B86E-0010A6CC6532}" srcOrd="1" destOrd="0" parTransId="{0B62647E-CCFA-40E7-A304-B8BC2F61B5D4}" sibTransId="{CF827286-04CC-43D8-8419-D5C6485453D7}"/>
    <dgm:cxn modelId="{AADCBC67-490B-4D47-97A9-2C2B9040EE45}" type="presOf" srcId="{1C94F776-47D6-4B13-8FA2-C1C8F5CC3D02}" destId="{800C9387-00D1-4FAF-A636-A120B566F6F2}" srcOrd="0" destOrd="0" presId="urn:microsoft.com/office/officeart/2008/layout/LinedList"/>
    <dgm:cxn modelId="{1065286E-6097-4C27-A69B-8D4AA98130AE}" srcId="{2E2D5F16-DBA6-4489-ABBE-1F5AB3DEA6B7}" destId="{EFEAC1C0-1F1B-400B-924D-2EA97F750C3A}" srcOrd="3" destOrd="0" parTransId="{9266071D-2EEA-4355-9213-046038AED3E0}" sibTransId="{48BE2213-C474-4CA3-8817-D961A191EC77}"/>
    <dgm:cxn modelId="{7E197285-B755-453F-BF78-6A1A58F8ACF7}" type="presOf" srcId="{2E2D5F16-DBA6-4489-ABBE-1F5AB3DEA6B7}" destId="{A07A8FB6-3099-4040-BF7F-6889317D2324}" srcOrd="0" destOrd="0" presId="urn:microsoft.com/office/officeart/2008/layout/LinedList"/>
    <dgm:cxn modelId="{D54BB086-3B00-401C-A431-C7EA765D49AC}" srcId="{2E2D5F16-DBA6-4489-ABBE-1F5AB3DEA6B7}" destId="{1C94F776-47D6-4B13-8FA2-C1C8F5CC3D02}" srcOrd="2" destOrd="0" parTransId="{D1CBDAC6-A5B0-4033-8003-295709FF0CFA}" sibTransId="{EBEE54A0-72C8-4D91-BE3B-8EA066184CC5}"/>
    <dgm:cxn modelId="{B22AFCB7-728D-4B68-9887-7CBABBC83A03}" type="presOf" srcId="{EFEAC1C0-1F1B-400B-924D-2EA97F750C3A}" destId="{2D86C70D-EDB2-4992-A62F-1BF2A641F06A}" srcOrd="0" destOrd="0" presId="urn:microsoft.com/office/officeart/2008/layout/LinedList"/>
    <dgm:cxn modelId="{AF5B9D32-2690-4016-9D57-CB50B3D856DF}" type="presParOf" srcId="{A07A8FB6-3099-4040-BF7F-6889317D2324}" destId="{1027017B-F8B2-462F-93EF-0BD850EA5E91}" srcOrd="0" destOrd="0" presId="urn:microsoft.com/office/officeart/2008/layout/LinedList"/>
    <dgm:cxn modelId="{78A1777B-01E4-42B9-976B-CDBB9BFBC8C7}" type="presParOf" srcId="{A07A8FB6-3099-4040-BF7F-6889317D2324}" destId="{217E411D-EAD8-457E-B410-743593F9618E}" srcOrd="1" destOrd="0" presId="urn:microsoft.com/office/officeart/2008/layout/LinedList"/>
    <dgm:cxn modelId="{9A538409-292D-4C84-9A21-8F6006BE44B9}" type="presParOf" srcId="{217E411D-EAD8-457E-B410-743593F9618E}" destId="{DFA8DB0F-8382-4276-B2B2-73C53B676270}" srcOrd="0" destOrd="0" presId="urn:microsoft.com/office/officeart/2008/layout/LinedList"/>
    <dgm:cxn modelId="{0EADB371-7B13-4BE6-A080-A9BA4C55B438}" type="presParOf" srcId="{217E411D-EAD8-457E-B410-743593F9618E}" destId="{1DD707A4-2DB2-4640-BCD3-13F4975917D1}" srcOrd="1" destOrd="0" presId="urn:microsoft.com/office/officeart/2008/layout/LinedList"/>
    <dgm:cxn modelId="{776316D7-FE87-4813-A9CC-A60B843466F3}" type="presParOf" srcId="{A07A8FB6-3099-4040-BF7F-6889317D2324}" destId="{1B127AEC-645E-4F25-AC32-48DD90541000}" srcOrd="2" destOrd="0" presId="urn:microsoft.com/office/officeart/2008/layout/LinedList"/>
    <dgm:cxn modelId="{FA65640E-9F0D-426B-98C1-7CF90B0682EC}" type="presParOf" srcId="{A07A8FB6-3099-4040-BF7F-6889317D2324}" destId="{5A61831E-45C0-4D51-AA89-E6905D171565}" srcOrd="3" destOrd="0" presId="urn:microsoft.com/office/officeart/2008/layout/LinedList"/>
    <dgm:cxn modelId="{D6F63596-49B2-4DEF-83D1-559E2562D59E}" type="presParOf" srcId="{5A61831E-45C0-4D51-AA89-E6905D171565}" destId="{A763AE3A-75C4-418E-A338-9E01B0C7E514}" srcOrd="0" destOrd="0" presId="urn:microsoft.com/office/officeart/2008/layout/LinedList"/>
    <dgm:cxn modelId="{0AA1A119-557D-4C63-9405-FB9E5A3C6CC2}" type="presParOf" srcId="{5A61831E-45C0-4D51-AA89-E6905D171565}" destId="{42BDD59A-5DED-47DC-A809-518894401D52}" srcOrd="1" destOrd="0" presId="urn:microsoft.com/office/officeart/2008/layout/LinedList"/>
    <dgm:cxn modelId="{EEF9CA0E-C581-402C-ABFA-4BF1210A645A}" type="presParOf" srcId="{A07A8FB6-3099-4040-BF7F-6889317D2324}" destId="{CC876FB0-59DB-47C3-8E65-8EC713B59971}" srcOrd="4" destOrd="0" presId="urn:microsoft.com/office/officeart/2008/layout/LinedList"/>
    <dgm:cxn modelId="{84EA15D4-6032-466E-BCB0-818CEC9DAED8}" type="presParOf" srcId="{A07A8FB6-3099-4040-BF7F-6889317D2324}" destId="{CC766831-D29F-433D-AA9D-CE9AE7D72BEE}" srcOrd="5" destOrd="0" presId="urn:microsoft.com/office/officeart/2008/layout/LinedList"/>
    <dgm:cxn modelId="{EC0EBA5E-0883-4BCA-BB65-9412BD59C572}" type="presParOf" srcId="{CC766831-D29F-433D-AA9D-CE9AE7D72BEE}" destId="{800C9387-00D1-4FAF-A636-A120B566F6F2}" srcOrd="0" destOrd="0" presId="urn:microsoft.com/office/officeart/2008/layout/LinedList"/>
    <dgm:cxn modelId="{DCE552D9-E94C-4A47-B721-E51F1D95E9B6}" type="presParOf" srcId="{CC766831-D29F-433D-AA9D-CE9AE7D72BEE}" destId="{FBFEFDF8-3B2D-47D0-9605-B4AE914F962F}" srcOrd="1" destOrd="0" presId="urn:microsoft.com/office/officeart/2008/layout/LinedList"/>
    <dgm:cxn modelId="{2AF3A0DF-9C13-4C5A-9263-E7FE4D5CB2CF}" type="presParOf" srcId="{A07A8FB6-3099-4040-BF7F-6889317D2324}" destId="{63B561D0-EBFE-4A43-8C58-B8F95E05781D}" srcOrd="6" destOrd="0" presId="urn:microsoft.com/office/officeart/2008/layout/LinedList"/>
    <dgm:cxn modelId="{2F2AF935-3EAA-48B8-B89F-67581D29AAE4}" type="presParOf" srcId="{A07A8FB6-3099-4040-BF7F-6889317D2324}" destId="{60B41F83-233B-4FB0-AB12-5FDDEF38A886}" srcOrd="7" destOrd="0" presId="urn:microsoft.com/office/officeart/2008/layout/LinedList"/>
    <dgm:cxn modelId="{1AF7987B-B4E3-4511-8EF5-82A2B9596DF4}" type="presParOf" srcId="{60B41F83-233B-4FB0-AB12-5FDDEF38A886}" destId="{2D86C70D-EDB2-4992-A62F-1BF2A641F06A}" srcOrd="0" destOrd="0" presId="urn:microsoft.com/office/officeart/2008/layout/LinedList"/>
    <dgm:cxn modelId="{89CD2A45-EDF0-4F2B-BA9F-47450E841ADC}" type="presParOf" srcId="{60B41F83-233B-4FB0-AB12-5FDDEF38A886}" destId="{9C48CDB5-DB80-41F5-BA88-6505C1013361}"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58738D6-A209-4719-AE1D-0F5BEBAA6853}"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FA3AEA6D-F996-4976-82AC-823D38585673}">
      <dgm:prSet/>
      <dgm:spPr/>
      <dgm:t>
        <a:bodyPr/>
        <a:lstStyle/>
        <a:p>
          <a:r>
            <a:rPr lang="en-GB" baseline="0"/>
            <a:t>Mandatory Service</a:t>
          </a:r>
          <a:endParaRPr lang="en-GB"/>
        </a:p>
      </dgm:t>
    </dgm:pt>
    <dgm:pt modelId="{9C48E26E-4CA6-4F32-B352-7E53C9DD875C}" type="parTrans" cxnId="{C27FCF37-C76C-45D9-AD6E-343A9FEDDF10}">
      <dgm:prSet/>
      <dgm:spPr/>
      <dgm:t>
        <a:bodyPr/>
        <a:lstStyle/>
        <a:p>
          <a:endParaRPr lang="en-GB"/>
        </a:p>
      </dgm:t>
    </dgm:pt>
    <dgm:pt modelId="{746AE7A5-1D0A-4B97-BCD0-EEB33A5505D2}" type="sibTrans" cxnId="{C27FCF37-C76C-45D9-AD6E-343A9FEDDF10}">
      <dgm:prSet/>
      <dgm:spPr/>
      <dgm:t>
        <a:bodyPr/>
        <a:lstStyle/>
        <a:p>
          <a:endParaRPr lang="en-GB"/>
        </a:p>
      </dgm:t>
    </dgm:pt>
    <dgm:pt modelId="{87DD1DE5-AA73-4477-A5B4-449B5E7D12FF}">
      <dgm:prSet/>
      <dgm:spPr/>
      <dgm:t>
        <a:bodyPr/>
        <a:lstStyle/>
        <a:p>
          <a:r>
            <a:rPr lang="en-GB"/>
            <a:t>Project budget</a:t>
          </a:r>
        </a:p>
      </dgm:t>
    </dgm:pt>
    <dgm:pt modelId="{E8734C39-3BC6-4885-BB68-38145A03AAB8}" type="parTrans" cxnId="{BE12FA21-DFC2-4870-B833-00A7C34C38B1}">
      <dgm:prSet/>
      <dgm:spPr/>
      <dgm:t>
        <a:bodyPr/>
        <a:lstStyle/>
        <a:p>
          <a:endParaRPr lang="en-GB"/>
        </a:p>
      </dgm:t>
    </dgm:pt>
    <dgm:pt modelId="{B4BA21BD-8673-4E40-B490-A2D2104B7BF0}" type="sibTrans" cxnId="{BE12FA21-DFC2-4870-B833-00A7C34C38B1}">
      <dgm:prSet/>
      <dgm:spPr/>
      <dgm:t>
        <a:bodyPr/>
        <a:lstStyle/>
        <a:p>
          <a:endParaRPr lang="en-GB"/>
        </a:p>
      </dgm:t>
    </dgm:pt>
    <dgm:pt modelId="{03643520-81CB-4BA2-9248-4F74145D5022}">
      <dgm:prSet/>
      <dgm:spPr/>
      <dgm:t>
        <a:bodyPr/>
        <a:lstStyle/>
        <a:p>
          <a:r>
            <a:rPr lang="en-GB" baseline="0"/>
            <a:t>Project knowledge is important</a:t>
          </a:r>
          <a:endParaRPr lang="en-GB"/>
        </a:p>
      </dgm:t>
    </dgm:pt>
    <dgm:pt modelId="{E8C0B676-4C6E-463E-8904-B83C449C57DB}" type="parTrans" cxnId="{C767B7EE-7AB9-42DE-B61D-3137210411B3}">
      <dgm:prSet/>
      <dgm:spPr/>
      <dgm:t>
        <a:bodyPr/>
        <a:lstStyle/>
        <a:p>
          <a:endParaRPr lang="en-GB"/>
        </a:p>
      </dgm:t>
    </dgm:pt>
    <dgm:pt modelId="{3D4E9102-ED3B-4B34-B0D1-C64F9074C50F}" type="sibTrans" cxnId="{C767B7EE-7AB9-42DE-B61D-3137210411B3}">
      <dgm:prSet/>
      <dgm:spPr/>
      <dgm:t>
        <a:bodyPr/>
        <a:lstStyle/>
        <a:p>
          <a:endParaRPr lang="en-GB"/>
        </a:p>
      </dgm:t>
    </dgm:pt>
    <dgm:pt modelId="{D26AD173-9CE1-43A8-BDC2-B8238710C7A6}">
      <dgm:prSet/>
      <dgm:spPr/>
      <dgm:t>
        <a:bodyPr/>
        <a:lstStyle/>
        <a:p>
          <a:r>
            <a:rPr lang="en-GB"/>
            <a:t>Knowledge of the tools is essential</a:t>
          </a:r>
        </a:p>
      </dgm:t>
    </dgm:pt>
    <dgm:pt modelId="{18A3FF16-A50D-45C2-B8B4-D04B1425B82B}" type="parTrans" cxnId="{FAE5C4D0-A8F9-452C-8AC2-5741BC3DF950}">
      <dgm:prSet/>
      <dgm:spPr/>
      <dgm:t>
        <a:bodyPr/>
        <a:lstStyle/>
        <a:p>
          <a:endParaRPr lang="en-GB"/>
        </a:p>
      </dgm:t>
    </dgm:pt>
    <dgm:pt modelId="{DD1B7F56-5AC9-46E3-A90A-131E2ECB7EFF}" type="sibTrans" cxnId="{FAE5C4D0-A8F9-452C-8AC2-5741BC3DF950}">
      <dgm:prSet/>
      <dgm:spPr/>
      <dgm:t>
        <a:bodyPr/>
        <a:lstStyle/>
        <a:p>
          <a:endParaRPr lang="en-GB"/>
        </a:p>
      </dgm:t>
    </dgm:pt>
    <dgm:pt modelId="{FD68F593-EAE2-4D8A-B016-B0E10747053A}">
      <dgm:prSet/>
      <dgm:spPr/>
      <dgm:t>
        <a:bodyPr/>
        <a:lstStyle/>
        <a:p>
          <a:r>
            <a:rPr lang="en-GB" baseline="0"/>
            <a:t>SLAs</a:t>
          </a:r>
          <a:endParaRPr lang="en-GB"/>
        </a:p>
      </dgm:t>
    </dgm:pt>
    <dgm:pt modelId="{4EBABCB0-FAFE-4580-A66C-36E01C15F26D}" type="parTrans" cxnId="{4778F695-8C10-4DC0-B132-F851FEF71DB3}">
      <dgm:prSet/>
      <dgm:spPr/>
      <dgm:t>
        <a:bodyPr/>
        <a:lstStyle/>
        <a:p>
          <a:endParaRPr lang="en-GB"/>
        </a:p>
      </dgm:t>
    </dgm:pt>
    <dgm:pt modelId="{E4801603-0BF1-41BF-B217-436E954E6A50}" type="sibTrans" cxnId="{4778F695-8C10-4DC0-B132-F851FEF71DB3}">
      <dgm:prSet/>
      <dgm:spPr/>
      <dgm:t>
        <a:bodyPr/>
        <a:lstStyle/>
        <a:p>
          <a:endParaRPr lang="en-GB"/>
        </a:p>
      </dgm:t>
    </dgm:pt>
    <dgm:pt modelId="{401C9559-A13A-4968-8C48-73E1B4350D95}" type="pres">
      <dgm:prSet presAssocID="{B58738D6-A209-4719-AE1D-0F5BEBAA6853}" presName="vert0" presStyleCnt="0">
        <dgm:presLayoutVars>
          <dgm:dir/>
          <dgm:animOne val="branch"/>
          <dgm:animLvl val="lvl"/>
        </dgm:presLayoutVars>
      </dgm:prSet>
      <dgm:spPr/>
    </dgm:pt>
    <dgm:pt modelId="{9DB85417-D219-4231-842A-2B59B33CFFF6}" type="pres">
      <dgm:prSet presAssocID="{FA3AEA6D-F996-4976-82AC-823D38585673}" presName="thickLine" presStyleLbl="alignNode1" presStyleIdx="0" presStyleCnt="5"/>
      <dgm:spPr/>
    </dgm:pt>
    <dgm:pt modelId="{385040FA-7537-4B2B-BF06-3176AAD268CA}" type="pres">
      <dgm:prSet presAssocID="{FA3AEA6D-F996-4976-82AC-823D38585673}" presName="horz1" presStyleCnt="0"/>
      <dgm:spPr/>
    </dgm:pt>
    <dgm:pt modelId="{C10C6A6F-9E02-4031-BD26-7ADB1DDE497F}" type="pres">
      <dgm:prSet presAssocID="{FA3AEA6D-F996-4976-82AC-823D38585673}" presName="tx1" presStyleLbl="revTx" presStyleIdx="0" presStyleCnt="5"/>
      <dgm:spPr/>
    </dgm:pt>
    <dgm:pt modelId="{C08A5F91-AF42-43B1-9DB3-723100381360}" type="pres">
      <dgm:prSet presAssocID="{FA3AEA6D-F996-4976-82AC-823D38585673}" presName="vert1" presStyleCnt="0"/>
      <dgm:spPr/>
    </dgm:pt>
    <dgm:pt modelId="{3BF3C64D-6082-4795-8976-D3C1CD696FED}" type="pres">
      <dgm:prSet presAssocID="{87DD1DE5-AA73-4477-A5B4-449B5E7D12FF}" presName="thickLine" presStyleLbl="alignNode1" presStyleIdx="1" presStyleCnt="5"/>
      <dgm:spPr/>
    </dgm:pt>
    <dgm:pt modelId="{C829DC62-AA93-48DC-A4C7-4747AED0C6A7}" type="pres">
      <dgm:prSet presAssocID="{87DD1DE5-AA73-4477-A5B4-449B5E7D12FF}" presName="horz1" presStyleCnt="0"/>
      <dgm:spPr/>
    </dgm:pt>
    <dgm:pt modelId="{1FF8DF34-83C1-4AC2-ADD1-5B66418D74E2}" type="pres">
      <dgm:prSet presAssocID="{87DD1DE5-AA73-4477-A5B4-449B5E7D12FF}" presName="tx1" presStyleLbl="revTx" presStyleIdx="1" presStyleCnt="5"/>
      <dgm:spPr/>
    </dgm:pt>
    <dgm:pt modelId="{DC3D68B7-61C0-4120-AFA8-D41C47CC269A}" type="pres">
      <dgm:prSet presAssocID="{87DD1DE5-AA73-4477-A5B4-449B5E7D12FF}" presName="vert1" presStyleCnt="0"/>
      <dgm:spPr/>
    </dgm:pt>
    <dgm:pt modelId="{8062711C-88ED-4979-BAE5-F8D14443EAA0}" type="pres">
      <dgm:prSet presAssocID="{03643520-81CB-4BA2-9248-4F74145D5022}" presName="thickLine" presStyleLbl="alignNode1" presStyleIdx="2" presStyleCnt="5"/>
      <dgm:spPr/>
    </dgm:pt>
    <dgm:pt modelId="{19249DC9-54C1-4399-AF74-4F1C17A67AE3}" type="pres">
      <dgm:prSet presAssocID="{03643520-81CB-4BA2-9248-4F74145D5022}" presName="horz1" presStyleCnt="0"/>
      <dgm:spPr/>
    </dgm:pt>
    <dgm:pt modelId="{5BB3597E-2C02-493F-98E5-CCFE3FFED3F3}" type="pres">
      <dgm:prSet presAssocID="{03643520-81CB-4BA2-9248-4F74145D5022}" presName="tx1" presStyleLbl="revTx" presStyleIdx="2" presStyleCnt="5"/>
      <dgm:spPr/>
    </dgm:pt>
    <dgm:pt modelId="{D1721546-F28F-446F-AB73-2AF1D9ABDFEE}" type="pres">
      <dgm:prSet presAssocID="{03643520-81CB-4BA2-9248-4F74145D5022}" presName="vert1" presStyleCnt="0"/>
      <dgm:spPr/>
    </dgm:pt>
    <dgm:pt modelId="{A73D7133-335D-4DF1-BDC2-9210287CDCC1}" type="pres">
      <dgm:prSet presAssocID="{D26AD173-9CE1-43A8-BDC2-B8238710C7A6}" presName="thickLine" presStyleLbl="alignNode1" presStyleIdx="3" presStyleCnt="5"/>
      <dgm:spPr/>
    </dgm:pt>
    <dgm:pt modelId="{F9FF0623-C895-402A-87D2-FDDE657BF570}" type="pres">
      <dgm:prSet presAssocID="{D26AD173-9CE1-43A8-BDC2-B8238710C7A6}" presName="horz1" presStyleCnt="0"/>
      <dgm:spPr/>
    </dgm:pt>
    <dgm:pt modelId="{4A4E6819-1246-425D-AF52-5B792C5D42D3}" type="pres">
      <dgm:prSet presAssocID="{D26AD173-9CE1-43A8-BDC2-B8238710C7A6}" presName="tx1" presStyleLbl="revTx" presStyleIdx="3" presStyleCnt="5"/>
      <dgm:spPr/>
    </dgm:pt>
    <dgm:pt modelId="{D264FCFD-ACDE-4648-A116-4CAA4FF0CFD5}" type="pres">
      <dgm:prSet presAssocID="{D26AD173-9CE1-43A8-BDC2-B8238710C7A6}" presName="vert1" presStyleCnt="0"/>
      <dgm:spPr/>
    </dgm:pt>
    <dgm:pt modelId="{15B1A47E-E599-4241-A418-75395BCCE867}" type="pres">
      <dgm:prSet presAssocID="{FD68F593-EAE2-4D8A-B016-B0E10747053A}" presName="thickLine" presStyleLbl="alignNode1" presStyleIdx="4" presStyleCnt="5"/>
      <dgm:spPr/>
    </dgm:pt>
    <dgm:pt modelId="{DE167096-F1C5-44FB-A0A3-2D6CACB104BB}" type="pres">
      <dgm:prSet presAssocID="{FD68F593-EAE2-4D8A-B016-B0E10747053A}" presName="horz1" presStyleCnt="0"/>
      <dgm:spPr/>
    </dgm:pt>
    <dgm:pt modelId="{207D6FAC-FDA4-4DD5-ACF7-621BE3A6B493}" type="pres">
      <dgm:prSet presAssocID="{FD68F593-EAE2-4D8A-B016-B0E10747053A}" presName="tx1" presStyleLbl="revTx" presStyleIdx="4" presStyleCnt="5"/>
      <dgm:spPr/>
    </dgm:pt>
    <dgm:pt modelId="{3AC3BB87-9EF1-4792-9249-B7B55B205E55}" type="pres">
      <dgm:prSet presAssocID="{FD68F593-EAE2-4D8A-B016-B0E10747053A}" presName="vert1" presStyleCnt="0"/>
      <dgm:spPr/>
    </dgm:pt>
  </dgm:ptLst>
  <dgm:cxnLst>
    <dgm:cxn modelId="{00BA3417-4106-47C9-AEA9-B042275E706D}" type="presOf" srcId="{D26AD173-9CE1-43A8-BDC2-B8238710C7A6}" destId="{4A4E6819-1246-425D-AF52-5B792C5D42D3}" srcOrd="0" destOrd="0" presId="urn:microsoft.com/office/officeart/2008/layout/LinedList"/>
    <dgm:cxn modelId="{617DA31B-991E-496C-B6C2-6CB5A2229714}" type="presOf" srcId="{FD68F593-EAE2-4D8A-B016-B0E10747053A}" destId="{207D6FAC-FDA4-4DD5-ACF7-621BE3A6B493}" srcOrd="0" destOrd="0" presId="urn:microsoft.com/office/officeart/2008/layout/LinedList"/>
    <dgm:cxn modelId="{BE12FA21-DFC2-4870-B833-00A7C34C38B1}" srcId="{B58738D6-A209-4719-AE1D-0F5BEBAA6853}" destId="{87DD1DE5-AA73-4477-A5B4-449B5E7D12FF}" srcOrd="1" destOrd="0" parTransId="{E8734C39-3BC6-4885-BB68-38145A03AAB8}" sibTransId="{B4BA21BD-8673-4E40-B490-A2D2104B7BF0}"/>
    <dgm:cxn modelId="{C27FCF37-C76C-45D9-AD6E-343A9FEDDF10}" srcId="{B58738D6-A209-4719-AE1D-0F5BEBAA6853}" destId="{FA3AEA6D-F996-4976-82AC-823D38585673}" srcOrd="0" destOrd="0" parTransId="{9C48E26E-4CA6-4F32-B352-7E53C9DD875C}" sibTransId="{746AE7A5-1D0A-4B97-BCD0-EEB33A5505D2}"/>
    <dgm:cxn modelId="{50CEA747-6944-409B-93A7-230660859BAA}" type="presOf" srcId="{87DD1DE5-AA73-4477-A5B4-449B5E7D12FF}" destId="{1FF8DF34-83C1-4AC2-ADD1-5B66418D74E2}" srcOrd="0" destOrd="0" presId="urn:microsoft.com/office/officeart/2008/layout/LinedList"/>
    <dgm:cxn modelId="{E75C7C53-0B8E-4A91-8A1C-1A0C9F3F15CC}" type="presOf" srcId="{03643520-81CB-4BA2-9248-4F74145D5022}" destId="{5BB3597E-2C02-493F-98E5-CCFE3FFED3F3}" srcOrd="0" destOrd="0" presId="urn:microsoft.com/office/officeart/2008/layout/LinedList"/>
    <dgm:cxn modelId="{E2B1DA84-8572-44FC-914D-E517F4988D49}" type="presOf" srcId="{B58738D6-A209-4719-AE1D-0F5BEBAA6853}" destId="{401C9559-A13A-4968-8C48-73E1B4350D95}" srcOrd="0" destOrd="0" presId="urn:microsoft.com/office/officeart/2008/layout/LinedList"/>
    <dgm:cxn modelId="{4778F695-8C10-4DC0-B132-F851FEF71DB3}" srcId="{B58738D6-A209-4719-AE1D-0F5BEBAA6853}" destId="{FD68F593-EAE2-4D8A-B016-B0E10747053A}" srcOrd="4" destOrd="0" parTransId="{4EBABCB0-FAFE-4580-A66C-36E01C15F26D}" sibTransId="{E4801603-0BF1-41BF-B217-436E954E6A50}"/>
    <dgm:cxn modelId="{FAE5C4D0-A8F9-452C-8AC2-5741BC3DF950}" srcId="{B58738D6-A209-4719-AE1D-0F5BEBAA6853}" destId="{D26AD173-9CE1-43A8-BDC2-B8238710C7A6}" srcOrd="3" destOrd="0" parTransId="{18A3FF16-A50D-45C2-B8B4-D04B1425B82B}" sibTransId="{DD1B7F56-5AC9-46E3-A90A-131E2ECB7EFF}"/>
    <dgm:cxn modelId="{85CF7AE7-57B3-47B4-943B-BEA35C3D1C0A}" type="presOf" srcId="{FA3AEA6D-F996-4976-82AC-823D38585673}" destId="{C10C6A6F-9E02-4031-BD26-7ADB1DDE497F}" srcOrd="0" destOrd="0" presId="urn:microsoft.com/office/officeart/2008/layout/LinedList"/>
    <dgm:cxn modelId="{C767B7EE-7AB9-42DE-B61D-3137210411B3}" srcId="{B58738D6-A209-4719-AE1D-0F5BEBAA6853}" destId="{03643520-81CB-4BA2-9248-4F74145D5022}" srcOrd="2" destOrd="0" parTransId="{E8C0B676-4C6E-463E-8904-B83C449C57DB}" sibTransId="{3D4E9102-ED3B-4B34-B0D1-C64F9074C50F}"/>
    <dgm:cxn modelId="{C044FDB1-2D84-4D74-8485-455BE1687513}" type="presParOf" srcId="{401C9559-A13A-4968-8C48-73E1B4350D95}" destId="{9DB85417-D219-4231-842A-2B59B33CFFF6}" srcOrd="0" destOrd="0" presId="urn:microsoft.com/office/officeart/2008/layout/LinedList"/>
    <dgm:cxn modelId="{1EA020A6-AFF5-49A0-923B-8E9EC42C32D6}" type="presParOf" srcId="{401C9559-A13A-4968-8C48-73E1B4350D95}" destId="{385040FA-7537-4B2B-BF06-3176AAD268CA}" srcOrd="1" destOrd="0" presId="urn:microsoft.com/office/officeart/2008/layout/LinedList"/>
    <dgm:cxn modelId="{58533042-3E6F-4205-9F70-4708B82EBD51}" type="presParOf" srcId="{385040FA-7537-4B2B-BF06-3176AAD268CA}" destId="{C10C6A6F-9E02-4031-BD26-7ADB1DDE497F}" srcOrd="0" destOrd="0" presId="urn:microsoft.com/office/officeart/2008/layout/LinedList"/>
    <dgm:cxn modelId="{80BC7A5D-5AD5-402D-A6BD-AF4872087AC3}" type="presParOf" srcId="{385040FA-7537-4B2B-BF06-3176AAD268CA}" destId="{C08A5F91-AF42-43B1-9DB3-723100381360}" srcOrd="1" destOrd="0" presId="urn:microsoft.com/office/officeart/2008/layout/LinedList"/>
    <dgm:cxn modelId="{FA13B3FC-BA14-42ED-86A7-062661ECC03E}" type="presParOf" srcId="{401C9559-A13A-4968-8C48-73E1B4350D95}" destId="{3BF3C64D-6082-4795-8976-D3C1CD696FED}" srcOrd="2" destOrd="0" presId="urn:microsoft.com/office/officeart/2008/layout/LinedList"/>
    <dgm:cxn modelId="{FC669F97-A9B3-4EFD-9A7C-B272DF501554}" type="presParOf" srcId="{401C9559-A13A-4968-8C48-73E1B4350D95}" destId="{C829DC62-AA93-48DC-A4C7-4747AED0C6A7}" srcOrd="3" destOrd="0" presId="urn:microsoft.com/office/officeart/2008/layout/LinedList"/>
    <dgm:cxn modelId="{29BE2981-34A1-4C66-B09E-F4DE138FACD3}" type="presParOf" srcId="{C829DC62-AA93-48DC-A4C7-4747AED0C6A7}" destId="{1FF8DF34-83C1-4AC2-ADD1-5B66418D74E2}" srcOrd="0" destOrd="0" presId="urn:microsoft.com/office/officeart/2008/layout/LinedList"/>
    <dgm:cxn modelId="{273B7319-BF11-46D2-A928-E6473E5C3E21}" type="presParOf" srcId="{C829DC62-AA93-48DC-A4C7-4747AED0C6A7}" destId="{DC3D68B7-61C0-4120-AFA8-D41C47CC269A}" srcOrd="1" destOrd="0" presId="urn:microsoft.com/office/officeart/2008/layout/LinedList"/>
    <dgm:cxn modelId="{E345DB33-C549-425D-8837-CCD892E519C9}" type="presParOf" srcId="{401C9559-A13A-4968-8C48-73E1B4350D95}" destId="{8062711C-88ED-4979-BAE5-F8D14443EAA0}" srcOrd="4" destOrd="0" presId="urn:microsoft.com/office/officeart/2008/layout/LinedList"/>
    <dgm:cxn modelId="{09E7D06E-D747-41DF-A788-B4CFA0943110}" type="presParOf" srcId="{401C9559-A13A-4968-8C48-73E1B4350D95}" destId="{19249DC9-54C1-4399-AF74-4F1C17A67AE3}" srcOrd="5" destOrd="0" presId="urn:microsoft.com/office/officeart/2008/layout/LinedList"/>
    <dgm:cxn modelId="{8F8EEA5F-126E-4CCC-BC84-E4DF7A5347C9}" type="presParOf" srcId="{19249DC9-54C1-4399-AF74-4F1C17A67AE3}" destId="{5BB3597E-2C02-493F-98E5-CCFE3FFED3F3}" srcOrd="0" destOrd="0" presId="urn:microsoft.com/office/officeart/2008/layout/LinedList"/>
    <dgm:cxn modelId="{1950DFC2-F63A-410F-9EE1-0020B24AB3DB}" type="presParOf" srcId="{19249DC9-54C1-4399-AF74-4F1C17A67AE3}" destId="{D1721546-F28F-446F-AB73-2AF1D9ABDFEE}" srcOrd="1" destOrd="0" presId="urn:microsoft.com/office/officeart/2008/layout/LinedList"/>
    <dgm:cxn modelId="{0E4DA59A-E2B0-42DD-8778-CBB0E8F85062}" type="presParOf" srcId="{401C9559-A13A-4968-8C48-73E1B4350D95}" destId="{A73D7133-335D-4DF1-BDC2-9210287CDCC1}" srcOrd="6" destOrd="0" presId="urn:microsoft.com/office/officeart/2008/layout/LinedList"/>
    <dgm:cxn modelId="{38F759A7-B979-4612-A4DC-9E738CC15B8F}" type="presParOf" srcId="{401C9559-A13A-4968-8C48-73E1B4350D95}" destId="{F9FF0623-C895-402A-87D2-FDDE657BF570}" srcOrd="7" destOrd="0" presId="urn:microsoft.com/office/officeart/2008/layout/LinedList"/>
    <dgm:cxn modelId="{7ED5C444-1F32-439F-B60B-1035923166C2}" type="presParOf" srcId="{F9FF0623-C895-402A-87D2-FDDE657BF570}" destId="{4A4E6819-1246-425D-AF52-5B792C5D42D3}" srcOrd="0" destOrd="0" presId="urn:microsoft.com/office/officeart/2008/layout/LinedList"/>
    <dgm:cxn modelId="{A7243496-D50E-4446-8D36-CB17D81FAA8D}" type="presParOf" srcId="{F9FF0623-C895-402A-87D2-FDDE657BF570}" destId="{D264FCFD-ACDE-4648-A116-4CAA4FF0CFD5}" srcOrd="1" destOrd="0" presId="urn:microsoft.com/office/officeart/2008/layout/LinedList"/>
    <dgm:cxn modelId="{375086E1-DD49-41F7-BEF8-24C7473AB63F}" type="presParOf" srcId="{401C9559-A13A-4968-8C48-73E1B4350D95}" destId="{15B1A47E-E599-4241-A418-75395BCCE867}" srcOrd="8" destOrd="0" presId="urn:microsoft.com/office/officeart/2008/layout/LinedList"/>
    <dgm:cxn modelId="{BDC6D778-61E9-4B89-895C-9421D7DCDACB}" type="presParOf" srcId="{401C9559-A13A-4968-8C48-73E1B4350D95}" destId="{DE167096-F1C5-44FB-A0A3-2D6CACB104BB}" srcOrd="9" destOrd="0" presId="urn:microsoft.com/office/officeart/2008/layout/LinedList"/>
    <dgm:cxn modelId="{357CC6E0-6E68-4A51-86AA-FF0E2FFCF2D1}" type="presParOf" srcId="{DE167096-F1C5-44FB-A0A3-2D6CACB104BB}" destId="{207D6FAC-FDA4-4DD5-ACF7-621BE3A6B493}" srcOrd="0" destOrd="0" presId="urn:microsoft.com/office/officeart/2008/layout/LinedList"/>
    <dgm:cxn modelId="{832CBC87-B03F-444F-82BC-429CD6AE8C3B}" type="presParOf" srcId="{DE167096-F1C5-44FB-A0A3-2D6CACB104BB}" destId="{3AC3BB87-9EF1-4792-9249-B7B55B205E5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77C1CBD0-EC5A-4B77-9C2F-1F3893A8894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F72EE4E6-F227-4847-A127-9A6210F4C42E}">
      <dgm:prSet/>
      <dgm:spPr/>
      <dgm:t>
        <a:bodyPr/>
        <a:lstStyle/>
        <a:p>
          <a:r>
            <a:rPr lang="en-GB"/>
            <a:t>P</a:t>
          </a:r>
          <a:r>
            <a:rPr lang="en-GB" baseline="0"/>
            <a:t>erceived as an essential service</a:t>
          </a:r>
          <a:endParaRPr lang="en-GB"/>
        </a:p>
      </dgm:t>
    </dgm:pt>
    <dgm:pt modelId="{17115B79-CD6E-471D-A3F9-2A9308571716}" type="parTrans" cxnId="{35A4302D-6826-4F74-B7E3-DD19E07CAE58}">
      <dgm:prSet/>
      <dgm:spPr/>
      <dgm:t>
        <a:bodyPr/>
        <a:lstStyle/>
        <a:p>
          <a:endParaRPr lang="en-GB"/>
        </a:p>
      </dgm:t>
    </dgm:pt>
    <dgm:pt modelId="{00BE0843-120B-4D30-A48E-17D3F6269AA7}" type="sibTrans" cxnId="{35A4302D-6826-4F74-B7E3-DD19E07CAE58}">
      <dgm:prSet/>
      <dgm:spPr/>
      <dgm:t>
        <a:bodyPr/>
        <a:lstStyle/>
        <a:p>
          <a:endParaRPr lang="en-GB"/>
        </a:p>
      </dgm:t>
    </dgm:pt>
    <dgm:pt modelId="{9DA24C95-784C-44E7-B53A-5176E8D9C4A1}">
      <dgm:prSet/>
      <dgm:spPr/>
      <dgm:t>
        <a:bodyPr/>
        <a:lstStyle/>
        <a:p>
          <a:r>
            <a:rPr lang="en-GB"/>
            <a:t>Project Budget</a:t>
          </a:r>
        </a:p>
      </dgm:t>
    </dgm:pt>
    <dgm:pt modelId="{8EBB05FD-B4AF-4572-B4F5-C4220847D1D6}" type="parTrans" cxnId="{8C888CA5-5BE6-439E-96A2-3AF6D7CABE2E}">
      <dgm:prSet/>
      <dgm:spPr/>
      <dgm:t>
        <a:bodyPr/>
        <a:lstStyle/>
        <a:p>
          <a:endParaRPr lang="en-GB"/>
        </a:p>
      </dgm:t>
    </dgm:pt>
    <dgm:pt modelId="{A75E646A-DAB6-4E04-8308-B7235A4DB87C}" type="sibTrans" cxnId="{8C888CA5-5BE6-439E-96A2-3AF6D7CABE2E}">
      <dgm:prSet/>
      <dgm:spPr/>
      <dgm:t>
        <a:bodyPr/>
        <a:lstStyle/>
        <a:p>
          <a:endParaRPr lang="en-GB"/>
        </a:p>
      </dgm:t>
    </dgm:pt>
    <dgm:pt modelId="{E4B8F65A-5A0B-4B5A-8B7A-A4FA4540DB38}">
      <dgm:prSet/>
      <dgm:spPr/>
      <dgm:t>
        <a:bodyPr/>
        <a:lstStyle/>
        <a:p>
          <a:r>
            <a:rPr lang="en-GB" baseline="0"/>
            <a:t>Project knowledge is a nice to have</a:t>
          </a:r>
          <a:endParaRPr lang="en-GB"/>
        </a:p>
      </dgm:t>
    </dgm:pt>
    <dgm:pt modelId="{DB30A02C-368C-4CE9-9DB6-45F8E3441006}" type="parTrans" cxnId="{FF9B3581-6843-4596-A99A-8CFFAB9E2D58}">
      <dgm:prSet/>
      <dgm:spPr/>
      <dgm:t>
        <a:bodyPr/>
        <a:lstStyle/>
        <a:p>
          <a:endParaRPr lang="en-GB"/>
        </a:p>
      </dgm:t>
    </dgm:pt>
    <dgm:pt modelId="{A12AE494-8A77-418A-AAFE-D62C6F8EE106}" type="sibTrans" cxnId="{FF9B3581-6843-4596-A99A-8CFFAB9E2D58}">
      <dgm:prSet/>
      <dgm:spPr/>
      <dgm:t>
        <a:bodyPr/>
        <a:lstStyle/>
        <a:p>
          <a:endParaRPr lang="en-GB"/>
        </a:p>
      </dgm:t>
    </dgm:pt>
    <dgm:pt modelId="{EE200824-3FBB-4104-9953-4C6F78EB86A2}">
      <dgm:prSet/>
      <dgm:spPr/>
      <dgm:t>
        <a:bodyPr/>
        <a:lstStyle/>
        <a:p>
          <a:r>
            <a:rPr lang="en-GB" baseline="0"/>
            <a:t>Knowledge of the tools is essential</a:t>
          </a:r>
          <a:endParaRPr lang="en-GB"/>
        </a:p>
      </dgm:t>
    </dgm:pt>
    <dgm:pt modelId="{4A9A63F7-3735-42EC-9BD6-E634CFD0E77F}" type="parTrans" cxnId="{64D75245-412C-47D6-8BA5-41A44FC9C9BF}">
      <dgm:prSet/>
      <dgm:spPr/>
      <dgm:t>
        <a:bodyPr/>
        <a:lstStyle/>
        <a:p>
          <a:endParaRPr lang="en-GB"/>
        </a:p>
      </dgm:t>
    </dgm:pt>
    <dgm:pt modelId="{8C08640C-867E-4818-9875-85E331059A3B}" type="sibTrans" cxnId="{64D75245-412C-47D6-8BA5-41A44FC9C9BF}">
      <dgm:prSet/>
      <dgm:spPr/>
      <dgm:t>
        <a:bodyPr/>
        <a:lstStyle/>
        <a:p>
          <a:endParaRPr lang="en-GB"/>
        </a:p>
      </dgm:t>
    </dgm:pt>
    <dgm:pt modelId="{9889989C-86C1-4690-94F2-32A3E4971172}">
      <dgm:prSet/>
      <dgm:spPr/>
      <dgm:t>
        <a:bodyPr/>
        <a:lstStyle/>
        <a:p>
          <a:r>
            <a:rPr lang="en-GB" baseline="0"/>
            <a:t>Timescales agreed while scoping</a:t>
          </a:r>
          <a:endParaRPr lang="en-GB"/>
        </a:p>
      </dgm:t>
    </dgm:pt>
    <dgm:pt modelId="{1A40DB2B-D19E-43E3-8262-79FAE4A46645}" type="parTrans" cxnId="{B2057711-7A9C-4110-B895-B588BD4CEA05}">
      <dgm:prSet/>
      <dgm:spPr/>
      <dgm:t>
        <a:bodyPr/>
        <a:lstStyle/>
        <a:p>
          <a:endParaRPr lang="en-GB"/>
        </a:p>
      </dgm:t>
    </dgm:pt>
    <dgm:pt modelId="{4A5B06FD-8E5F-4054-9D70-CEA1D976FA52}" type="sibTrans" cxnId="{B2057711-7A9C-4110-B895-B588BD4CEA05}">
      <dgm:prSet/>
      <dgm:spPr/>
      <dgm:t>
        <a:bodyPr/>
        <a:lstStyle/>
        <a:p>
          <a:endParaRPr lang="en-GB"/>
        </a:p>
      </dgm:t>
    </dgm:pt>
    <dgm:pt modelId="{BF1DEAB0-20CE-4A25-93AE-EB5EEEBE0406}" type="pres">
      <dgm:prSet presAssocID="{77C1CBD0-EC5A-4B77-9C2F-1F3893A88941}" presName="vert0" presStyleCnt="0">
        <dgm:presLayoutVars>
          <dgm:dir/>
          <dgm:animOne val="branch"/>
          <dgm:animLvl val="lvl"/>
        </dgm:presLayoutVars>
      </dgm:prSet>
      <dgm:spPr/>
    </dgm:pt>
    <dgm:pt modelId="{EEEF91EF-E637-4A3B-9973-3222CE29C674}" type="pres">
      <dgm:prSet presAssocID="{F72EE4E6-F227-4847-A127-9A6210F4C42E}" presName="thickLine" presStyleLbl="alignNode1" presStyleIdx="0" presStyleCnt="5"/>
      <dgm:spPr/>
    </dgm:pt>
    <dgm:pt modelId="{C63401B2-11B6-4B46-B51B-1AD0DB91BD88}" type="pres">
      <dgm:prSet presAssocID="{F72EE4E6-F227-4847-A127-9A6210F4C42E}" presName="horz1" presStyleCnt="0"/>
      <dgm:spPr/>
    </dgm:pt>
    <dgm:pt modelId="{A705847B-954C-4C3F-B782-C4F0EA095F1A}" type="pres">
      <dgm:prSet presAssocID="{F72EE4E6-F227-4847-A127-9A6210F4C42E}" presName="tx1" presStyleLbl="revTx" presStyleIdx="0" presStyleCnt="5"/>
      <dgm:spPr/>
    </dgm:pt>
    <dgm:pt modelId="{8957EFA5-E956-4C5A-93A7-71FD88A1384E}" type="pres">
      <dgm:prSet presAssocID="{F72EE4E6-F227-4847-A127-9A6210F4C42E}" presName="vert1" presStyleCnt="0"/>
      <dgm:spPr/>
    </dgm:pt>
    <dgm:pt modelId="{9E30970E-74A7-4662-8135-0068221A5951}" type="pres">
      <dgm:prSet presAssocID="{9DA24C95-784C-44E7-B53A-5176E8D9C4A1}" presName="thickLine" presStyleLbl="alignNode1" presStyleIdx="1" presStyleCnt="5"/>
      <dgm:spPr/>
    </dgm:pt>
    <dgm:pt modelId="{B32C6E2F-51B3-42DD-BBA8-1AE9DFE1CD6A}" type="pres">
      <dgm:prSet presAssocID="{9DA24C95-784C-44E7-B53A-5176E8D9C4A1}" presName="horz1" presStyleCnt="0"/>
      <dgm:spPr/>
    </dgm:pt>
    <dgm:pt modelId="{939ED4B0-A381-4187-AEEC-874E445597A7}" type="pres">
      <dgm:prSet presAssocID="{9DA24C95-784C-44E7-B53A-5176E8D9C4A1}" presName="tx1" presStyleLbl="revTx" presStyleIdx="1" presStyleCnt="5"/>
      <dgm:spPr/>
    </dgm:pt>
    <dgm:pt modelId="{71B10D2B-E8C5-4F44-9C7F-0B8B311547E8}" type="pres">
      <dgm:prSet presAssocID="{9DA24C95-784C-44E7-B53A-5176E8D9C4A1}" presName="vert1" presStyleCnt="0"/>
      <dgm:spPr/>
    </dgm:pt>
    <dgm:pt modelId="{FB215504-0BF6-4158-B313-08809C559D1F}" type="pres">
      <dgm:prSet presAssocID="{E4B8F65A-5A0B-4B5A-8B7A-A4FA4540DB38}" presName="thickLine" presStyleLbl="alignNode1" presStyleIdx="2" presStyleCnt="5"/>
      <dgm:spPr/>
    </dgm:pt>
    <dgm:pt modelId="{AAEC71A4-634E-422E-B56B-B307258DE122}" type="pres">
      <dgm:prSet presAssocID="{E4B8F65A-5A0B-4B5A-8B7A-A4FA4540DB38}" presName="horz1" presStyleCnt="0"/>
      <dgm:spPr/>
    </dgm:pt>
    <dgm:pt modelId="{6B4B84AF-FD42-4F51-BDC4-C7079030BFCB}" type="pres">
      <dgm:prSet presAssocID="{E4B8F65A-5A0B-4B5A-8B7A-A4FA4540DB38}" presName="tx1" presStyleLbl="revTx" presStyleIdx="2" presStyleCnt="5"/>
      <dgm:spPr/>
    </dgm:pt>
    <dgm:pt modelId="{D6A67C37-8E7C-4999-8602-9B9C7A8C5FA2}" type="pres">
      <dgm:prSet presAssocID="{E4B8F65A-5A0B-4B5A-8B7A-A4FA4540DB38}" presName="vert1" presStyleCnt="0"/>
      <dgm:spPr/>
    </dgm:pt>
    <dgm:pt modelId="{7F4CB91D-82F6-419C-8420-CBAF0D410B43}" type="pres">
      <dgm:prSet presAssocID="{EE200824-3FBB-4104-9953-4C6F78EB86A2}" presName="thickLine" presStyleLbl="alignNode1" presStyleIdx="3" presStyleCnt="5"/>
      <dgm:spPr/>
    </dgm:pt>
    <dgm:pt modelId="{67FA9F43-25A3-40B2-8B16-8233B2100EB7}" type="pres">
      <dgm:prSet presAssocID="{EE200824-3FBB-4104-9953-4C6F78EB86A2}" presName="horz1" presStyleCnt="0"/>
      <dgm:spPr/>
    </dgm:pt>
    <dgm:pt modelId="{1035022B-B9B6-44C0-9A76-90CD903366FA}" type="pres">
      <dgm:prSet presAssocID="{EE200824-3FBB-4104-9953-4C6F78EB86A2}" presName="tx1" presStyleLbl="revTx" presStyleIdx="3" presStyleCnt="5"/>
      <dgm:spPr/>
    </dgm:pt>
    <dgm:pt modelId="{7061E183-A504-40DA-B9C6-0EDE03249B3C}" type="pres">
      <dgm:prSet presAssocID="{EE200824-3FBB-4104-9953-4C6F78EB86A2}" presName="vert1" presStyleCnt="0"/>
      <dgm:spPr/>
    </dgm:pt>
    <dgm:pt modelId="{BFD125EA-DA17-43FA-A799-F735ED09E3D6}" type="pres">
      <dgm:prSet presAssocID="{9889989C-86C1-4690-94F2-32A3E4971172}" presName="thickLine" presStyleLbl="alignNode1" presStyleIdx="4" presStyleCnt="5"/>
      <dgm:spPr/>
    </dgm:pt>
    <dgm:pt modelId="{A91D0D64-4ECA-41CF-A1EC-148566045185}" type="pres">
      <dgm:prSet presAssocID="{9889989C-86C1-4690-94F2-32A3E4971172}" presName="horz1" presStyleCnt="0"/>
      <dgm:spPr/>
    </dgm:pt>
    <dgm:pt modelId="{83DDB81C-19DF-4809-AF57-E1802AE79923}" type="pres">
      <dgm:prSet presAssocID="{9889989C-86C1-4690-94F2-32A3E4971172}" presName="tx1" presStyleLbl="revTx" presStyleIdx="4" presStyleCnt="5"/>
      <dgm:spPr/>
    </dgm:pt>
    <dgm:pt modelId="{40304AEC-936A-4B15-AA69-B221E3518252}" type="pres">
      <dgm:prSet presAssocID="{9889989C-86C1-4690-94F2-32A3E4971172}" presName="vert1" presStyleCnt="0"/>
      <dgm:spPr/>
    </dgm:pt>
  </dgm:ptLst>
  <dgm:cxnLst>
    <dgm:cxn modelId="{793EDE0C-279A-4243-81BB-7FEA22BA8C8E}" type="presOf" srcId="{E4B8F65A-5A0B-4B5A-8B7A-A4FA4540DB38}" destId="{6B4B84AF-FD42-4F51-BDC4-C7079030BFCB}" srcOrd="0" destOrd="0" presId="urn:microsoft.com/office/officeart/2008/layout/LinedList"/>
    <dgm:cxn modelId="{B2057711-7A9C-4110-B895-B588BD4CEA05}" srcId="{77C1CBD0-EC5A-4B77-9C2F-1F3893A88941}" destId="{9889989C-86C1-4690-94F2-32A3E4971172}" srcOrd="4" destOrd="0" parTransId="{1A40DB2B-D19E-43E3-8262-79FAE4A46645}" sibTransId="{4A5B06FD-8E5F-4054-9D70-CEA1D976FA52}"/>
    <dgm:cxn modelId="{7DD82A12-6D1A-420F-B42D-78F742CB6C2C}" type="presOf" srcId="{EE200824-3FBB-4104-9953-4C6F78EB86A2}" destId="{1035022B-B9B6-44C0-9A76-90CD903366FA}" srcOrd="0" destOrd="0" presId="urn:microsoft.com/office/officeart/2008/layout/LinedList"/>
    <dgm:cxn modelId="{35A4302D-6826-4F74-B7E3-DD19E07CAE58}" srcId="{77C1CBD0-EC5A-4B77-9C2F-1F3893A88941}" destId="{F72EE4E6-F227-4847-A127-9A6210F4C42E}" srcOrd="0" destOrd="0" parTransId="{17115B79-CD6E-471D-A3F9-2A9308571716}" sibTransId="{00BE0843-120B-4D30-A48E-17D3F6269AA7}"/>
    <dgm:cxn modelId="{5B828630-5A6D-4FCE-9361-8158A7188BB3}" type="presOf" srcId="{9DA24C95-784C-44E7-B53A-5176E8D9C4A1}" destId="{939ED4B0-A381-4187-AEEC-874E445597A7}" srcOrd="0" destOrd="0" presId="urn:microsoft.com/office/officeart/2008/layout/LinedList"/>
    <dgm:cxn modelId="{D9AD9134-FE4E-47A3-9C0E-05045CEC20F8}" type="presOf" srcId="{F72EE4E6-F227-4847-A127-9A6210F4C42E}" destId="{A705847B-954C-4C3F-B782-C4F0EA095F1A}" srcOrd="0" destOrd="0" presId="urn:microsoft.com/office/officeart/2008/layout/LinedList"/>
    <dgm:cxn modelId="{64D75245-412C-47D6-8BA5-41A44FC9C9BF}" srcId="{77C1CBD0-EC5A-4B77-9C2F-1F3893A88941}" destId="{EE200824-3FBB-4104-9953-4C6F78EB86A2}" srcOrd="3" destOrd="0" parTransId="{4A9A63F7-3735-42EC-9BD6-E634CFD0E77F}" sibTransId="{8C08640C-867E-4818-9875-85E331059A3B}"/>
    <dgm:cxn modelId="{9148B05A-7CC4-4D27-8408-B3338592B030}" type="presOf" srcId="{77C1CBD0-EC5A-4B77-9C2F-1F3893A88941}" destId="{BF1DEAB0-20CE-4A25-93AE-EB5EEEBE0406}" srcOrd="0" destOrd="0" presId="urn:microsoft.com/office/officeart/2008/layout/LinedList"/>
    <dgm:cxn modelId="{FF9B3581-6843-4596-A99A-8CFFAB9E2D58}" srcId="{77C1CBD0-EC5A-4B77-9C2F-1F3893A88941}" destId="{E4B8F65A-5A0B-4B5A-8B7A-A4FA4540DB38}" srcOrd="2" destOrd="0" parTransId="{DB30A02C-368C-4CE9-9DB6-45F8E3441006}" sibTransId="{A12AE494-8A77-418A-AAFE-D62C6F8EE106}"/>
    <dgm:cxn modelId="{8C888CA5-5BE6-439E-96A2-3AF6D7CABE2E}" srcId="{77C1CBD0-EC5A-4B77-9C2F-1F3893A88941}" destId="{9DA24C95-784C-44E7-B53A-5176E8D9C4A1}" srcOrd="1" destOrd="0" parTransId="{8EBB05FD-B4AF-4572-B4F5-C4220847D1D6}" sibTransId="{A75E646A-DAB6-4E04-8308-B7235A4DB87C}"/>
    <dgm:cxn modelId="{3C9A2BB1-8604-4E43-86B3-C401202FE355}" type="presOf" srcId="{9889989C-86C1-4690-94F2-32A3E4971172}" destId="{83DDB81C-19DF-4809-AF57-E1802AE79923}" srcOrd="0" destOrd="0" presId="urn:microsoft.com/office/officeart/2008/layout/LinedList"/>
    <dgm:cxn modelId="{FC0FF38C-F050-49C5-8283-50311107CA9A}" type="presParOf" srcId="{BF1DEAB0-20CE-4A25-93AE-EB5EEEBE0406}" destId="{EEEF91EF-E637-4A3B-9973-3222CE29C674}" srcOrd="0" destOrd="0" presId="urn:microsoft.com/office/officeart/2008/layout/LinedList"/>
    <dgm:cxn modelId="{4983F3BF-0439-4752-91D9-48E66588048C}" type="presParOf" srcId="{BF1DEAB0-20CE-4A25-93AE-EB5EEEBE0406}" destId="{C63401B2-11B6-4B46-B51B-1AD0DB91BD88}" srcOrd="1" destOrd="0" presId="urn:microsoft.com/office/officeart/2008/layout/LinedList"/>
    <dgm:cxn modelId="{73D8B10E-D019-407A-9A68-C1E44193EAEC}" type="presParOf" srcId="{C63401B2-11B6-4B46-B51B-1AD0DB91BD88}" destId="{A705847B-954C-4C3F-B782-C4F0EA095F1A}" srcOrd="0" destOrd="0" presId="urn:microsoft.com/office/officeart/2008/layout/LinedList"/>
    <dgm:cxn modelId="{5F991235-601C-4FAA-8DA6-D2CDAEA1C963}" type="presParOf" srcId="{C63401B2-11B6-4B46-B51B-1AD0DB91BD88}" destId="{8957EFA5-E956-4C5A-93A7-71FD88A1384E}" srcOrd="1" destOrd="0" presId="urn:microsoft.com/office/officeart/2008/layout/LinedList"/>
    <dgm:cxn modelId="{B0DC9DA9-8498-42F7-835C-475C9DFF26DB}" type="presParOf" srcId="{BF1DEAB0-20CE-4A25-93AE-EB5EEEBE0406}" destId="{9E30970E-74A7-4662-8135-0068221A5951}" srcOrd="2" destOrd="0" presId="urn:microsoft.com/office/officeart/2008/layout/LinedList"/>
    <dgm:cxn modelId="{3D954451-ECA6-4D25-8E79-177CD4CCA1F9}" type="presParOf" srcId="{BF1DEAB0-20CE-4A25-93AE-EB5EEEBE0406}" destId="{B32C6E2F-51B3-42DD-BBA8-1AE9DFE1CD6A}" srcOrd="3" destOrd="0" presId="urn:microsoft.com/office/officeart/2008/layout/LinedList"/>
    <dgm:cxn modelId="{E1AE433F-C9BD-407B-93C9-B53D4F9BC61A}" type="presParOf" srcId="{B32C6E2F-51B3-42DD-BBA8-1AE9DFE1CD6A}" destId="{939ED4B0-A381-4187-AEEC-874E445597A7}" srcOrd="0" destOrd="0" presId="urn:microsoft.com/office/officeart/2008/layout/LinedList"/>
    <dgm:cxn modelId="{D0E4FD3D-7797-4898-9970-805AC6AFE62D}" type="presParOf" srcId="{B32C6E2F-51B3-42DD-BBA8-1AE9DFE1CD6A}" destId="{71B10D2B-E8C5-4F44-9C7F-0B8B311547E8}" srcOrd="1" destOrd="0" presId="urn:microsoft.com/office/officeart/2008/layout/LinedList"/>
    <dgm:cxn modelId="{C37F4E18-CE2F-4623-A198-7C7FC1EE67A5}" type="presParOf" srcId="{BF1DEAB0-20CE-4A25-93AE-EB5EEEBE0406}" destId="{FB215504-0BF6-4158-B313-08809C559D1F}" srcOrd="4" destOrd="0" presId="urn:microsoft.com/office/officeart/2008/layout/LinedList"/>
    <dgm:cxn modelId="{6F59493D-DB2B-4CD8-9360-09F9216FD4A4}" type="presParOf" srcId="{BF1DEAB0-20CE-4A25-93AE-EB5EEEBE0406}" destId="{AAEC71A4-634E-422E-B56B-B307258DE122}" srcOrd="5" destOrd="0" presId="urn:microsoft.com/office/officeart/2008/layout/LinedList"/>
    <dgm:cxn modelId="{9F981B57-C6DA-4057-907C-5DA70B10283E}" type="presParOf" srcId="{AAEC71A4-634E-422E-B56B-B307258DE122}" destId="{6B4B84AF-FD42-4F51-BDC4-C7079030BFCB}" srcOrd="0" destOrd="0" presId="urn:microsoft.com/office/officeart/2008/layout/LinedList"/>
    <dgm:cxn modelId="{7E943875-FACD-417C-A7ED-0C0B70B0CFE9}" type="presParOf" srcId="{AAEC71A4-634E-422E-B56B-B307258DE122}" destId="{D6A67C37-8E7C-4999-8602-9B9C7A8C5FA2}" srcOrd="1" destOrd="0" presId="urn:microsoft.com/office/officeart/2008/layout/LinedList"/>
    <dgm:cxn modelId="{87285C98-30D2-4E04-89CB-F43C1014B028}" type="presParOf" srcId="{BF1DEAB0-20CE-4A25-93AE-EB5EEEBE0406}" destId="{7F4CB91D-82F6-419C-8420-CBAF0D410B43}" srcOrd="6" destOrd="0" presId="urn:microsoft.com/office/officeart/2008/layout/LinedList"/>
    <dgm:cxn modelId="{0C8DF2CA-EE38-4B32-82DF-7FE88D075DDE}" type="presParOf" srcId="{BF1DEAB0-20CE-4A25-93AE-EB5EEEBE0406}" destId="{67FA9F43-25A3-40B2-8B16-8233B2100EB7}" srcOrd="7" destOrd="0" presId="urn:microsoft.com/office/officeart/2008/layout/LinedList"/>
    <dgm:cxn modelId="{2A8738CE-9E28-42D7-8145-4EEE69696A0A}" type="presParOf" srcId="{67FA9F43-25A3-40B2-8B16-8233B2100EB7}" destId="{1035022B-B9B6-44C0-9A76-90CD903366FA}" srcOrd="0" destOrd="0" presId="urn:microsoft.com/office/officeart/2008/layout/LinedList"/>
    <dgm:cxn modelId="{8C7464E1-B091-429E-A522-2481FAA6C212}" type="presParOf" srcId="{67FA9F43-25A3-40B2-8B16-8233B2100EB7}" destId="{7061E183-A504-40DA-B9C6-0EDE03249B3C}" srcOrd="1" destOrd="0" presId="urn:microsoft.com/office/officeart/2008/layout/LinedList"/>
    <dgm:cxn modelId="{6F366F26-1A85-4519-9C99-098257CF5683}" type="presParOf" srcId="{BF1DEAB0-20CE-4A25-93AE-EB5EEEBE0406}" destId="{BFD125EA-DA17-43FA-A799-F735ED09E3D6}" srcOrd="8" destOrd="0" presId="urn:microsoft.com/office/officeart/2008/layout/LinedList"/>
    <dgm:cxn modelId="{4AE8D171-71BA-40E7-97CC-E44883E41AB0}" type="presParOf" srcId="{BF1DEAB0-20CE-4A25-93AE-EB5EEEBE0406}" destId="{A91D0D64-4ECA-41CF-A1EC-148566045185}" srcOrd="9" destOrd="0" presId="urn:microsoft.com/office/officeart/2008/layout/LinedList"/>
    <dgm:cxn modelId="{DDFADA42-D8CD-4F6F-809D-40B156B21431}" type="presParOf" srcId="{A91D0D64-4ECA-41CF-A1EC-148566045185}" destId="{83DDB81C-19DF-4809-AF57-E1802AE79923}" srcOrd="0" destOrd="0" presId="urn:microsoft.com/office/officeart/2008/layout/LinedList"/>
    <dgm:cxn modelId="{FEFF615E-6832-4F35-89BB-942014F2A935}" type="presParOf" srcId="{A91D0D64-4ECA-41CF-A1EC-148566045185}" destId="{40304AEC-936A-4B15-AA69-B221E3518252}"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B540B54-C9FF-41FF-BD45-2C10290914E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D22C2D80-481C-4D1A-8118-8FD2A2F3E0B8}">
      <dgm:prSet/>
      <dgm:spPr/>
      <dgm:t>
        <a:bodyPr/>
        <a:lstStyle/>
        <a:p>
          <a:r>
            <a:rPr lang="en-GB"/>
            <a:t>Organisational/Team Budget</a:t>
          </a:r>
        </a:p>
      </dgm:t>
    </dgm:pt>
    <dgm:pt modelId="{38F7FED1-8820-48A8-B60D-C89E7AFB633F}" type="parTrans" cxnId="{765D237C-2B4B-4BA7-8189-7B7FDA4C1769}">
      <dgm:prSet/>
      <dgm:spPr/>
      <dgm:t>
        <a:bodyPr/>
        <a:lstStyle/>
        <a:p>
          <a:endParaRPr lang="en-GB"/>
        </a:p>
      </dgm:t>
    </dgm:pt>
    <dgm:pt modelId="{BA2F72A7-173B-4AA3-BFF9-4082083980EA}" type="sibTrans" cxnId="{765D237C-2B4B-4BA7-8189-7B7FDA4C1769}">
      <dgm:prSet/>
      <dgm:spPr/>
      <dgm:t>
        <a:bodyPr/>
        <a:lstStyle/>
        <a:p>
          <a:endParaRPr lang="en-GB"/>
        </a:p>
      </dgm:t>
    </dgm:pt>
    <dgm:pt modelId="{E2967758-4E76-4830-ADAA-CADF87DDD007}">
      <dgm:prSet/>
      <dgm:spPr/>
      <dgm:t>
        <a:bodyPr/>
        <a:lstStyle/>
        <a:p>
          <a:r>
            <a:rPr lang="en-GB" baseline="0"/>
            <a:t>Knowledge of the tools is essential</a:t>
          </a:r>
          <a:endParaRPr lang="en-GB"/>
        </a:p>
      </dgm:t>
    </dgm:pt>
    <dgm:pt modelId="{2ABC19DB-051B-49DF-86F1-9E954A4B0C1F}" type="parTrans" cxnId="{908BC6E7-0F31-42A4-A029-408B1F0380C0}">
      <dgm:prSet/>
      <dgm:spPr/>
      <dgm:t>
        <a:bodyPr/>
        <a:lstStyle/>
        <a:p>
          <a:endParaRPr lang="en-GB"/>
        </a:p>
      </dgm:t>
    </dgm:pt>
    <dgm:pt modelId="{55F8EB64-FB1C-4428-ABA6-985A2E30D3E0}" type="sibTrans" cxnId="{908BC6E7-0F31-42A4-A029-408B1F0380C0}">
      <dgm:prSet/>
      <dgm:spPr/>
      <dgm:t>
        <a:bodyPr/>
        <a:lstStyle/>
        <a:p>
          <a:endParaRPr lang="en-GB"/>
        </a:p>
      </dgm:t>
    </dgm:pt>
    <dgm:pt modelId="{704369F3-1F4E-493E-81BE-47D8C6C313C3}">
      <dgm:prSet/>
      <dgm:spPr/>
      <dgm:t>
        <a:bodyPr/>
        <a:lstStyle/>
        <a:p>
          <a:r>
            <a:rPr lang="en-GB" baseline="0"/>
            <a:t>Real-time</a:t>
          </a:r>
          <a:endParaRPr lang="en-GB"/>
        </a:p>
      </dgm:t>
    </dgm:pt>
    <dgm:pt modelId="{84B1C7FE-55DF-4A4D-80E9-0E48F112D310}" type="parTrans" cxnId="{D2402F3A-9F7D-4639-B75D-5B285922F27F}">
      <dgm:prSet/>
      <dgm:spPr/>
      <dgm:t>
        <a:bodyPr/>
        <a:lstStyle/>
        <a:p>
          <a:endParaRPr lang="en-GB"/>
        </a:p>
      </dgm:t>
    </dgm:pt>
    <dgm:pt modelId="{98FA3348-0069-4106-B1E5-DE355B2905ED}" type="sibTrans" cxnId="{D2402F3A-9F7D-4639-B75D-5B285922F27F}">
      <dgm:prSet/>
      <dgm:spPr/>
      <dgm:t>
        <a:bodyPr/>
        <a:lstStyle/>
        <a:p>
          <a:endParaRPr lang="en-GB"/>
        </a:p>
      </dgm:t>
    </dgm:pt>
    <dgm:pt modelId="{7FABF93B-BBE5-410A-8F49-7FEBEE3B4FDA}">
      <dgm:prSet/>
      <dgm:spPr/>
      <dgm:t>
        <a:bodyPr/>
        <a:lstStyle/>
        <a:p>
          <a:r>
            <a:rPr lang="en-GB"/>
            <a:t>Enablement hub</a:t>
          </a:r>
        </a:p>
      </dgm:t>
    </dgm:pt>
    <dgm:pt modelId="{FCFFA786-0136-464C-99EC-80E5CEC8000C}" type="parTrans" cxnId="{1DDFDF0E-679A-4F8A-8295-F9B25BEBAC68}">
      <dgm:prSet/>
      <dgm:spPr/>
      <dgm:t>
        <a:bodyPr/>
        <a:lstStyle/>
        <a:p>
          <a:endParaRPr lang="en-GB"/>
        </a:p>
      </dgm:t>
    </dgm:pt>
    <dgm:pt modelId="{F4E2B2F9-DBDB-4439-9035-D2A91D80929A}" type="sibTrans" cxnId="{1DDFDF0E-679A-4F8A-8295-F9B25BEBAC68}">
      <dgm:prSet/>
      <dgm:spPr/>
      <dgm:t>
        <a:bodyPr/>
        <a:lstStyle/>
        <a:p>
          <a:endParaRPr lang="en-GB"/>
        </a:p>
      </dgm:t>
    </dgm:pt>
    <dgm:pt modelId="{F8C2D0DE-2A74-4069-A465-1565147DC633}" type="pres">
      <dgm:prSet presAssocID="{DB540B54-C9FF-41FF-BD45-2C10290914EB}" presName="vert0" presStyleCnt="0">
        <dgm:presLayoutVars>
          <dgm:dir/>
          <dgm:animOne val="branch"/>
          <dgm:animLvl val="lvl"/>
        </dgm:presLayoutVars>
      </dgm:prSet>
      <dgm:spPr/>
    </dgm:pt>
    <dgm:pt modelId="{98F02834-CBCB-4F20-9081-85244501EA6D}" type="pres">
      <dgm:prSet presAssocID="{D22C2D80-481C-4D1A-8118-8FD2A2F3E0B8}" presName="thickLine" presStyleLbl="alignNode1" presStyleIdx="0" presStyleCnt="4"/>
      <dgm:spPr/>
    </dgm:pt>
    <dgm:pt modelId="{0E4DA240-A96D-4715-B0E2-64D7E80E6A36}" type="pres">
      <dgm:prSet presAssocID="{D22C2D80-481C-4D1A-8118-8FD2A2F3E0B8}" presName="horz1" presStyleCnt="0"/>
      <dgm:spPr/>
    </dgm:pt>
    <dgm:pt modelId="{9A559F53-78CD-4C94-AEFC-3E2E9AC66C9F}" type="pres">
      <dgm:prSet presAssocID="{D22C2D80-481C-4D1A-8118-8FD2A2F3E0B8}" presName="tx1" presStyleLbl="revTx" presStyleIdx="0" presStyleCnt="4"/>
      <dgm:spPr/>
    </dgm:pt>
    <dgm:pt modelId="{A27CDADF-F331-4AAF-9BAD-E7FA3DD415B0}" type="pres">
      <dgm:prSet presAssocID="{D22C2D80-481C-4D1A-8118-8FD2A2F3E0B8}" presName="vert1" presStyleCnt="0"/>
      <dgm:spPr/>
    </dgm:pt>
    <dgm:pt modelId="{FF06A71E-14FA-47EC-8FB2-4D2FDD190E88}" type="pres">
      <dgm:prSet presAssocID="{E2967758-4E76-4830-ADAA-CADF87DDD007}" presName="thickLine" presStyleLbl="alignNode1" presStyleIdx="1" presStyleCnt="4"/>
      <dgm:spPr/>
    </dgm:pt>
    <dgm:pt modelId="{0A4FEB92-E3B7-4224-9600-384E0FE1BB81}" type="pres">
      <dgm:prSet presAssocID="{E2967758-4E76-4830-ADAA-CADF87DDD007}" presName="horz1" presStyleCnt="0"/>
      <dgm:spPr/>
    </dgm:pt>
    <dgm:pt modelId="{F94A0456-5643-4D9D-8AD4-1415FD37B238}" type="pres">
      <dgm:prSet presAssocID="{E2967758-4E76-4830-ADAA-CADF87DDD007}" presName="tx1" presStyleLbl="revTx" presStyleIdx="1" presStyleCnt="4"/>
      <dgm:spPr/>
    </dgm:pt>
    <dgm:pt modelId="{30C9D6B3-3091-4801-9BFD-31F169ED89F0}" type="pres">
      <dgm:prSet presAssocID="{E2967758-4E76-4830-ADAA-CADF87DDD007}" presName="vert1" presStyleCnt="0"/>
      <dgm:spPr/>
    </dgm:pt>
    <dgm:pt modelId="{56275ED5-7C28-4C1F-869C-8E9DDDE9C9D1}" type="pres">
      <dgm:prSet presAssocID="{704369F3-1F4E-493E-81BE-47D8C6C313C3}" presName="thickLine" presStyleLbl="alignNode1" presStyleIdx="2" presStyleCnt="4"/>
      <dgm:spPr/>
    </dgm:pt>
    <dgm:pt modelId="{55450FAA-AFB4-4DD7-9EDE-EC399375A4C1}" type="pres">
      <dgm:prSet presAssocID="{704369F3-1F4E-493E-81BE-47D8C6C313C3}" presName="horz1" presStyleCnt="0"/>
      <dgm:spPr/>
    </dgm:pt>
    <dgm:pt modelId="{8AE9A74B-8193-42E5-9DD3-04AF11B31DFA}" type="pres">
      <dgm:prSet presAssocID="{704369F3-1F4E-493E-81BE-47D8C6C313C3}" presName="tx1" presStyleLbl="revTx" presStyleIdx="2" presStyleCnt="4"/>
      <dgm:spPr/>
    </dgm:pt>
    <dgm:pt modelId="{E30AC232-655E-4C4C-B631-CB353F224D96}" type="pres">
      <dgm:prSet presAssocID="{704369F3-1F4E-493E-81BE-47D8C6C313C3}" presName="vert1" presStyleCnt="0"/>
      <dgm:spPr/>
    </dgm:pt>
    <dgm:pt modelId="{2FCACA5A-A395-4758-8AC1-B69EA2406415}" type="pres">
      <dgm:prSet presAssocID="{7FABF93B-BBE5-410A-8F49-7FEBEE3B4FDA}" presName="thickLine" presStyleLbl="alignNode1" presStyleIdx="3" presStyleCnt="4"/>
      <dgm:spPr/>
    </dgm:pt>
    <dgm:pt modelId="{36741B5A-49A5-4D5F-AD3A-416F9BFD14C0}" type="pres">
      <dgm:prSet presAssocID="{7FABF93B-BBE5-410A-8F49-7FEBEE3B4FDA}" presName="horz1" presStyleCnt="0"/>
      <dgm:spPr/>
    </dgm:pt>
    <dgm:pt modelId="{F26237FF-AC1D-446F-8B49-8F44033CB533}" type="pres">
      <dgm:prSet presAssocID="{7FABF93B-BBE5-410A-8F49-7FEBEE3B4FDA}" presName="tx1" presStyleLbl="revTx" presStyleIdx="3" presStyleCnt="4"/>
      <dgm:spPr/>
    </dgm:pt>
    <dgm:pt modelId="{63FE0226-369B-4EF5-8691-B46C63490857}" type="pres">
      <dgm:prSet presAssocID="{7FABF93B-BBE5-410A-8F49-7FEBEE3B4FDA}" presName="vert1" presStyleCnt="0"/>
      <dgm:spPr/>
    </dgm:pt>
  </dgm:ptLst>
  <dgm:cxnLst>
    <dgm:cxn modelId="{1DDFDF0E-679A-4F8A-8295-F9B25BEBAC68}" srcId="{DB540B54-C9FF-41FF-BD45-2C10290914EB}" destId="{7FABF93B-BBE5-410A-8F49-7FEBEE3B4FDA}" srcOrd="3" destOrd="0" parTransId="{FCFFA786-0136-464C-99EC-80E5CEC8000C}" sibTransId="{F4E2B2F9-DBDB-4439-9035-D2A91D80929A}"/>
    <dgm:cxn modelId="{D2402F3A-9F7D-4639-B75D-5B285922F27F}" srcId="{DB540B54-C9FF-41FF-BD45-2C10290914EB}" destId="{704369F3-1F4E-493E-81BE-47D8C6C313C3}" srcOrd="2" destOrd="0" parTransId="{84B1C7FE-55DF-4A4D-80E9-0E48F112D310}" sibTransId="{98FA3348-0069-4106-B1E5-DE355B2905ED}"/>
    <dgm:cxn modelId="{EDA4C946-C579-4769-8900-1CFED6403E79}" type="presOf" srcId="{E2967758-4E76-4830-ADAA-CADF87DDD007}" destId="{F94A0456-5643-4D9D-8AD4-1415FD37B238}" srcOrd="0" destOrd="0" presId="urn:microsoft.com/office/officeart/2008/layout/LinedList"/>
    <dgm:cxn modelId="{2DDD3473-93A8-44D5-96F0-F21F79FE84CE}" type="presOf" srcId="{DB540B54-C9FF-41FF-BD45-2C10290914EB}" destId="{F8C2D0DE-2A74-4069-A465-1565147DC633}" srcOrd="0" destOrd="0" presId="urn:microsoft.com/office/officeart/2008/layout/LinedList"/>
    <dgm:cxn modelId="{765D237C-2B4B-4BA7-8189-7B7FDA4C1769}" srcId="{DB540B54-C9FF-41FF-BD45-2C10290914EB}" destId="{D22C2D80-481C-4D1A-8118-8FD2A2F3E0B8}" srcOrd="0" destOrd="0" parTransId="{38F7FED1-8820-48A8-B60D-C89E7AFB633F}" sibTransId="{BA2F72A7-173B-4AA3-BFF9-4082083980EA}"/>
    <dgm:cxn modelId="{5842709E-6EFD-4325-89CA-56367FD43E50}" type="presOf" srcId="{D22C2D80-481C-4D1A-8118-8FD2A2F3E0B8}" destId="{9A559F53-78CD-4C94-AEFC-3E2E9AC66C9F}" srcOrd="0" destOrd="0" presId="urn:microsoft.com/office/officeart/2008/layout/LinedList"/>
    <dgm:cxn modelId="{684330C3-7360-4DAA-84F0-7F07F5E8E1CB}" type="presOf" srcId="{7FABF93B-BBE5-410A-8F49-7FEBEE3B4FDA}" destId="{F26237FF-AC1D-446F-8B49-8F44033CB533}" srcOrd="0" destOrd="0" presId="urn:microsoft.com/office/officeart/2008/layout/LinedList"/>
    <dgm:cxn modelId="{908BC6E7-0F31-42A4-A029-408B1F0380C0}" srcId="{DB540B54-C9FF-41FF-BD45-2C10290914EB}" destId="{E2967758-4E76-4830-ADAA-CADF87DDD007}" srcOrd="1" destOrd="0" parTransId="{2ABC19DB-051B-49DF-86F1-9E954A4B0C1F}" sibTransId="{55F8EB64-FB1C-4428-ABA6-985A2E30D3E0}"/>
    <dgm:cxn modelId="{5667F7F8-C46E-469C-A7EA-AB26F3338CEF}" type="presOf" srcId="{704369F3-1F4E-493E-81BE-47D8C6C313C3}" destId="{8AE9A74B-8193-42E5-9DD3-04AF11B31DFA}" srcOrd="0" destOrd="0" presId="urn:microsoft.com/office/officeart/2008/layout/LinedList"/>
    <dgm:cxn modelId="{5D762F82-AD7C-46AB-82DE-B0A208ECBDC5}" type="presParOf" srcId="{F8C2D0DE-2A74-4069-A465-1565147DC633}" destId="{98F02834-CBCB-4F20-9081-85244501EA6D}" srcOrd="0" destOrd="0" presId="urn:microsoft.com/office/officeart/2008/layout/LinedList"/>
    <dgm:cxn modelId="{E96323B2-B3D5-4D0E-8774-F5B0F450CC5A}" type="presParOf" srcId="{F8C2D0DE-2A74-4069-A465-1565147DC633}" destId="{0E4DA240-A96D-4715-B0E2-64D7E80E6A36}" srcOrd="1" destOrd="0" presId="urn:microsoft.com/office/officeart/2008/layout/LinedList"/>
    <dgm:cxn modelId="{7EBEF751-E6B0-45D6-90F6-139008386935}" type="presParOf" srcId="{0E4DA240-A96D-4715-B0E2-64D7E80E6A36}" destId="{9A559F53-78CD-4C94-AEFC-3E2E9AC66C9F}" srcOrd="0" destOrd="0" presId="urn:microsoft.com/office/officeart/2008/layout/LinedList"/>
    <dgm:cxn modelId="{FA9EA6E0-1D8B-4CF1-9B42-6674674822D8}" type="presParOf" srcId="{0E4DA240-A96D-4715-B0E2-64D7E80E6A36}" destId="{A27CDADF-F331-4AAF-9BAD-E7FA3DD415B0}" srcOrd="1" destOrd="0" presId="urn:microsoft.com/office/officeart/2008/layout/LinedList"/>
    <dgm:cxn modelId="{C66F1D0E-46C4-4F61-A8A4-13FFADDE9329}" type="presParOf" srcId="{F8C2D0DE-2A74-4069-A465-1565147DC633}" destId="{FF06A71E-14FA-47EC-8FB2-4D2FDD190E88}" srcOrd="2" destOrd="0" presId="urn:microsoft.com/office/officeart/2008/layout/LinedList"/>
    <dgm:cxn modelId="{1CD73B70-3498-402A-BDCD-2AA96E8BBCFA}" type="presParOf" srcId="{F8C2D0DE-2A74-4069-A465-1565147DC633}" destId="{0A4FEB92-E3B7-4224-9600-384E0FE1BB81}" srcOrd="3" destOrd="0" presId="urn:microsoft.com/office/officeart/2008/layout/LinedList"/>
    <dgm:cxn modelId="{EA2245E3-D31D-433B-B06E-7313E823F673}" type="presParOf" srcId="{0A4FEB92-E3B7-4224-9600-384E0FE1BB81}" destId="{F94A0456-5643-4D9D-8AD4-1415FD37B238}" srcOrd="0" destOrd="0" presId="urn:microsoft.com/office/officeart/2008/layout/LinedList"/>
    <dgm:cxn modelId="{BD9ADA9E-DA93-418B-9244-2A681EDF528C}" type="presParOf" srcId="{0A4FEB92-E3B7-4224-9600-384E0FE1BB81}" destId="{30C9D6B3-3091-4801-9BFD-31F169ED89F0}" srcOrd="1" destOrd="0" presId="urn:microsoft.com/office/officeart/2008/layout/LinedList"/>
    <dgm:cxn modelId="{C6CE46EA-9675-4AD3-A635-E3F270D0E269}" type="presParOf" srcId="{F8C2D0DE-2A74-4069-A465-1565147DC633}" destId="{56275ED5-7C28-4C1F-869C-8E9DDDE9C9D1}" srcOrd="4" destOrd="0" presId="urn:microsoft.com/office/officeart/2008/layout/LinedList"/>
    <dgm:cxn modelId="{4ED4E61E-1FCE-4F2E-93D7-5063E3E5CDAC}" type="presParOf" srcId="{F8C2D0DE-2A74-4069-A465-1565147DC633}" destId="{55450FAA-AFB4-4DD7-9EDE-EC399375A4C1}" srcOrd="5" destOrd="0" presId="urn:microsoft.com/office/officeart/2008/layout/LinedList"/>
    <dgm:cxn modelId="{FF025D37-4821-4ADB-A478-65EAC41BC7B9}" type="presParOf" srcId="{55450FAA-AFB4-4DD7-9EDE-EC399375A4C1}" destId="{8AE9A74B-8193-42E5-9DD3-04AF11B31DFA}" srcOrd="0" destOrd="0" presId="urn:microsoft.com/office/officeart/2008/layout/LinedList"/>
    <dgm:cxn modelId="{B790AB39-8E6E-4E19-B6DE-24B562818211}" type="presParOf" srcId="{55450FAA-AFB4-4DD7-9EDE-EC399375A4C1}" destId="{E30AC232-655E-4C4C-B631-CB353F224D96}" srcOrd="1" destOrd="0" presId="urn:microsoft.com/office/officeart/2008/layout/LinedList"/>
    <dgm:cxn modelId="{C50538CA-C34E-4728-A03F-DEC9D6267F37}" type="presParOf" srcId="{F8C2D0DE-2A74-4069-A465-1565147DC633}" destId="{2FCACA5A-A395-4758-8AC1-B69EA2406415}" srcOrd="6" destOrd="0" presId="urn:microsoft.com/office/officeart/2008/layout/LinedList"/>
    <dgm:cxn modelId="{9E3592A5-8BB0-4A04-9E93-529B288BD87B}" type="presParOf" srcId="{F8C2D0DE-2A74-4069-A465-1565147DC633}" destId="{36741B5A-49A5-4D5F-AD3A-416F9BFD14C0}" srcOrd="7" destOrd="0" presId="urn:microsoft.com/office/officeart/2008/layout/LinedList"/>
    <dgm:cxn modelId="{95EC2185-A716-404B-ADA1-8728A9FAC4FD}" type="presParOf" srcId="{36741B5A-49A5-4D5F-AD3A-416F9BFD14C0}" destId="{F26237FF-AC1D-446F-8B49-8F44033CB533}" srcOrd="0" destOrd="0" presId="urn:microsoft.com/office/officeart/2008/layout/LinedList"/>
    <dgm:cxn modelId="{8172AC0D-6CFC-448C-902A-60E334B5F8D7}" type="presParOf" srcId="{36741B5A-49A5-4D5F-AD3A-416F9BFD14C0}" destId="{63FE0226-369B-4EF5-8691-B46C6349085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67B0CB9-9B51-4FFD-BBD2-C52EA36F729C}"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4FD6B9C7-27A2-400A-982A-4558E4E1C0A1}">
      <dgm:prSet/>
      <dgm:spPr/>
      <dgm:t>
        <a:bodyPr/>
        <a:lstStyle/>
        <a:p>
          <a:r>
            <a:rPr lang="en-GB" baseline="0"/>
            <a:t>Microsoft Power BI Support</a:t>
          </a:r>
          <a:endParaRPr lang="en-GB"/>
        </a:p>
      </dgm:t>
    </dgm:pt>
    <dgm:pt modelId="{721E416F-93B5-46A9-87D6-440EB82ADBB2}" type="parTrans" cxnId="{8673FBA0-7D2D-4884-BCFD-A0DD4EDAD814}">
      <dgm:prSet/>
      <dgm:spPr/>
      <dgm:t>
        <a:bodyPr/>
        <a:lstStyle/>
        <a:p>
          <a:endParaRPr lang="en-GB"/>
        </a:p>
      </dgm:t>
    </dgm:pt>
    <dgm:pt modelId="{1C864896-F4B6-49E8-ACD9-7001ABEC37F3}" type="sibTrans" cxnId="{8673FBA0-7D2D-4884-BCFD-A0DD4EDAD814}">
      <dgm:prSet/>
      <dgm:spPr/>
      <dgm:t>
        <a:bodyPr/>
        <a:lstStyle/>
        <a:p>
          <a:endParaRPr lang="en-GB"/>
        </a:p>
      </dgm:t>
    </dgm:pt>
    <dgm:pt modelId="{50BD066E-B168-4A9F-B738-94C4921AF636}">
      <dgm:prSet/>
      <dgm:spPr/>
      <dgm:t>
        <a:bodyPr/>
        <a:lstStyle/>
        <a:p>
          <a:r>
            <a:rPr lang="en-GB"/>
            <a:t>Microsoft Premier Support</a:t>
          </a:r>
        </a:p>
      </dgm:t>
    </dgm:pt>
    <dgm:pt modelId="{FFB401D7-D81C-44C7-8B0C-1AF5DE018617}" type="parTrans" cxnId="{3C18ACC0-FABE-4370-A0DB-2E8043D0E751}">
      <dgm:prSet/>
      <dgm:spPr/>
      <dgm:t>
        <a:bodyPr/>
        <a:lstStyle/>
        <a:p>
          <a:endParaRPr lang="en-GB"/>
        </a:p>
      </dgm:t>
    </dgm:pt>
    <dgm:pt modelId="{E3B491BA-3E8B-49C9-A862-5D5456A696F3}" type="sibTrans" cxnId="{3C18ACC0-FABE-4370-A0DB-2E8043D0E751}">
      <dgm:prSet/>
      <dgm:spPr/>
      <dgm:t>
        <a:bodyPr/>
        <a:lstStyle/>
        <a:p>
          <a:endParaRPr lang="en-GB"/>
        </a:p>
      </dgm:t>
    </dgm:pt>
    <dgm:pt modelId="{772FA0C7-01C8-4398-A247-6050E71A33D5}">
      <dgm:prSet/>
      <dgm:spPr/>
      <dgm:t>
        <a:bodyPr/>
        <a:lstStyle/>
        <a:p>
          <a:r>
            <a:rPr lang="en-GB"/>
            <a:t>Internal Infrastructure Support</a:t>
          </a:r>
        </a:p>
      </dgm:t>
    </dgm:pt>
    <dgm:pt modelId="{117745DA-A0FC-4399-84FB-C5F95B3B7795}" type="parTrans" cxnId="{18ABFDA2-7BF7-422A-B785-AB774C2B70B0}">
      <dgm:prSet/>
      <dgm:spPr/>
      <dgm:t>
        <a:bodyPr/>
        <a:lstStyle/>
        <a:p>
          <a:endParaRPr lang="en-GB"/>
        </a:p>
      </dgm:t>
    </dgm:pt>
    <dgm:pt modelId="{A3E61259-3EE9-4016-BE32-6546C8503C44}" type="sibTrans" cxnId="{18ABFDA2-7BF7-422A-B785-AB774C2B70B0}">
      <dgm:prSet/>
      <dgm:spPr/>
      <dgm:t>
        <a:bodyPr/>
        <a:lstStyle/>
        <a:p>
          <a:endParaRPr lang="en-GB"/>
        </a:p>
      </dgm:t>
    </dgm:pt>
    <dgm:pt modelId="{D5AEFA17-6CC4-4B37-803F-F667F19479FC}">
      <dgm:prSet/>
      <dgm:spPr/>
      <dgm:t>
        <a:bodyPr/>
        <a:lstStyle/>
        <a:p>
          <a:r>
            <a:rPr lang="en-GB" baseline="0"/>
            <a:t>Internal </a:t>
          </a:r>
          <a:r>
            <a:rPr lang="en-GB"/>
            <a:t>BI </a:t>
          </a:r>
          <a:r>
            <a:rPr lang="en-GB" baseline="0"/>
            <a:t>Support team</a:t>
          </a:r>
          <a:endParaRPr lang="en-GB"/>
        </a:p>
      </dgm:t>
    </dgm:pt>
    <dgm:pt modelId="{710AE283-F34F-4E7E-9BE0-6921F686400B}" type="parTrans" cxnId="{D178A3BB-C7A3-46BB-97CB-085E9381A335}">
      <dgm:prSet/>
      <dgm:spPr/>
      <dgm:t>
        <a:bodyPr/>
        <a:lstStyle/>
        <a:p>
          <a:endParaRPr lang="en-GB"/>
        </a:p>
      </dgm:t>
    </dgm:pt>
    <dgm:pt modelId="{CD0E0438-10B6-41E7-926F-70C4E940215A}" type="sibTrans" cxnId="{D178A3BB-C7A3-46BB-97CB-085E9381A335}">
      <dgm:prSet/>
      <dgm:spPr/>
      <dgm:t>
        <a:bodyPr/>
        <a:lstStyle/>
        <a:p>
          <a:endParaRPr lang="en-GB"/>
        </a:p>
      </dgm:t>
    </dgm:pt>
    <dgm:pt modelId="{1C04879E-AB40-4A7E-9DB2-E6E4342EDAAB}">
      <dgm:prSet/>
      <dgm:spPr/>
      <dgm:t>
        <a:bodyPr/>
        <a:lstStyle/>
        <a:p>
          <a:r>
            <a:rPr lang="en-GB" baseline="0"/>
            <a:t>Partners</a:t>
          </a:r>
          <a:endParaRPr lang="en-GB"/>
        </a:p>
      </dgm:t>
    </dgm:pt>
    <dgm:pt modelId="{DC740E1F-ABB4-49A4-8D06-B1723CA2FDC4}" type="parTrans" cxnId="{DBFC5135-BEE7-4A76-BD28-602244588BAC}">
      <dgm:prSet/>
      <dgm:spPr/>
      <dgm:t>
        <a:bodyPr/>
        <a:lstStyle/>
        <a:p>
          <a:endParaRPr lang="en-GB"/>
        </a:p>
      </dgm:t>
    </dgm:pt>
    <dgm:pt modelId="{D1EC0F7F-3535-436A-B1FD-1B80143D65D6}" type="sibTrans" cxnId="{DBFC5135-BEE7-4A76-BD28-602244588BAC}">
      <dgm:prSet/>
      <dgm:spPr/>
      <dgm:t>
        <a:bodyPr/>
        <a:lstStyle/>
        <a:p>
          <a:endParaRPr lang="en-GB"/>
        </a:p>
      </dgm:t>
    </dgm:pt>
    <dgm:pt modelId="{40A43185-2661-4208-994C-8FEE49C1CBB5}" type="pres">
      <dgm:prSet presAssocID="{467B0CB9-9B51-4FFD-BBD2-C52EA36F729C}" presName="vert0" presStyleCnt="0">
        <dgm:presLayoutVars>
          <dgm:dir/>
          <dgm:animOne val="branch"/>
          <dgm:animLvl val="lvl"/>
        </dgm:presLayoutVars>
      </dgm:prSet>
      <dgm:spPr/>
    </dgm:pt>
    <dgm:pt modelId="{D98D9C7C-456B-46DE-AAAF-558FD4A7C430}" type="pres">
      <dgm:prSet presAssocID="{4FD6B9C7-27A2-400A-982A-4558E4E1C0A1}" presName="thickLine" presStyleLbl="alignNode1" presStyleIdx="0" presStyleCnt="5"/>
      <dgm:spPr/>
    </dgm:pt>
    <dgm:pt modelId="{F82E0BB0-F4DA-4284-A22D-944CE45C2DE7}" type="pres">
      <dgm:prSet presAssocID="{4FD6B9C7-27A2-400A-982A-4558E4E1C0A1}" presName="horz1" presStyleCnt="0"/>
      <dgm:spPr/>
    </dgm:pt>
    <dgm:pt modelId="{AE326432-8F77-4ECD-86FF-5315045F74A5}" type="pres">
      <dgm:prSet presAssocID="{4FD6B9C7-27A2-400A-982A-4558E4E1C0A1}" presName="tx1" presStyleLbl="revTx" presStyleIdx="0" presStyleCnt="5"/>
      <dgm:spPr/>
    </dgm:pt>
    <dgm:pt modelId="{F0DAE363-7730-400F-9741-1E754ADAF329}" type="pres">
      <dgm:prSet presAssocID="{4FD6B9C7-27A2-400A-982A-4558E4E1C0A1}" presName="vert1" presStyleCnt="0"/>
      <dgm:spPr/>
    </dgm:pt>
    <dgm:pt modelId="{97B55514-930C-4C83-B209-4863489C152A}" type="pres">
      <dgm:prSet presAssocID="{50BD066E-B168-4A9F-B738-94C4921AF636}" presName="thickLine" presStyleLbl="alignNode1" presStyleIdx="1" presStyleCnt="5"/>
      <dgm:spPr/>
    </dgm:pt>
    <dgm:pt modelId="{29B25FF6-4787-4AF1-AA28-CBA0A1CDB9C3}" type="pres">
      <dgm:prSet presAssocID="{50BD066E-B168-4A9F-B738-94C4921AF636}" presName="horz1" presStyleCnt="0"/>
      <dgm:spPr/>
    </dgm:pt>
    <dgm:pt modelId="{96158A5B-F572-4511-A44B-839CE2C37E9F}" type="pres">
      <dgm:prSet presAssocID="{50BD066E-B168-4A9F-B738-94C4921AF636}" presName="tx1" presStyleLbl="revTx" presStyleIdx="1" presStyleCnt="5"/>
      <dgm:spPr/>
    </dgm:pt>
    <dgm:pt modelId="{74C70503-9375-4A10-B4E8-60B253166EFE}" type="pres">
      <dgm:prSet presAssocID="{50BD066E-B168-4A9F-B738-94C4921AF636}" presName="vert1" presStyleCnt="0"/>
      <dgm:spPr/>
    </dgm:pt>
    <dgm:pt modelId="{BF4C87AC-510F-4C92-9752-6070B67765A0}" type="pres">
      <dgm:prSet presAssocID="{772FA0C7-01C8-4398-A247-6050E71A33D5}" presName="thickLine" presStyleLbl="alignNode1" presStyleIdx="2" presStyleCnt="5"/>
      <dgm:spPr/>
    </dgm:pt>
    <dgm:pt modelId="{954682BB-54FC-4CD8-A244-7BE7FE163665}" type="pres">
      <dgm:prSet presAssocID="{772FA0C7-01C8-4398-A247-6050E71A33D5}" presName="horz1" presStyleCnt="0"/>
      <dgm:spPr/>
    </dgm:pt>
    <dgm:pt modelId="{994EDD0F-AB4B-4FEF-BD77-351D6288B8AC}" type="pres">
      <dgm:prSet presAssocID="{772FA0C7-01C8-4398-A247-6050E71A33D5}" presName="tx1" presStyleLbl="revTx" presStyleIdx="2" presStyleCnt="5"/>
      <dgm:spPr/>
    </dgm:pt>
    <dgm:pt modelId="{F63B7CC8-C4B2-47D2-835D-5B54EE814DEA}" type="pres">
      <dgm:prSet presAssocID="{772FA0C7-01C8-4398-A247-6050E71A33D5}" presName="vert1" presStyleCnt="0"/>
      <dgm:spPr/>
    </dgm:pt>
    <dgm:pt modelId="{E20E6410-8B6A-4935-91C4-AFE704E44549}" type="pres">
      <dgm:prSet presAssocID="{D5AEFA17-6CC4-4B37-803F-F667F19479FC}" presName="thickLine" presStyleLbl="alignNode1" presStyleIdx="3" presStyleCnt="5"/>
      <dgm:spPr/>
    </dgm:pt>
    <dgm:pt modelId="{9BADB7C7-1762-49B4-A05F-F986B0343B88}" type="pres">
      <dgm:prSet presAssocID="{D5AEFA17-6CC4-4B37-803F-F667F19479FC}" presName="horz1" presStyleCnt="0"/>
      <dgm:spPr/>
    </dgm:pt>
    <dgm:pt modelId="{447CAD45-7BB4-4A31-9EE3-D038B809AE2C}" type="pres">
      <dgm:prSet presAssocID="{D5AEFA17-6CC4-4B37-803F-F667F19479FC}" presName="tx1" presStyleLbl="revTx" presStyleIdx="3" presStyleCnt="5"/>
      <dgm:spPr/>
    </dgm:pt>
    <dgm:pt modelId="{27FC9D4E-CBBC-4652-8812-5B94C029FC78}" type="pres">
      <dgm:prSet presAssocID="{D5AEFA17-6CC4-4B37-803F-F667F19479FC}" presName="vert1" presStyleCnt="0"/>
      <dgm:spPr/>
    </dgm:pt>
    <dgm:pt modelId="{5051F06A-A961-4182-A72D-9B6A9B561034}" type="pres">
      <dgm:prSet presAssocID="{1C04879E-AB40-4A7E-9DB2-E6E4342EDAAB}" presName="thickLine" presStyleLbl="alignNode1" presStyleIdx="4" presStyleCnt="5"/>
      <dgm:spPr/>
    </dgm:pt>
    <dgm:pt modelId="{D84B7B76-0875-4FC8-A6D3-A9186F7F3010}" type="pres">
      <dgm:prSet presAssocID="{1C04879E-AB40-4A7E-9DB2-E6E4342EDAAB}" presName="horz1" presStyleCnt="0"/>
      <dgm:spPr/>
    </dgm:pt>
    <dgm:pt modelId="{03D2AAE9-9095-41FF-8026-EE8630118A30}" type="pres">
      <dgm:prSet presAssocID="{1C04879E-AB40-4A7E-9DB2-E6E4342EDAAB}" presName="tx1" presStyleLbl="revTx" presStyleIdx="4" presStyleCnt="5"/>
      <dgm:spPr/>
    </dgm:pt>
    <dgm:pt modelId="{8F7F1154-A672-4F66-A9C7-148B426F90B5}" type="pres">
      <dgm:prSet presAssocID="{1C04879E-AB40-4A7E-9DB2-E6E4342EDAAB}" presName="vert1" presStyleCnt="0"/>
      <dgm:spPr/>
    </dgm:pt>
  </dgm:ptLst>
  <dgm:cxnLst>
    <dgm:cxn modelId="{CE75BD1A-B513-4B4F-A073-D0E4B99FA02D}" type="presOf" srcId="{D5AEFA17-6CC4-4B37-803F-F667F19479FC}" destId="{447CAD45-7BB4-4A31-9EE3-D038B809AE2C}" srcOrd="0" destOrd="0" presId="urn:microsoft.com/office/officeart/2008/layout/LinedList"/>
    <dgm:cxn modelId="{DBFC5135-BEE7-4A76-BD28-602244588BAC}" srcId="{467B0CB9-9B51-4FFD-BBD2-C52EA36F729C}" destId="{1C04879E-AB40-4A7E-9DB2-E6E4342EDAAB}" srcOrd="4" destOrd="0" parTransId="{DC740E1F-ABB4-49A4-8D06-B1723CA2FDC4}" sibTransId="{D1EC0F7F-3535-436A-B1FD-1B80143D65D6}"/>
    <dgm:cxn modelId="{BFDA5F3B-2BFE-4A6B-BA23-5509BD7EBB60}" type="presOf" srcId="{4FD6B9C7-27A2-400A-982A-4558E4E1C0A1}" destId="{AE326432-8F77-4ECD-86FF-5315045F74A5}" srcOrd="0" destOrd="0" presId="urn:microsoft.com/office/officeart/2008/layout/LinedList"/>
    <dgm:cxn modelId="{D7729F56-3B7B-4C8A-8B83-6863A88C8DB3}" type="presOf" srcId="{772FA0C7-01C8-4398-A247-6050E71A33D5}" destId="{994EDD0F-AB4B-4FEF-BD77-351D6288B8AC}" srcOrd="0" destOrd="0" presId="urn:microsoft.com/office/officeart/2008/layout/LinedList"/>
    <dgm:cxn modelId="{123B2F82-3F12-489A-9D41-7363E603D8A9}" type="presOf" srcId="{1C04879E-AB40-4A7E-9DB2-E6E4342EDAAB}" destId="{03D2AAE9-9095-41FF-8026-EE8630118A30}" srcOrd="0" destOrd="0" presId="urn:microsoft.com/office/officeart/2008/layout/LinedList"/>
    <dgm:cxn modelId="{8673FBA0-7D2D-4884-BCFD-A0DD4EDAD814}" srcId="{467B0CB9-9B51-4FFD-BBD2-C52EA36F729C}" destId="{4FD6B9C7-27A2-400A-982A-4558E4E1C0A1}" srcOrd="0" destOrd="0" parTransId="{721E416F-93B5-46A9-87D6-440EB82ADBB2}" sibTransId="{1C864896-F4B6-49E8-ACD9-7001ABEC37F3}"/>
    <dgm:cxn modelId="{18ABFDA2-7BF7-422A-B785-AB774C2B70B0}" srcId="{467B0CB9-9B51-4FFD-BBD2-C52EA36F729C}" destId="{772FA0C7-01C8-4398-A247-6050E71A33D5}" srcOrd="2" destOrd="0" parTransId="{117745DA-A0FC-4399-84FB-C5F95B3B7795}" sibTransId="{A3E61259-3EE9-4016-BE32-6546C8503C44}"/>
    <dgm:cxn modelId="{DEC82EBB-D9C7-4788-8259-41E44CE6756D}" type="presOf" srcId="{467B0CB9-9B51-4FFD-BBD2-C52EA36F729C}" destId="{40A43185-2661-4208-994C-8FEE49C1CBB5}" srcOrd="0" destOrd="0" presId="urn:microsoft.com/office/officeart/2008/layout/LinedList"/>
    <dgm:cxn modelId="{D178A3BB-C7A3-46BB-97CB-085E9381A335}" srcId="{467B0CB9-9B51-4FFD-BBD2-C52EA36F729C}" destId="{D5AEFA17-6CC4-4B37-803F-F667F19479FC}" srcOrd="3" destOrd="0" parTransId="{710AE283-F34F-4E7E-9BE0-6921F686400B}" sibTransId="{CD0E0438-10B6-41E7-926F-70C4E940215A}"/>
    <dgm:cxn modelId="{3C18ACC0-FABE-4370-A0DB-2E8043D0E751}" srcId="{467B0CB9-9B51-4FFD-BBD2-C52EA36F729C}" destId="{50BD066E-B168-4A9F-B738-94C4921AF636}" srcOrd="1" destOrd="0" parTransId="{FFB401D7-D81C-44C7-8B0C-1AF5DE018617}" sibTransId="{E3B491BA-3E8B-49C9-A862-5D5456A696F3}"/>
    <dgm:cxn modelId="{582757C1-2BA2-4C28-BBC9-21DDEF156E93}" type="presOf" srcId="{50BD066E-B168-4A9F-B738-94C4921AF636}" destId="{96158A5B-F572-4511-A44B-839CE2C37E9F}" srcOrd="0" destOrd="0" presId="urn:microsoft.com/office/officeart/2008/layout/LinedList"/>
    <dgm:cxn modelId="{3B59B766-6082-4972-B6EE-543FAAFAF7FE}" type="presParOf" srcId="{40A43185-2661-4208-994C-8FEE49C1CBB5}" destId="{D98D9C7C-456B-46DE-AAAF-558FD4A7C430}" srcOrd="0" destOrd="0" presId="urn:microsoft.com/office/officeart/2008/layout/LinedList"/>
    <dgm:cxn modelId="{B97EC3B2-275C-4B2C-B1B7-D271DA684F41}" type="presParOf" srcId="{40A43185-2661-4208-994C-8FEE49C1CBB5}" destId="{F82E0BB0-F4DA-4284-A22D-944CE45C2DE7}" srcOrd="1" destOrd="0" presId="urn:microsoft.com/office/officeart/2008/layout/LinedList"/>
    <dgm:cxn modelId="{767457F9-9103-459A-8D26-A2A3167F77FB}" type="presParOf" srcId="{F82E0BB0-F4DA-4284-A22D-944CE45C2DE7}" destId="{AE326432-8F77-4ECD-86FF-5315045F74A5}" srcOrd="0" destOrd="0" presId="urn:microsoft.com/office/officeart/2008/layout/LinedList"/>
    <dgm:cxn modelId="{A1EB4C03-9130-4E23-82F9-1237CF881221}" type="presParOf" srcId="{F82E0BB0-F4DA-4284-A22D-944CE45C2DE7}" destId="{F0DAE363-7730-400F-9741-1E754ADAF329}" srcOrd="1" destOrd="0" presId="urn:microsoft.com/office/officeart/2008/layout/LinedList"/>
    <dgm:cxn modelId="{86074D7B-C1E7-4347-BEC7-E9AED36F4D5E}" type="presParOf" srcId="{40A43185-2661-4208-994C-8FEE49C1CBB5}" destId="{97B55514-930C-4C83-B209-4863489C152A}" srcOrd="2" destOrd="0" presId="urn:microsoft.com/office/officeart/2008/layout/LinedList"/>
    <dgm:cxn modelId="{241FEEA2-E74C-43F6-9F9A-4C3C788131D7}" type="presParOf" srcId="{40A43185-2661-4208-994C-8FEE49C1CBB5}" destId="{29B25FF6-4787-4AF1-AA28-CBA0A1CDB9C3}" srcOrd="3" destOrd="0" presId="urn:microsoft.com/office/officeart/2008/layout/LinedList"/>
    <dgm:cxn modelId="{F7034C3C-9D7C-4589-BB46-7B80EF61A1B3}" type="presParOf" srcId="{29B25FF6-4787-4AF1-AA28-CBA0A1CDB9C3}" destId="{96158A5B-F572-4511-A44B-839CE2C37E9F}" srcOrd="0" destOrd="0" presId="urn:microsoft.com/office/officeart/2008/layout/LinedList"/>
    <dgm:cxn modelId="{C1D3B161-DC8E-470C-87D5-F4220BC32FD6}" type="presParOf" srcId="{29B25FF6-4787-4AF1-AA28-CBA0A1CDB9C3}" destId="{74C70503-9375-4A10-B4E8-60B253166EFE}" srcOrd="1" destOrd="0" presId="urn:microsoft.com/office/officeart/2008/layout/LinedList"/>
    <dgm:cxn modelId="{695D919B-0A9A-446D-83DF-529AFA1004CA}" type="presParOf" srcId="{40A43185-2661-4208-994C-8FEE49C1CBB5}" destId="{BF4C87AC-510F-4C92-9752-6070B67765A0}" srcOrd="4" destOrd="0" presId="urn:microsoft.com/office/officeart/2008/layout/LinedList"/>
    <dgm:cxn modelId="{5A183F02-9255-4840-860A-309BD5FB12EF}" type="presParOf" srcId="{40A43185-2661-4208-994C-8FEE49C1CBB5}" destId="{954682BB-54FC-4CD8-A244-7BE7FE163665}" srcOrd="5" destOrd="0" presId="urn:microsoft.com/office/officeart/2008/layout/LinedList"/>
    <dgm:cxn modelId="{FB8D2D70-D2D7-4213-AE94-6A1433F9FF64}" type="presParOf" srcId="{954682BB-54FC-4CD8-A244-7BE7FE163665}" destId="{994EDD0F-AB4B-4FEF-BD77-351D6288B8AC}" srcOrd="0" destOrd="0" presId="urn:microsoft.com/office/officeart/2008/layout/LinedList"/>
    <dgm:cxn modelId="{48BEEC56-0AF2-4CB9-AED4-2A49D18E21F5}" type="presParOf" srcId="{954682BB-54FC-4CD8-A244-7BE7FE163665}" destId="{F63B7CC8-C4B2-47D2-835D-5B54EE814DEA}" srcOrd="1" destOrd="0" presId="urn:microsoft.com/office/officeart/2008/layout/LinedList"/>
    <dgm:cxn modelId="{E1BC2728-1C85-409A-A718-895CE2B63A20}" type="presParOf" srcId="{40A43185-2661-4208-994C-8FEE49C1CBB5}" destId="{E20E6410-8B6A-4935-91C4-AFE704E44549}" srcOrd="6" destOrd="0" presId="urn:microsoft.com/office/officeart/2008/layout/LinedList"/>
    <dgm:cxn modelId="{8F4961C1-FD3C-4B4E-AB22-BE8224495479}" type="presParOf" srcId="{40A43185-2661-4208-994C-8FEE49C1CBB5}" destId="{9BADB7C7-1762-49B4-A05F-F986B0343B88}" srcOrd="7" destOrd="0" presId="urn:microsoft.com/office/officeart/2008/layout/LinedList"/>
    <dgm:cxn modelId="{E97EDBEC-98D7-4A15-8079-70AAAE146B5F}" type="presParOf" srcId="{9BADB7C7-1762-49B4-A05F-F986B0343B88}" destId="{447CAD45-7BB4-4A31-9EE3-D038B809AE2C}" srcOrd="0" destOrd="0" presId="urn:microsoft.com/office/officeart/2008/layout/LinedList"/>
    <dgm:cxn modelId="{57CCB5F8-CB62-4232-8F6C-561AF21C1314}" type="presParOf" srcId="{9BADB7C7-1762-49B4-A05F-F986B0343B88}" destId="{27FC9D4E-CBBC-4652-8812-5B94C029FC78}" srcOrd="1" destOrd="0" presId="urn:microsoft.com/office/officeart/2008/layout/LinedList"/>
    <dgm:cxn modelId="{4474FF43-53F5-4D28-A77C-B634DEAD1E04}" type="presParOf" srcId="{40A43185-2661-4208-994C-8FEE49C1CBB5}" destId="{5051F06A-A961-4182-A72D-9B6A9B561034}" srcOrd="8" destOrd="0" presId="urn:microsoft.com/office/officeart/2008/layout/LinedList"/>
    <dgm:cxn modelId="{13A77FD8-3A28-4B0A-9422-366FDB91FDCC}" type="presParOf" srcId="{40A43185-2661-4208-994C-8FEE49C1CBB5}" destId="{D84B7B76-0875-4FC8-A6D3-A9186F7F3010}" srcOrd="9" destOrd="0" presId="urn:microsoft.com/office/officeart/2008/layout/LinedList"/>
    <dgm:cxn modelId="{7791DEED-DA32-4993-8E33-E93C5552AC28}" type="presParOf" srcId="{D84B7B76-0875-4FC8-A6D3-A9186F7F3010}" destId="{03D2AAE9-9095-41FF-8026-EE8630118A30}" srcOrd="0" destOrd="0" presId="urn:microsoft.com/office/officeart/2008/layout/LinedList"/>
    <dgm:cxn modelId="{DC34CC34-FC19-4FBE-A151-862DE1A2004E}" type="presParOf" srcId="{D84B7B76-0875-4FC8-A6D3-A9186F7F3010}" destId="{8F7F1154-A672-4F66-A9C7-148B426F90B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pPr>
            <a:buFont typeface="+mj-lt"/>
            <a:buAutoNum type="arabicPeriod"/>
          </a:pPr>
          <a:r>
            <a:rPr lang="en-US" sz="1600">
              <a:solidFill>
                <a:schemeClr val="tx2"/>
              </a:solidFill>
            </a:rPr>
            <a:t>Supports connections to </a:t>
          </a:r>
          <a:r>
            <a:rPr lang="en-US" sz="1600" b="0" i="0"/>
            <a:t>registered data sources for many users to use.</a:t>
          </a:r>
        </a:p>
        <a:p>
          <a:pPr>
            <a:buFont typeface="+mj-lt"/>
            <a:buAutoNum type="arabicPeriod"/>
          </a:pPr>
          <a:r>
            <a:rPr lang="en-US" sz="1600" b="0" i="0"/>
            <a:t>Software installations and updates are installed on a machine that's managed by the customer.</a:t>
          </a:r>
          <a:endParaRPr lang="en-US" sz="160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1800"/>
            <a:t>On-premises Data Gateway</a:t>
          </a:r>
        </a:p>
        <a:p>
          <a:r>
            <a:rPr lang="en-US" sz="1800"/>
            <a:t>(Standard Mode)</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US" sz="1800"/>
            <a:t>On-premises Data Gateway</a:t>
          </a:r>
        </a:p>
        <a:p>
          <a:r>
            <a:rPr lang="en-US" sz="1800"/>
            <a:t>(Personal Mode)</a:t>
          </a:r>
          <a:endParaRPr lang="en-GB" sz="18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pPr>
            <a:buFont typeface="Arial" panose="020B0604020202020204" pitchFamily="34" charset="0"/>
            <a:buChar char="•"/>
          </a:pPr>
          <a:r>
            <a:rPr lang="en-US" sz="1600" b="0" i="0"/>
            <a:t>Supports connectivity for many users.</a:t>
          </a:r>
        </a:p>
        <a:p>
          <a:pPr>
            <a:buFont typeface="Arial" panose="020B0604020202020204" pitchFamily="34" charset="0"/>
            <a:buChar char="•"/>
          </a:pPr>
          <a:r>
            <a:rPr lang="en-US" sz="1600" b="0" i="0"/>
            <a:t>Supports connectivity for datasets and dataflows stored in workspaces assigned to Premium capacity or Premium Per User.</a:t>
          </a:r>
          <a:endParaRPr lang="en-GB" sz="160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1800">
              <a:solidFill>
                <a:schemeClr val="bg2"/>
              </a:solidFill>
            </a:rPr>
            <a:t>Virtual Network Data Gateway</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pPr>
            <a:lnSpc>
              <a:spcPct val="100000"/>
            </a:lnSpc>
            <a:buFont typeface="Arial" panose="020B0604020202020204" pitchFamily="34" charset="0"/>
            <a:buChar char="•"/>
          </a:pPr>
          <a:r>
            <a:rPr lang="en-GB" sz="1600" baseline="0">
              <a:solidFill>
                <a:schemeClr val="tx2"/>
              </a:solidFill>
            </a:rPr>
            <a:t>Supports data refresh only.</a:t>
          </a:r>
        </a:p>
        <a:p>
          <a:pPr>
            <a:lnSpc>
              <a:spcPct val="100000"/>
            </a:lnSpc>
            <a:buFont typeface="Arial" panose="020B0604020202020204" pitchFamily="34" charset="0"/>
            <a:buChar char="•"/>
          </a:pPr>
          <a:r>
            <a:rPr lang="en-US" sz="1600" b="0" i="0"/>
            <a:t>Typically installed on the PC of the user.</a:t>
          </a:r>
        </a:p>
        <a:p>
          <a:pPr>
            <a:lnSpc>
              <a:spcPct val="100000"/>
            </a:lnSpc>
            <a:buFont typeface="Arial" panose="020B0604020202020204" pitchFamily="34" charset="0"/>
            <a:buNone/>
          </a:pPr>
          <a:r>
            <a:rPr lang="en-US" sz="1600" b="0" i="0"/>
            <a:t>Supports use by one user only. </a:t>
          </a:r>
        </a:p>
        <a:p>
          <a:pPr>
            <a:lnSpc>
              <a:spcPct val="100000"/>
            </a:lnSpc>
            <a:buFont typeface="Arial" panose="020B0604020202020204" pitchFamily="34" charset="0"/>
            <a:buChar char="•"/>
          </a:pPr>
          <a:r>
            <a:rPr lang="en-US" sz="1600" b="0" i="0"/>
            <a:t>No support for live connection or </a:t>
          </a:r>
          <a:r>
            <a:rPr lang="en-US" sz="1600" b="0" i="0" err="1"/>
            <a:t>DirectQuery</a:t>
          </a:r>
          <a:r>
            <a:rPr lang="en-US" sz="1600" b="0" i="0"/>
            <a:t> connections.</a:t>
          </a:r>
          <a:endParaRPr lang="en-GB" sz="1600" baseline="0">
            <a:solidFill>
              <a:schemeClr val="tx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custLinFactNeighborX="4989" custLinFactNeighborY="113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custLinFactNeighborX="58796" custLinFactNeighborY="1823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pPr>
            <a:buFont typeface="Arial" panose="020B0604020202020204" pitchFamily="34" charset="0"/>
            <a:buChar char="•"/>
          </a:pPr>
          <a:r>
            <a:rPr lang="en-US" sz="1600">
              <a:solidFill>
                <a:schemeClr val="tx2"/>
              </a:solidFill>
            </a:rPr>
            <a:t>Departmental data source connectivity information and privacy levels.</a:t>
          </a: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1800"/>
            <a:t>Managed by</a:t>
          </a:r>
          <a:r>
            <a:rPr lang="de-DE" sz="1800" b="0" i="0"/>
            <a:t> </a:t>
          </a:r>
          <a:r>
            <a:rPr lang="de-DE" sz="1800" b="0" i="0" err="1"/>
            <a:t>decentralized</a:t>
          </a:r>
          <a:r>
            <a:rPr lang="de-DE" sz="1800" b="0" i="0"/>
            <a:t> </a:t>
          </a:r>
          <a:r>
            <a:rPr lang="de-DE" sz="1800" b="0" i="0" err="1"/>
            <a:t>data</a:t>
          </a:r>
          <a:r>
            <a:rPr lang="de-DE" sz="1800" b="0" i="0"/>
            <a:t> </a:t>
          </a:r>
          <a:r>
            <a:rPr lang="de-DE" sz="1800" b="0" i="0" err="1"/>
            <a:t>owners</a:t>
          </a:r>
          <a:r>
            <a:rPr lang="en-US" sz="1800"/>
            <a:t> </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US" sz="1800" b="0" i="0"/>
            <a:t>Managed by centralized data owners</a:t>
          </a:r>
          <a:endParaRPr lang="en-GB" sz="180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F39C8763-3FAC-4079-B9FF-EF6D7CA1AB1D}">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connectivity information and privacy levels.</a:t>
          </a:r>
          <a:endParaRPr lang="en-GB" sz="1600" baseline="0">
            <a:solidFill>
              <a:schemeClr val="tx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8498C0BA-9380-4D94-85C6-8170BCE449F3}">
      <dgm:prSet custT="1"/>
      <dgm:spPr/>
      <dgm:t>
        <a:bodyPr/>
        <a:lstStyle/>
        <a:p>
          <a:pPr>
            <a:buFont typeface="Arial" panose="020B0604020202020204" pitchFamily="34" charset="0"/>
            <a:buChar char="•"/>
          </a:pPr>
          <a:r>
            <a:rPr lang="en-US" sz="1600">
              <a:solidFill>
                <a:schemeClr val="tx2"/>
              </a:solidFill>
            </a:rPr>
            <a:t>Departmental data source stored credentials (including responsibility for updating routine password changes).</a:t>
          </a:r>
          <a:endParaRPr lang="de-DE" sz="1600">
            <a:solidFill>
              <a:schemeClr val="tx2"/>
            </a:solidFill>
          </a:endParaRPr>
        </a:p>
      </dgm:t>
    </dgm:pt>
    <dgm:pt modelId="{B36A5F02-A9FA-45C9-A2EC-12B60B740E37}" type="parTrans" cxnId="{B13C92B4-883B-4878-A8E1-401301299871}">
      <dgm:prSet/>
      <dgm:spPr/>
      <dgm:t>
        <a:bodyPr/>
        <a:lstStyle/>
        <a:p>
          <a:endParaRPr lang="de-DE"/>
        </a:p>
      </dgm:t>
    </dgm:pt>
    <dgm:pt modelId="{10D5DA3F-E8D7-43E8-BD6F-88786514433B}" type="sibTrans" cxnId="{B13C92B4-883B-4878-A8E1-401301299871}">
      <dgm:prSet/>
      <dgm:spPr/>
      <dgm:t>
        <a:bodyPr/>
        <a:lstStyle/>
        <a:p>
          <a:endParaRPr lang="de-DE"/>
        </a:p>
      </dgm:t>
    </dgm:pt>
    <dgm:pt modelId="{1C1B0F96-F33A-4802-A16C-9B73953787F0}">
      <dgm:prSet custT="1"/>
      <dgm:spPr/>
      <dgm:t>
        <a:bodyPr/>
        <a:lstStyle/>
        <a:p>
          <a:pPr>
            <a:buFont typeface="Arial" panose="020B0604020202020204" pitchFamily="34" charset="0"/>
            <a:buChar char="•"/>
          </a:pPr>
          <a:r>
            <a:rPr lang="en-US" sz="1600">
              <a:solidFill>
                <a:schemeClr val="tx2"/>
              </a:solidFill>
            </a:rPr>
            <a:t>Departmental data source users who are permitted to use each data source.</a:t>
          </a:r>
          <a:endParaRPr lang="de-DE" sz="1600">
            <a:solidFill>
              <a:schemeClr val="tx2"/>
            </a:solidFill>
          </a:endParaRPr>
        </a:p>
      </dgm:t>
    </dgm:pt>
    <dgm:pt modelId="{C24373C4-7389-42C3-9ADD-765A6B71431E}" type="parTrans" cxnId="{1DDA4395-21A9-46C5-97C7-B41DFBBA800B}">
      <dgm:prSet/>
      <dgm:spPr/>
      <dgm:t>
        <a:bodyPr/>
        <a:lstStyle/>
        <a:p>
          <a:endParaRPr lang="de-DE"/>
        </a:p>
      </dgm:t>
    </dgm:pt>
    <dgm:pt modelId="{F1C29D78-782A-4CF4-AB8F-3958A44FF01A}" type="sibTrans" cxnId="{1DDA4395-21A9-46C5-97C7-B41DFBBA800B}">
      <dgm:prSet/>
      <dgm:spPr/>
      <dgm:t>
        <a:bodyPr/>
        <a:lstStyle/>
        <a:p>
          <a:endParaRPr lang="de-DE"/>
        </a:p>
      </dgm:t>
    </dgm:pt>
    <dgm:pt modelId="{8F06E212-7C62-4564-AD64-972CE7F84BA1}">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stored credentials (including responsibility for updating routine password changes).</a:t>
          </a:r>
          <a:endParaRPr lang="de-DE" sz="1600" baseline="0">
            <a:solidFill>
              <a:schemeClr val="tx2"/>
            </a:solidFill>
          </a:endParaRPr>
        </a:p>
      </dgm:t>
    </dgm:pt>
    <dgm:pt modelId="{9C904A0D-A164-4415-B399-F0EDE5A807CB}" type="parTrans" cxnId="{F14A5269-CE80-403D-BF66-5EA57CCA745F}">
      <dgm:prSet/>
      <dgm:spPr/>
      <dgm:t>
        <a:bodyPr/>
        <a:lstStyle/>
        <a:p>
          <a:endParaRPr lang="de-DE"/>
        </a:p>
      </dgm:t>
    </dgm:pt>
    <dgm:pt modelId="{96655124-458F-4ED3-A714-BCCEE550F83F}" type="sibTrans" cxnId="{F14A5269-CE80-403D-BF66-5EA57CCA745F}">
      <dgm:prSet/>
      <dgm:spPr/>
      <dgm:t>
        <a:bodyPr/>
        <a:lstStyle/>
        <a:p>
          <a:endParaRPr lang="de-DE"/>
        </a:p>
      </dgm:t>
    </dgm:pt>
    <dgm:pt modelId="{0A10DB4D-4BF3-4DD3-9A5B-0E3ADEBFCD50}">
      <dgm:prSet custT="1"/>
      <dgm:spPr/>
      <dgm:t>
        <a:bodyPr/>
        <a:lstStyle/>
        <a:p>
          <a:pPr>
            <a:lnSpc>
              <a:spcPct val="100000"/>
            </a:lnSpc>
            <a:buFont typeface="Arial" panose="020B0604020202020204" pitchFamily="34" charset="0"/>
            <a:buChar char="•"/>
          </a:pPr>
          <a:r>
            <a:rPr lang="en-US" sz="1600" baseline="0">
              <a:solidFill>
                <a:schemeClr val="tx2"/>
              </a:solidFill>
            </a:rPr>
            <a:t>Centralized data source users who are permitted to use each data source.</a:t>
          </a:r>
          <a:endParaRPr lang="de-DE" sz="1600" baseline="0">
            <a:solidFill>
              <a:schemeClr val="tx2"/>
            </a:solidFill>
          </a:endParaRPr>
        </a:p>
      </dgm:t>
    </dgm:pt>
    <dgm:pt modelId="{0F0E40DE-2073-4E60-9BBE-8E44F42870E0}" type="parTrans" cxnId="{22422531-07D5-4AD6-8146-A2DF0058D1E2}">
      <dgm:prSet/>
      <dgm:spPr/>
      <dgm:t>
        <a:bodyPr/>
        <a:lstStyle/>
        <a:p>
          <a:endParaRPr lang="de-DE"/>
        </a:p>
      </dgm:t>
    </dgm:pt>
    <dgm:pt modelId="{35F1A6ED-40A2-4E64-B5BC-3249720718F9}" type="sibTrans" cxnId="{22422531-07D5-4AD6-8146-A2DF0058D1E2}">
      <dgm:prSet/>
      <dgm:spPr/>
      <dgm:t>
        <a:bodyPr/>
        <a:lstStyle/>
        <a:p>
          <a:endParaRPr lang="de-DE"/>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2">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2"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2">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2" custLinFactNeighborX="4989" custLinFactNeighborY="1133">
        <dgm:presLayoutVars>
          <dgm:bulletEnabled/>
        </dgm:presLayoutVars>
      </dgm:prSet>
      <dgm:spPr/>
    </dgm:pt>
  </dgm:ptLst>
  <dgm:cxnLst>
    <dgm:cxn modelId="{FE1EAA09-BDA0-41C9-A390-1A9110514AF5}" type="presOf" srcId="{0A10DB4D-4BF3-4DD3-9A5B-0E3ADEBFCD50}" destId="{DF963225-B69D-4A74-A4C8-54F6919AC7F8}" srcOrd="0" destOrd="2" presId="urn:microsoft.com/office/officeart/2016/7/layout/VerticalSolidActionList"/>
    <dgm:cxn modelId="{702B070B-AF01-462C-A6BD-3D1BC87521D7}" type="presOf" srcId="{7055B9F0-3D64-47FE-AD97-229CC0E3B5E5}" destId="{1D316B12-8CDF-4966-8386-A25B656CCFCB}" srcOrd="0" destOrd="0" presId="urn:microsoft.com/office/officeart/2016/7/layout/VerticalSolidActionList"/>
    <dgm:cxn modelId="{74A1551F-B78B-4EE5-B4F4-610FAB14EB9F}" type="presOf" srcId="{8498C0BA-9380-4D94-85C6-8170BCE449F3}" destId="{1D316B12-8CDF-4966-8386-A25B656CCFCB}" srcOrd="0" destOrd="1"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22422531-07D5-4AD6-8146-A2DF0058D1E2}" srcId="{373ECD64-2EC0-49BF-BA9E-5321A56DF946}" destId="{0A10DB4D-4BF3-4DD3-9A5B-0E3ADEBFCD50}" srcOrd="2" destOrd="0" parTransId="{0F0E40DE-2073-4E60-9BBE-8E44F42870E0}" sibTransId="{35F1A6ED-40A2-4E64-B5BC-3249720718F9}"/>
    <dgm:cxn modelId="{4D35383D-825A-4D85-B40D-3C4C1D3B001B}" type="presOf" srcId="{25AB223E-4953-4EF2-BA3C-ECDF95A84747}" destId="{E9F836B8-166B-45D6-9F84-CEA44AD858A3}" srcOrd="0" destOrd="0" presId="urn:microsoft.com/office/officeart/2016/7/layout/VerticalSolidActionList"/>
    <dgm:cxn modelId="{ABABB63E-6710-403E-B4B2-334AC304BD63}" type="presOf" srcId="{373ECD64-2EC0-49BF-BA9E-5321A56DF946}" destId="{54AC7EA8-AD67-4C0D-A259-7A17F4D1737E}" srcOrd="0" destOrd="0" presId="urn:microsoft.com/office/officeart/2016/7/layout/VerticalSolidActionList"/>
    <dgm:cxn modelId="{F14A5269-CE80-403D-BF66-5EA57CCA745F}" srcId="{373ECD64-2EC0-49BF-BA9E-5321A56DF946}" destId="{8F06E212-7C62-4564-AD64-972CE7F84BA1}" srcOrd="1" destOrd="0" parTransId="{9C904A0D-A164-4415-B399-F0EDE5A807CB}" sibTransId="{96655124-458F-4ED3-A714-BCCEE550F83F}"/>
    <dgm:cxn modelId="{D8B3F34B-D3B0-4938-9D9A-F4944507A93D}" srcId="{25AB223E-4953-4EF2-BA3C-ECDF95A84747}" destId="{7055B9F0-3D64-47FE-AD97-229CC0E3B5E5}" srcOrd="0" destOrd="0" parTransId="{998547E6-DC05-416B-9F82-6310BDE5112B}" sibTransId="{452805A7-69D6-4CCE-8207-2A95187ED50D}"/>
    <dgm:cxn modelId="{B25C3080-06BE-4AAF-8319-6AD828390854}" srcId="{460449F7-7D3A-4340-8264-322BD3A20AB9}" destId="{25AB223E-4953-4EF2-BA3C-ECDF95A84747}" srcOrd="0" destOrd="0" parTransId="{296171BF-63AB-4CB5-A379-F0CA2FCF7867}" sibTransId="{7EE13155-3E37-4797-9EAD-C79787B72C15}"/>
    <dgm:cxn modelId="{066B4D8A-DB30-4579-99EB-C036C6D390CE}" srcId="{460449F7-7D3A-4340-8264-322BD3A20AB9}" destId="{373ECD64-2EC0-49BF-BA9E-5321A56DF946}" srcOrd="1" destOrd="0" parTransId="{84FFA4ED-AA6C-4CD9-A54E-92464A945C5B}" sibTransId="{E948C8CD-356D-475D-94BD-58FB51085574}"/>
    <dgm:cxn modelId="{1DDA4395-21A9-46C5-97C7-B41DFBBA800B}" srcId="{25AB223E-4953-4EF2-BA3C-ECDF95A84747}" destId="{1C1B0F96-F33A-4802-A16C-9B73953787F0}" srcOrd="2" destOrd="0" parTransId="{C24373C4-7389-42C3-9ADD-765A6B71431E}" sibTransId="{F1C29D78-782A-4CF4-AB8F-3958A44FF01A}"/>
    <dgm:cxn modelId="{AF65E0A9-E513-4A78-8721-5FB9DBB4CF30}" type="presOf" srcId="{8F06E212-7C62-4564-AD64-972CE7F84BA1}" destId="{DF963225-B69D-4A74-A4C8-54F6919AC7F8}" srcOrd="0" destOrd="1" presId="urn:microsoft.com/office/officeart/2016/7/layout/VerticalSolidActionList"/>
    <dgm:cxn modelId="{B13C92B4-883B-4878-A8E1-401301299871}" srcId="{25AB223E-4953-4EF2-BA3C-ECDF95A84747}" destId="{8498C0BA-9380-4D94-85C6-8170BCE449F3}" srcOrd="1" destOrd="0" parTransId="{B36A5F02-A9FA-45C9-A2EC-12B60B740E37}" sibTransId="{10D5DA3F-E8D7-43E8-BD6F-88786514433B}"/>
    <dgm:cxn modelId="{76FCF9CA-487B-43C4-BE87-D5FCE25920FD}" type="presOf" srcId="{460449F7-7D3A-4340-8264-322BD3A20AB9}" destId="{106BB47F-E344-419C-9610-A22E2E783E6F}" srcOrd="0" destOrd="0" presId="urn:microsoft.com/office/officeart/2016/7/layout/VerticalSolidActionList"/>
    <dgm:cxn modelId="{69ECEECD-7835-4EE4-A945-4973C9562FBA}" type="presOf" srcId="{1C1B0F96-F33A-4802-A16C-9B73953787F0}" destId="{1D316B12-8CDF-4966-8386-A25B656CCFCB}" srcOrd="0" destOrd="2" presId="urn:microsoft.com/office/officeart/2016/7/layout/VerticalSolidActionList"/>
    <dgm:cxn modelId="{91613AEA-CC05-4423-BCE7-BA2E260705FB}" type="presOf" srcId="{F39C8763-3FAC-4079-B9FF-EF6D7CA1AB1D}" destId="{DF963225-B69D-4A74-A4C8-54F6919AC7F8}" srcOrd="0" destOrd="0" presId="urn:microsoft.com/office/officeart/2016/7/layout/VerticalSolidActionList"/>
    <dgm:cxn modelId="{F98E5986-7631-432D-97BB-7BB3A6CFE5F9}" type="presParOf" srcId="{106BB47F-E344-419C-9610-A22E2E783E6F}" destId="{44AFF348-DE45-406E-BA6A-B5B188C14043}" srcOrd="0" destOrd="0" presId="urn:microsoft.com/office/officeart/2016/7/layout/VerticalSolidActionList"/>
    <dgm:cxn modelId="{652F7CC7-0297-4FC4-858C-5D22C36E2484}" type="presParOf" srcId="{44AFF348-DE45-406E-BA6A-B5B188C14043}" destId="{E9F836B8-166B-45D6-9F84-CEA44AD858A3}" srcOrd="0" destOrd="0" presId="urn:microsoft.com/office/officeart/2016/7/layout/VerticalSolidActionList"/>
    <dgm:cxn modelId="{402E021B-BB5E-4FCF-B1D3-3902FF6573A8}" type="presParOf" srcId="{44AFF348-DE45-406E-BA6A-B5B188C14043}" destId="{1D316B12-8CDF-4966-8386-A25B656CCFCB}" srcOrd="1" destOrd="0" presId="urn:microsoft.com/office/officeart/2016/7/layout/VerticalSolidActionList"/>
    <dgm:cxn modelId="{DE79D183-8EEE-4F40-9A0F-1E7A9F204674}" type="presParOf" srcId="{106BB47F-E344-419C-9610-A22E2E783E6F}" destId="{8A7562F0-2417-4F92-9EE3-D0DC46131D5B}" srcOrd="1" destOrd="0" presId="urn:microsoft.com/office/officeart/2016/7/layout/VerticalSolidActionList"/>
    <dgm:cxn modelId="{6BCF5A15-60CE-402E-B183-597F62989D77}" type="presParOf" srcId="{106BB47F-E344-419C-9610-A22E2E783E6F}" destId="{6A7B7D85-B1FD-4859-89E6-ABB1CE154625}" srcOrd="2" destOrd="0" presId="urn:microsoft.com/office/officeart/2016/7/layout/VerticalSolidActionList"/>
    <dgm:cxn modelId="{5D3DBA27-D1F1-4FA3-9B31-4C0D66196F22}" type="presParOf" srcId="{6A7B7D85-B1FD-4859-89E6-ABB1CE154625}" destId="{54AC7EA8-AD67-4C0D-A259-7A17F4D1737E}" srcOrd="0" destOrd="0" presId="urn:microsoft.com/office/officeart/2016/7/layout/VerticalSolidActionList"/>
    <dgm:cxn modelId="{0D8211A8-A175-4272-A69C-F6018EDE8513}" type="presParOf" srcId="{6A7B7D85-B1FD-4859-89E6-ABB1CE154625}" destId="{DF963225-B69D-4A74-A4C8-54F6919AC7F8}"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de-DE" sz="1800" b="0" i="0"/>
            <a:t>Managed by IT</a:t>
          </a:r>
          <a:endParaRPr lang="en-US" sz="18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7055B9F0-3D64-47FE-AD97-229CC0E3B5E5}">
      <dgm:prSet custT="1"/>
      <dgm:spPr/>
      <dgm:t>
        <a:bodyPr/>
        <a:lstStyle/>
        <a:p>
          <a:pPr algn="l">
            <a:buFont typeface="Arial" panose="020B0604020202020204" pitchFamily="34" charset="0"/>
            <a:buNone/>
          </a:pPr>
          <a:r>
            <a:rPr lang="en-US" sz="1600">
              <a:solidFill>
                <a:schemeClr val="tx2"/>
              </a:solidFill>
            </a:rPr>
            <a:t>Gateway software updates (gateway updates are usually released monthly).</a:t>
          </a:r>
        </a:p>
      </dgm:t>
    </dgm:pt>
    <dgm:pt modelId="{452805A7-69D6-4CCE-8207-2A95187ED50D}" type="sibTrans" cxnId="{D8B3F34B-D3B0-4938-9D9A-F4944507A93D}">
      <dgm:prSet/>
      <dgm:spPr/>
      <dgm:t>
        <a:bodyPr/>
        <a:lstStyle/>
        <a:p>
          <a:endParaRPr lang="en-US"/>
        </a:p>
      </dgm:t>
    </dgm:pt>
    <dgm:pt modelId="{998547E6-DC05-416B-9F82-6310BDE5112B}" type="parTrans" cxnId="{D8B3F34B-D3B0-4938-9D9A-F4944507A93D}">
      <dgm:prSet/>
      <dgm:spPr/>
      <dgm:t>
        <a:bodyPr/>
        <a:lstStyle/>
        <a:p>
          <a:endParaRPr lang="en-US"/>
        </a:p>
      </dgm:t>
    </dgm:pt>
    <dgm:pt modelId="{0581B752-5D70-4AAA-8CF8-26CFA6D45988}">
      <dgm:prSet custT="1"/>
      <dgm:spPr/>
      <dgm:t>
        <a:bodyPr/>
        <a:lstStyle/>
        <a:p>
          <a:pPr algn="l">
            <a:buFont typeface="Arial" panose="020B0604020202020204" pitchFamily="34" charset="0"/>
            <a:buNone/>
          </a:pPr>
          <a:r>
            <a:rPr lang="en-US" sz="1600">
              <a:solidFill>
                <a:schemeClr val="tx2"/>
              </a:solidFill>
            </a:rPr>
            <a:t>Installation of drivers and custom connectors (the same ones that are installed on user machines).</a:t>
          </a:r>
          <a:endParaRPr lang="de-DE" sz="1600">
            <a:solidFill>
              <a:schemeClr val="tx2"/>
            </a:solidFill>
          </a:endParaRPr>
        </a:p>
      </dgm:t>
    </dgm:pt>
    <dgm:pt modelId="{35C2B64C-FDE6-4D64-BE85-D4059EF61C25}" type="parTrans" cxnId="{F500EF84-8C1D-49E1-B8BD-4EC379962C2C}">
      <dgm:prSet/>
      <dgm:spPr/>
      <dgm:t>
        <a:bodyPr/>
        <a:lstStyle/>
        <a:p>
          <a:endParaRPr lang="de-DE"/>
        </a:p>
      </dgm:t>
    </dgm:pt>
    <dgm:pt modelId="{EEB6F490-F8BE-492F-B98C-0567E681DDF6}" type="sibTrans" cxnId="{F500EF84-8C1D-49E1-B8BD-4EC379962C2C}">
      <dgm:prSet/>
      <dgm:spPr/>
      <dgm:t>
        <a:bodyPr/>
        <a:lstStyle/>
        <a:p>
          <a:endParaRPr lang="de-DE"/>
        </a:p>
      </dgm:t>
    </dgm:pt>
    <dgm:pt modelId="{98663180-4D95-4784-838E-4D67E259407D}">
      <dgm:prSet custT="1"/>
      <dgm:spPr/>
      <dgm:t>
        <a:bodyPr/>
        <a:lstStyle/>
        <a:p>
          <a:pPr algn="l">
            <a:buFont typeface="Arial" panose="020B0604020202020204" pitchFamily="34" charset="0"/>
            <a:buNone/>
          </a:pPr>
          <a:r>
            <a:rPr lang="en-US" sz="1600">
              <a:solidFill>
                <a:schemeClr val="tx2"/>
              </a:solidFill>
            </a:rPr>
            <a:t>Gateway cluster management (number of machines in the gateway cluster for high availability, disaster recovery, and to eliminate a single point of failure, which can cause significant user disruptions).</a:t>
          </a:r>
          <a:endParaRPr lang="de-DE" sz="1600">
            <a:solidFill>
              <a:schemeClr val="tx2"/>
            </a:solidFill>
          </a:endParaRPr>
        </a:p>
      </dgm:t>
    </dgm:pt>
    <dgm:pt modelId="{B3ECD5AC-C185-4BD2-A426-0F61FEE7B817}" type="parTrans" cxnId="{33EA5F05-C44F-4658-99FC-B89EF98D0813}">
      <dgm:prSet/>
      <dgm:spPr/>
      <dgm:t>
        <a:bodyPr/>
        <a:lstStyle/>
        <a:p>
          <a:endParaRPr lang="de-DE"/>
        </a:p>
      </dgm:t>
    </dgm:pt>
    <dgm:pt modelId="{6173A268-BCC3-4D06-AF55-1B8A2E438708}" type="sibTrans" cxnId="{33EA5F05-C44F-4658-99FC-B89EF98D0813}">
      <dgm:prSet/>
      <dgm:spPr/>
      <dgm:t>
        <a:bodyPr/>
        <a:lstStyle/>
        <a:p>
          <a:endParaRPr lang="de-DE"/>
        </a:p>
      </dgm:t>
    </dgm:pt>
    <dgm:pt modelId="{E6C53AE8-5A17-4D7A-8BE6-3BE8F9B6FF2F}">
      <dgm:prSet custT="1"/>
      <dgm:spPr/>
      <dgm:t>
        <a:bodyPr/>
        <a:lstStyle/>
        <a:p>
          <a:pPr algn="l">
            <a:buFont typeface="Arial" panose="020B0604020202020204" pitchFamily="34" charset="0"/>
            <a:buNone/>
          </a:pPr>
          <a:r>
            <a:rPr lang="en-US" sz="1600">
              <a:solidFill>
                <a:schemeClr val="tx2"/>
              </a:solidFill>
            </a:rPr>
            <a:t>Server management (for example, operating system, RAM, CPU, or networking connectivity).</a:t>
          </a:r>
          <a:endParaRPr lang="de-DE" sz="1600">
            <a:solidFill>
              <a:schemeClr val="tx2"/>
            </a:solidFill>
          </a:endParaRPr>
        </a:p>
      </dgm:t>
    </dgm:pt>
    <dgm:pt modelId="{0E57AB07-A009-4867-94CA-D0BDA40F053D}" type="parTrans" cxnId="{85DE193B-2D56-4017-BD1F-EBA59EB5AD2E}">
      <dgm:prSet/>
      <dgm:spPr/>
      <dgm:t>
        <a:bodyPr/>
        <a:lstStyle/>
        <a:p>
          <a:endParaRPr lang="de-DE"/>
        </a:p>
      </dgm:t>
    </dgm:pt>
    <dgm:pt modelId="{9BC8D9D5-D172-4DCC-8C15-274FF6D19FE2}" type="sibTrans" cxnId="{85DE193B-2D56-4017-BD1F-EBA59EB5AD2E}">
      <dgm:prSet/>
      <dgm:spPr/>
      <dgm:t>
        <a:bodyPr/>
        <a:lstStyle/>
        <a:p>
          <a:endParaRPr lang="de-DE"/>
        </a:p>
      </dgm:t>
    </dgm:pt>
    <dgm:pt modelId="{156275E5-D3AB-482E-A997-50C86A49F9E9}">
      <dgm:prSet custT="1"/>
      <dgm:spPr/>
      <dgm:t>
        <a:bodyPr/>
        <a:lstStyle/>
        <a:p>
          <a:pPr algn="l">
            <a:buFont typeface="Arial" panose="020B0604020202020204" pitchFamily="34" charset="0"/>
            <a:buNone/>
          </a:pPr>
          <a:r>
            <a:rPr lang="en-US" sz="1600">
              <a:solidFill>
                <a:schemeClr val="tx2"/>
              </a:solidFill>
            </a:rPr>
            <a:t>Management and backup of encryption keys.</a:t>
          </a:r>
          <a:endParaRPr lang="de-DE" sz="1600">
            <a:solidFill>
              <a:schemeClr val="tx2"/>
            </a:solidFill>
          </a:endParaRPr>
        </a:p>
      </dgm:t>
    </dgm:pt>
    <dgm:pt modelId="{A07BF43E-14A4-48AC-AD87-4EA64FCBECA8}" type="parTrans" cxnId="{E70546DA-4DC6-4617-9A20-4826CCDBFBF5}">
      <dgm:prSet/>
      <dgm:spPr/>
      <dgm:t>
        <a:bodyPr/>
        <a:lstStyle/>
        <a:p>
          <a:endParaRPr lang="de-DE"/>
        </a:p>
      </dgm:t>
    </dgm:pt>
    <dgm:pt modelId="{2370476D-1444-4AB1-A99B-DD1C7897EDA9}" type="sibTrans" cxnId="{E70546DA-4DC6-4617-9A20-4826CCDBFBF5}">
      <dgm:prSet/>
      <dgm:spPr/>
      <dgm:t>
        <a:bodyPr/>
        <a:lstStyle/>
        <a:p>
          <a:endParaRPr lang="de-DE"/>
        </a:p>
      </dgm:t>
    </dgm:pt>
    <dgm:pt modelId="{56E32279-0D7C-4D31-84C0-F2833BAC7382}">
      <dgm:prSet custT="1"/>
      <dgm:spPr/>
      <dgm:t>
        <a:bodyPr/>
        <a:lstStyle/>
        <a:p>
          <a:pPr algn="l">
            <a:buFont typeface="Arial" panose="020B0604020202020204" pitchFamily="34" charset="0"/>
            <a:buNone/>
          </a:pPr>
          <a:r>
            <a:rPr lang="en-US" sz="1600">
              <a:solidFill>
                <a:schemeClr val="tx2"/>
              </a:solidFill>
            </a:rPr>
            <a:t>Monitoring of gateway logs to assess when scale-up or scale-out is necessary.</a:t>
          </a:r>
          <a:endParaRPr lang="de-DE" sz="1600">
            <a:solidFill>
              <a:schemeClr val="tx2"/>
            </a:solidFill>
          </a:endParaRPr>
        </a:p>
      </dgm:t>
    </dgm:pt>
    <dgm:pt modelId="{63B34997-0775-4D70-A60B-18ABDC401886}" type="parTrans" cxnId="{C40A5408-D244-4778-90D9-133D166A7F6D}">
      <dgm:prSet/>
      <dgm:spPr/>
      <dgm:t>
        <a:bodyPr/>
        <a:lstStyle/>
        <a:p>
          <a:endParaRPr lang="de-DE"/>
        </a:p>
      </dgm:t>
    </dgm:pt>
    <dgm:pt modelId="{F354C682-BD66-46AB-B0C0-467FECACF1E3}" type="sibTrans" cxnId="{C40A5408-D244-4778-90D9-133D166A7F6D}">
      <dgm:prSet/>
      <dgm:spPr/>
      <dgm:t>
        <a:bodyPr/>
        <a:lstStyle/>
        <a:p>
          <a:endParaRPr lang="de-DE"/>
        </a:p>
      </dgm:t>
    </dgm:pt>
    <dgm:pt modelId="{1B501143-F368-41F0-8678-FB8A62957AF0}">
      <dgm:prSet custT="1"/>
      <dgm:spPr/>
      <dgm:t>
        <a:bodyPr/>
        <a:lstStyle/>
        <a:p>
          <a:pPr algn="l">
            <a:buFont typeface="Arial" panose="020B0604020202020204" pitchFamily="34" charset="0"/>
            <a:buNone/>
          </a:pPr>
          <a:r>
            <a:rPr lang="en-US" sz="1600">
              <a:solidFill>
                <a:schemeClr val="tx2"/>
              </a:solidFill>
            </a:rPr>
            <a:t>Alerting of downtime or persistent low machine resources.</a:t>
          </a:r>
        </a:p>
      </dgm:t>
    </dgm:pt>
    <dgm:pt modelId="{92DC38F6-BACF-420B-ADAE-F1C8428B5010}" type="parTrans" cxnId="{E9F62EE5-A221-4F28-A84C-6640E302983F}">
      <dgm:prSet/>
      <dgm:spPr/>
      <dgm:t>
        <a:bodyPr/>
        <a:lstStyle/>
        <a:p>
          <a:endParaRPr lang="de-DE"/>
        </a:p>
      </dgm:t>
    </dgm:pt>
    <dgm:pt modelId="{3714A0F3-B2A6-4ED8-9991-CDC34CAF6120}" type="sibTrans" cxnId="{E9F62EE5-A221-4F28-A84C-6640E302983F}">
      <dgm:prSet/>
      <dgm:spPr/>
      <dgm:t>
        <a:bodyPr/>
        <a:lstStyle/>
        <a:p>
          <a:endParaRPr lang="de-DE"/>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1">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1" custLinFactNeighborY="5163">
        <dgm:presLayoutVars>
          <dgm:bulletEnabled/>
        </dgm:presLayoutVars>
      </dgm:prSet>
      <dgm:spPr/>
    </dgm:pt>
  </dgm:ptLst>
  <dgm:cxnLst>
    <dgm:cxn modelId="{33EA5F05-C44F-4658-99FC-B89EF98D0813}" srcId="{25AB223E-4953-4EF2-BA3C-ECDF95A84747}" destId="{98663180-4D95-4784-838E-4D67E259407D}" srcOrd="2" destOrd="0" parTransId="{B3ECD5AC-C185-4BD2-A426-0F61FEE7B817}" sibTransId="{6173A268-BCC3-4D06-AF55-1B8A2E438708}"/>
    <dgm:cxn modelId="{C40A5408-D244-4778-90D9-133D166A7F6D}" srcId="{25AB223E-4953-4EF2-BA3C-ECDF95A84747}" destId="{56E32279-0D7C-4D31-84C0-F2833BAC7382}" srcOrd="5" destOrd="0" parTransId="{63B34997-0775-4D70-A60B-18ABDC401886}" sibTransId="{F354C682-BD66-46AB-B0C0-467FECACF1E3}"/>
    <dgm:cxn modelId="{702B070B-AF01-462C-A6BD-3D1BC87521D7}" type="presOf" srcId="{7055B9F0-3D64-47FE-AD97-229CC0E3B5E5}" destId="{1D316B12-8CDF-4966-8386-A25B656CCFCB}" srcOrd="0" destOrd="0" presId="urn:microsoft.com/office/officeart/2016/7/layout/VerticalSolidActionList"/>
    <dgm:cxn modelId="{D182D413-7AF7-4765-8DD7-1CE0CBBE14F0}" type="presOf" srcId="{56E32279-0D7C-4D31-84C0-F2833BAC7382}" destId="{1D316B12-8CDF-4966-8386-A25B656CCFCB}" srcOrd="0" destOrd="5" presId="urn:microsoft.com/office/officeart/2016/7/layout/VerticalSolidActionList"/>
    <dgm:cxn modelId="{85DE193B-2D56-4017-BD1F-EBA59EB5AD2E}" srcId="{25AB223E-4953-4EF2-BA3C-ECDF95A84747}" destId="{E6C53AE8-5A17-4D7A-8BE6-3BE8F9B6FF2F}" srcOrd="3" destOrd="0" parTransId="{0E57AB07-A009-4867-94CA-D0BDA40F053D}" sibTransId="{9BC8D9D5-D172-4DCC-8C15-274FF6D19FE2}"/>
    <dgm:cxn modelId="{4D35383D-825A-4D85-B40D-3C4C1D3B001B}" type="presOf" srcId="{25AB223E-4953-4EF2-BA3C-ECDF95A84747}" destId="{E9F836B8-166B-45D6-9F84-CEA44AD858A3}"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B25C3080-06BE-4AAF-8319-6AD828390854}" srcId="{460449F7-7D3A-4340-8264-322BD3A20AB9}" destId="{25AB223E-4953-4EF2-BA3C-ECDF95A84747}" srcOrd="0" destOrd="0" parTransId="{296171BF-63AB-4CB5-A379-F0CA2FCF7867}" sibTransId="{7EE13155-3E37-4797-9EAD-C79787B72C15}"/>
    <dgm:cxn modelId="{F500EF84-8C1D-49E1-B8BD-4EC379962C2C}" srcId="{25AB223E-4953-4EF2-BA3C-ECDF95A84747}" destId="{0581B752-5D70-4AAA-8CF8-26CFA6D45988}" srcOrd="1" destOrd="0" parTransId="{35C2B64C-FDE6-4D64-BE85-D4059EF61C25}" sibTransId="{EEB6F490-F8BE-492F-B98C-0567E681DDF6}"/>
    <dgm:cxn modelId="{264AD588-3063-4379-BA60-D3F06F07F4C4}" type="presOf" srcId="{98663180-4D95-4784-838E-4D67E259407D}" destId="{1D316B12-8CDF-4966-8386-A25B656CCFCB}" srcOrd="0" destOrd="2" presId="urn:microsoft.com/office/officeart/2016/7/layout/VerticalSolidActionList"/>
    <dgm:cxn modelId="{6C2C3CA0-6BB8-4F9E-9966-BF07A314A7A4}" type="presOf" srcId="{156275E5-D3AB-482E-A997-50C86A49F9E9}" destId="{1D316B12-8CDF-4966-8386-A25B656CCFCB}" srcOrd="0" destOrd="4" presId="urn:microsoft.com/office/officeart/2016/7/layout/VerticalSolidActionList"/>
    <dgm:cxn modelId="{3A5F37A6-93E7-45EF-ACF7-3CCADC9434AB}" type="presOf" srcId="{1B501143-F368-41F0-8678-FB8A62957AF0}" destId="{1D316B12-8CDF-4966-8386-A25B656CCFCB}" srcOrd="0" destOrd="6" presId="urn:microsoft.com/office/officeart/2016/7/layout/VerticalSolidActionList"/>
    <dgm:cxn modelId="{CBCD19AB-7A14-4C17-9BAC-D5D964D5F4E9}" type="presOf" srcId="{E6C53AE8-5A17-4D7A-8BE6-3BE8F9B6FF2F}" destId="{1D316B12-8CDF-4966-8386-A25B656CCFCB}" srcOrd="0" destOrd="3" presId="urn:microsoft.com/office/officeart/2016/7/layout/VerticalSolidActionList"/>
    <dgm:cxn modelId="{76FCF9CA-487B-43C4-BE87-D5FCE25920FD}" type="presOf" srcId="{460449F7-7D3A-4340-8264-322BD3A20AB9}" destId="{106BB47F-E344-419C-9610-A22E2E783E6F}" srcOrd="0" destOrd="0" presId="urn:microsoft.com/office/officeart/2016/7/layout/VerticalSolidActionList"/>
    <dgm:cxn modelId="{E70546DA-4DC6-4617-9A20-4826CCDBFBF5}" srcId="{25AB223E-4953-4EF2-BA3C-ECDF95A84747}" destId="{156275E5-D3AB-482E-A997-50C86A49F9E9}" srcOrd="4" destOrd="0" parTransId="{A07BF43E-14A4-48AC-AD87-4EA64FCBECA8}" sibTransId="{2370476D-1444-4AB1-A99B-DD1C7897EDA9}"/>
    <dgm:cxn modelId="{E9F62EE5-A221-4F28-A84C-6640E302983F}" srcId="{25AB223E-4953-4EF2-BA3C-ECDF95A84747}" destId="{1B501143-F368-41F0-8678-FB8A62957AF0}" srcOrd="6" destOrd="0" parTransId="{92DC38F6-BACF-420B-ADAE-F1C8428B5010}" sibTransId="{3714A0F3-B2A6-4ED8-9991-CDC34CAF6120}"/>
    <dgm:cxn modelId="{91203CED-CB60-4347-A865-ADE3F600B061}" type="presOf" srcId="{0581B752-5D70-4AAA-8CF8-26CFA6D45988}" destId="{1D316B12-8CDF-4966-8386-A25B656CCFCB}" srcOrd="0" destOrd="1" presId="urn:microsoft.com/office/officeart/2016/7/layout/VerticalSolidActionList"/>
    <dgm:cxn modelId="{F98E5986-7631-432D-97BB-7BB3A6CFE5F9}" type="presParOf" srcId="{106BB47F-E344-419C-9610-A22E2E783E6F}" destId="{44AFF348-DE45-406E-BA6A-B5B188C14043}" srcOrd="0" destOrd="0" presId="urn:microsoft.com/office/officeart/2016/7/layout/VerticalSolidActionList"/>
    <dgm:cxn modelId="{652F7CC7-0297-4FC4-858C-5D22C36E2484}" type="presParOf" srcId="{44AFF348-DE45-406E-BA6A-B5B188C14043}" destId="{E9F836B8-166B-45D6-9F84-CEA44AD858A3}" srcOrd="0" destOrd="0" presId="urn:microsoft.com/office/officeart/2016/7/layout/VerticalSolidActionList"/>
    <dgm:cxn modelId="{402E021B-BB5E-4FCF-B1D3-3902FF6573A8}" type="presParOf" srcId="{44AFF348-DE45-406E-BA6A-B5B188C14043}" destId="{1D316B12-8CDF-4966-8386-A25B656CCFCB}"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54B536DF-88AC-448D-B540-7F766040127F}"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9018C639-B15B-4ECF-9E83-173C32DF5BB7}">
      <dgm:prSet/>
      <dgm:spPr>
        <a:solidFill>
          <a:srgbClr val="F2C811"/>
        </a:solidFill>
      </dgm:spPr>
      <dgm:t>
        <a:bodyPr/>
        <a:lstStyle/>
        <a:p>
          <a:r>
            <a:rPr lang="en-US" baseline="0">
              <a:solidFill>
                <a:schemeClr val="tx1"/>
              </a:solidFill>
            </a:rPr>
            <a:t>Data Location</a:t>
          </a:r>
          <a:endParaRPr lang="en-GB">
            <a:solidFill>
              <a:schemeClr val="tx1"/>
            </a:solidFill>
          </a:endParaRPr>
        </a:p>
      </dgm:t>
    </dgm:pt>
    <dgm:pt modelId="{B4EC6EBF-21C2-480E-87B2-7F1A073B6359}" type="parTrans" cxnId="{7E08D08F-C0F9-417B-8132-83B45B41F630}">
      <dgm:prSet/>
      <dgm:spPr/>
      <dgm:t>
        <a:bodyPr/>
        <a:lstStyle/>
        <a:p>
          <a:endParaRPr lang="en-US"/>
        </a:p>
      </dgm:t>
    </dgm:pt>
    <dgm:pt modelId="{4E855D6E-212E-406F-9D3B-844BE56C2D9A}" type="sibTrans" cxnId="{7E08D08F-C0F9-417B-8132-83B45B41F630}">
      <dgm:prSet/>
      <dgm:spPr/>
      <dgm:t>
        <a:bodyPr/>
        <a:lstStyle/>
        <a:p>
          <a:endParaRPr lang="en-US"/>
        </a:p>
      </dgm:t>
    </dgm:pt>
    <dgm:pt modelId="{D286143D-BDC1-499D-885B-6D79F1C29B05}">
      <dgm:prSet/>
      <dgm:spPr>
        <a:solidFill>
          <a:srgbClr val="F2C811"/>
        </a:solidFill>
      </dgm:spPr>
      <dgm:t>
        <a:bodyPr/>
        <a:lstStyle/>
        <a:p>
          <a:r>
            <a:rPr lang="en-GB">
              <a:solidFill>
                <a:schemeClr val="tx1"/>
              </a:solidFill>
            </a:rPr>
            <a:t>On-Premises</a:t>
          </a:r>
        </a:p>
      </dgm:t>
    </dgm:pt>
    <dgm:pt modelId="{4FE4810C-569E-4D3D-9DCC-5469C4726500}" type="parTrans" cxnId="{32B858B2-4930-4243-A6E4-17F4579F2AE2}">
      <dgm:prSet/>
      <dgm:spPr/>
      <dgm:t>
        <a:bodyPr/>
        <a:lstStyle/>
        <a:p>
          <a:endParaRPr lang="en-US"/>
        </a:p>
      </dgm:t>
    </dgm:pt>
    <dgm:pt modelId="{18485489-1EC0-4AD0-B01F-90A2A7581FA1}" type="sibTrans" cxnId="{32B858B2-4930-4243-A6E4-17F4579F2AE2}">
      <dgm:prSet/>
      <dgm:spPr/>
      <dgm:t>
        <a:bodyPr/>
        <a:lstStyle/>
        <a:p>
          <a:endParaRPr lang="en-US"/>
        </a:p>
      </dgm:t>
    </dgm:pt>
    <dgm:pt modelId="{D986FB5D-0CA7-4649-B32F-B5E0E933678C}">
      <dgm:prSet/>
      <dgm:spPr>
        <a:solidFill>
          <a:srgbClr val="EDC30D"/>
        </a:solidFill>
      </dgm:spPr>
      <dgm:t>
        <a:bodyPr/>
        <a:lstStyle/>
        <a:p>
          <a:r>
            <a:rPr lang="en-US" baseline="0">
              <a:solidFill>
                <a:schemeClr val="tx1"/>
              </a:solidFill>
            </a:rPr>
            <a:t>Cloud</a:t>
          </a:r>
          <a:endParaRPr lang="en-GB">
            <a:solidFill>
              <a:schemeClr val="tx1"/>
            </a:solidFill>
          </a:endParaRPr>
        </a:p>
      </dgm:t>
    </dgm:pt>
    <dgm:pt modelId="{79AF086F-88DA-49F5-86D3-1F5481FED651}" type="parTrans" cxnId="{A891B08A-052E-4AF3-A09B-1520015F3526}">
      <dgm:prSet/>
      <dgm:spPr/>
      <dgm:t>
        <a:bodyPr/>
        <a:lstStyle/>
        <a:p>
          <a:endParaRPr lang="en-US"/>
        </a:p>
      </dgm:t>
    </dgm:pt>
    <dgm:pt modelId="{9680EFFC-479C-4258-AE83-BCC14469C9D3}" type="sibTrans" cxnId="{A891B08A-052E-4AF3-A09B-1520015F3526}">
      <dgm:prSet/>
      <dgm:spPr/>
      <dgm:t>
        <a:bodyPr/>
        <a:lstStyle/>
        <a:p>
          <a:endParaRPr lang="en-US"/>
        </a:p>
      </dgm:t>
    </dgm:pt>
    <dgm:pt modelId="{98DD8F22-E018-49A8-8200-C232B9919179}">
      <dgm:prSet/>
      <dgm:spPr>
        <a:solidFill>
          <a:srgbClr val="EDC30D"/>
        </a:solidFill>
      </dgm:spPr>
      <dgm:t>
        <a:bodyPr/>
        <a:lstStyle/>
        <a:p>
          <a:r>
            <a:rPr lang="en-US" baseline="0">
              <a:solidFill>
                <a:schemeClr val="tx1"/>
              </a:solidFill>
            </a:rPr>
            <a:t>Data Access</a:t>
          </a:r>
          <a:endParaRPr lang="en-GB">
            <a:solidFill>
              <a:schemeClr val="tx1"/>
            </a:solidFill>
          </a:endParaRPr>
        </a:p>
      </dgm:t>
    </dgm:pt>
    <dgm:pt modelId="{23AAD0B8-6377-4E25-9840-1E19B38F7EBE}" type="parTrans" cxnId="{BCD1EA49-D2E3-4135-9467-CE7C3479810F}">
      <dgm:prSet/>
      <dgm:spPr/>
      <dgm:t>
        <a:bodyPr/>
        <a:lstStyle/>
        <a:p>
          <a:endParaRPr lang="en-US"/>
        </a:p>
      </dgm:t>
    </dgm:pt>
    <dgm:pt modelId="{40B031A4-925D-465A-BC64-C47E998C7334}" type="sibTrans" cxnId="{BCD1EA49-D2E3-4135-9467-CE7C3479810F}">
      <dgm:prSet/>
      <dgm:spPr/>
      <dgm:t>
        <a:bodyPr/>
        <a:lstStyle/>
        <a:p>
          <a:endParaRPr lang="en-US"/>
        </a:p>
      </dgm:t>
    </dgm:pt>
    <dgm:pt modelId="{02CDDF87-99FD-41FE-B5E3-0CECAF4BCF45}">
      <dgm:prSet/>
      <dgm:spPr>
        <a:solidFill>
          <a:srgbClr val="EDC30D"/>
        </a:solidFill>
      </dgm:spPr>
      <dgm:t>
        <a:bodyPr/>
        <a:lstStyle/>
        <a:p>
          <a:r>
            <a:rPr lang="en-US" baseline="0">
              <a:solidFill>
                <a:schemeClr val="tx1"/>
              </a:solidFill>
            </a:rPr>
            <a:t>Sharing</a:t>
          </a:r>
          <a:endParaRPr lang="en-GB">
            <a:solidFill>
              <a:schemeClr val="tx1"/>
            </a:solidFill>
          </a:endParaRPr>
        </a:p>
      </dgm:t>
    </dgm:pt>
    <dgm:pt modelId="{5B651901-5667-44B9-BCDC-80803B122875}" type="parTrans" cxnId="{D777F415-5A78-411F-9627-93E603D32B08}">
      <dgm:prSet/>
      <dgm:spPr/>
      <dgm:t>
        <a:bodyPr/>
        <a:lstStyle/>
        <a:p>
          <a:endParaRPr lang="en-US"/>
        </a:p>
      </dgm:t>
    </dgm:pt>
    <dgm:pt modelId="{FD5A30EC-672A-42E5-A4E9-78B9CD2F73FD}" type="sibTrans" cxnId="{D777F415-5A78-411F-9627-93E603D32B08}">
      <dgm:prSet/>
      <dgm:spPr/>
      <dgm:t>
        <a:bodyPr/>
        <a:lstStyle/>
        <a:p>
          <a:endParaRPr lang="en-US"/>
        </a:p>
      </dgm:t>
    </dgm:pt>
    <dgm:pt modelId="{2A7F442F-C5C9-4D5B-9D3B-5D1C13AEC459}">
      <dgm:prSet/>
      <dgm:spPr>
        <a:solidFill>
          <a:srgbClr val="EDC30D"/>
        </a:solidFill>
      </dgm:spPr>
      <dgm:t>
        <a:bodyPr/>
        <a:lstStyle/>
        <a:p>
          <a:r>
            <a:rPr lang="en-US" baseline="0">
              <a:solidFill>
                <a:schemeClr val="tx1"/>
              </a:solidFill>
            </a:rPr>
            <a:t>Row-Level Security</a:t>
          </a:r>
          <a:endParaRPr lang="en-GB">
            <a:solidFill>
              <a:schemeClr val="tx1"/>
            </a:solidFill>
          </a:endParaRPr>
        </a:p>
      </dgm:t>
    </dgm:pt>
    <dgm:pt modelId="{8F93E8EE-2246-4795-BCD0-BC5C1CED47A1}" type="parTrans" cxnId="{231D0640-6F9B-4B08-ADF9-7EBC0226B82B}">
      <dgm:prSet/>
      <dgm:spPr/>
      <dgm:t>
        <a:bodyPr/>
        <a:lstStyle/>
        <a:p>
          <a:endParaRPr lang="en-US"/>
        </a:p>
      </dgm:t>
    </dgm:pt>
    <dgm:pt modelId="{B5C0A802-21BB-425C-B00C-BA658DB75968}" type="sibTrans" cxnId="{231D0640-6F9B-4B08-ADF9-7EBC0226B82B}">
      <dgm:prSet/>
      <dgm:spPr/>
      <dgm:t>
        <a:bodyPr/>
        <a:lstStyle/>
        <a:p>
          <a:endParaRPr lang="en-US"/>
        </a:p>
      </dgm:t>
    </dgm:pt>
    <dgm:pt modelId="{ECBFAD3E-4CC0-4DFE-8667-D6403B763FE8}">
      <dgm:prSet/>
      <dgm:spPr>
        <a:solidFill>
          <a:srgbClr val="EDC30D"/>
        </a:solidFill>
      </dgm:spPr>
      <dgm:t>
        <a:bodyPr/>
        <a:lstStyle/>
        <a:p>
          <a:r>
            <a:rPr lang="en-GB">
              <a:solidFill>
                <a:schemeClr val="tx1"/>
              </a:solidFill>
            </a:rPr>
            <a:t>Public</a:t>
          </a:r>
        </a:p>
      </dgm:t>
    </dgm:pt>
    <dgm:pt modelId="{C5F80E31-C579-4C2A-9FFE-1E33E5BF53DD}" type="parTrans" cxnId="{0918B509-F339-418A-810B-DDB73E92BB8F}">
      <dgm:prSet/>
      <dgm:spPr/>
      <dgm:t>
        <a:bodyPr/>
        <a:lstStyle/>
        <a:p>
          <a:endParaRPr lang="en-US"/>
        </a:p>
      </dgm:t>
    </dgm:pt>
    <dgm:pt modelId="{D69FAB63-DC24-4EBF-8FDC-6AA6668CFF7E}" type="sibTrans" cxnId="{0918B509-F339-418A-810B-DDB73E92BB8F}">
      <dgm:prSet/>
      <dgm:spPr/>
      <dgm:t>
        <a:bodyPr/>
        <a:lstStyle/>
        <a:p>
          <a:endParaRPr lang="en-US"/>
        </a:p>
      </dgm:t>
    </dgm:pt>
    <dgm:pt modelId="{1363C39E-132F-44FF-9F82-3EB8134AD84C}" type="pres">
      <dgm:prSet presAssocID="{54B536DF-88AC-448D-B540-7F766040127F}" presName="hierChild1" presStyleCnt="0">
        <dgm:presLayoutVars>
          <dgm:orgChart val="1"/>
          <dgm:chPref val="1"/>
          <dgm:dir/>
          <dgm:animOne val="branch"/>
          <dgm:animLvl val="lvl"/>
          <dgm:resizeHandles/>
        </dgm:presLayoutVars>
      </dgm:prSet>
      <dgm:spPr/>
    </dgm:pt>
    <dgm:pt modelId="{FE4C99D6-65BF-48DF-B04A-68EB7417A1B0}" type="pres">
      <dgm:prSet presAssocID="{9018C639-B15B-4ECF-9E83-173C32DF5BB7}" presName="hierRoot1" presStyleCnt="0">
        <dgm:presLayoutVars>
          <dgm:hierBranch val="init"/>
        </dgm:presLayoutVars>
      </dgm:prSet>
      <dgm:spPr/>
    </dgm:pt>
    <dgm:pt modelId="{2712F7D2-D78C-4A52-A407-4516BAF4561D}" type="pres">
      <dgm:prSet presAssocID="{9018C639-B15B-4ECF-9E83-173C32DF5BB7}" presName="rootComposite1" presStyleCnt="0"/>
      <dgm:spPr/>
    </dgm:pt>
    <dgm:pt modelId="{10B685FD-79F8-49D8-B895-E2380080227F}" type="pres">
      <dgm:prSet presAssocID="{9018C639-B15B-4ECF-9E83-173C32DF5BB7}" presName="rootText1" presStyleLbl="node0" presStyleIdx="0" presStyleCnt="2">
        <dgm:presLayoutVars>
          <dgm:chPref val="3"/>
        </dgm:presLayoutVars>
      </dgm:prSet>
      <dgm:spPr/>
    </dgm:pt>
    <dgm:pt modelId="{F901269B-131C-4B8B-8A5C-1A38CEB625BB}" type="pres">
      <dgm:prSet presAssocID="{9018C639-B15B-4ECF-9E83-173C32DF5BB7}" presName="rootConnector1" presStyleLbl="node1" presStyleIdx="0" presStyleCnt="0"/>
      <dgm:spPr/>
    </dgm:pt>
    <dgm:pt modelId="{D3896F1F-A879-4D26-A937-B6BD3CF93672}" type="pres">
      <dgm:prSet presAssocID="{9018C639-B15B-4ECF-9E83-173C32DF5BB7}" presName="hierChild2" presStyleCnt="0"/>
      <dgm:spPr/>
    </dgm:pt>
    <dgm:pt modelId="{D33BB0EA-F195-438F-8A00-24E5C8226EA3}" type="pres">
      <dgm:prSet presAssocID="{4FE4810C-569E-4D3D-9DCC-5469C4726500}" presName="Name64" presStyleLbl="parChTrans1D2" presStyleIdx="0" presStyleCnt="5"/>
      <dgm:spPr/>
    </dgm:pt>
    <dgm:pt modelId="{75679D68-C971-4953-8DBE-59CC76684E30}" type="pres">
      <dgm:prSet presAssocID="{D286143D-BDC1-499D-885B-6D79F1C29B05}" presName="hierRoot2" presStyleCnt="0">
        <dgm:presLayoutVars>
          <dgm:hierBranch val="init"/>
        </dgm:presLayoutVars>
      </dgm:prSet>
      <dgm:spPr/>
    </dgm:pt>
    <dgm:pt modelId="{FEB0C5A7-694E-4F1E-892B-56EDBAA81AB7}" type="pres">
      <dgm:prSet presAssocID="{D286143D-BDC1-499D-885B-6D79F1C29B05}" presName="rootComposite" presStyleCnt="0"/>
      <dgm:spPr/>
    </dgm:pt>
    <dgm:pt modelId="{83A068E7-16B4-4313-9BD7-86F2CC6ED717}" type="pres">
      <dgm:prSet presAssocID="{D286143D-BDC1-499D-885B-6D79F1C29B05}" presName="rootText" presStyleLbl="node2" presStyleIdx="0" presStyleCnt="5">
        <dgm:presLayoutVars>
          <dgm:chPref val="3"/>
        </dgm:presLayoutVars>
      </dgm:prSet>
      <dgm:spPr/>
    </dgm:pt>
    <dgm:pt modelId="{A6480A6F-B9F2-41EE-AF4B-E34F34808E52}" type="pres">
      <dgm:prSet presAssocID="{D286143D-BDC1-499D-885B-6D79F1C29B05}" presName="rootConnector" presStyleLbl="node2" presStyleIdx="0" presStyleCnt="5"/>
      <dgm:spPr/>
    </dgm:pt>
    <dgm:pt modelId="{3B1511B9-2CB6-4EE5-A072-C412CA5E1460}" type="pres">
      <dgm:prSet presAssocID="{D286143D-BDC1-499D-885B-6D79F1C29B05}" presName="hierChild4" presStyleCnt="0"/>
      <dgm:spPr/>
    </dgm:pt>
    <dgm:pt modelId="{3DC5C3BA-4BA4-4B23-9164-FE3A9D3B6DC8}" type="pres">
      <dgm:prSet presAssocID="{D286143D-BDC1-499D-885B-6D79F1C29B05}" presName="hierChild5" presStyleCnt="0"/>
      <dgm:spPr/>
    </dgm:pt>
    <dgm:pt modelId="{501FCC22-A997-4163-86D1-18CF96D2C847}" type="pres">
      <dgm:prSet presAssocID="{79AF086F-88DA-49F5-86D3-1F5481FED651}" presName="Name64" presStyleLbl="parChTrans1D2" presStyleIdx="1" presStyleCnt="5"/>
      <dgm:spPr/>
    </dgm:pt>
    <dgm:pt modelId="{73DC2737-AE28-4599-BF47-8A413BD88520}" type="pres">
      <dgm:prSet presAssocID="{D986FB5D-0CA7-4649-B32F-B5E0E933678C}" presName="hierRoot2" presStyleCnt="0">
        <dgm:presLayoutVars>
          <dgm:hierBranch val="init"/>
        </dgm:presLayoutVars>
      </dgm:prSet>
      <dgm:spPr/>
    </dgm:pt>
    <dgm:pt modelId="{67A19D61-B496-4CCB-B6FD-094B27937291}" type="pres">
      <dgm:prSet presAssocID="{D986FB5D-0CA7-4649-B32F-B5E0E933678C}" presName="rootComposite" presStyleCnt="0"/>
      <dgm:spPr/>
    </dgm:pt>
    <dgm:pt modelId="{808B666D-E5F6-46A6-9724-A881F7C0FFFF}" type="pres">
      <dgm:prSet presAssocID="{D986FB5D-0CA7-4649-B32F-B5E0E933678C}" presName="rootText" presStyleLbl="node2" presStyleIdx="1" presStyleCnt="5">
        <dgm:presLayoutVars>
          <dgm:chPref val="3"/>
        </dgm:presLayoutVars>
      </dgm:prSet>
      <dgm:spPr/>
    </dgm:pt>
    <dgm:pt modelId="{2C41F697-0E28-482E-AA48-4CE8F1252801}" type="pres">
      <dgm:prSet presAssocID="{D986FB5D-0CA7-4649-B32F-B5E0E933678C}" presName="rootConnector" presStyleLbl="node2" presStyleIdx="1" presStyleCnt="5"/>
      <dgm:spPr/>
    </dgm:pt>
    <dgm:pt modelId="{516FE777-892C-4934-BD88-8A7C99F99675}" type="pres">
      <dgm:prSet presAssocID="{D986FB5D-0CA7-4649-B32F-B5E0E933678C}" presName="hierChild4" presStyleCnt="0"/>
      <dgm:spPr/>
    </dgm:pt>
    <dgm:pt modelId="{9391B30D-6099-4F7D-931E-5CA5E50A3576}" type="pres">
      <dgm:prSet presAssocID="{D986FB5D-0CA7-4649-B32F-B5E0E933678C}" presName="hierChild5" presStyleCnt="0"/>
      <dgm:spPr/>
    </dgm:pt>
    <dgm:pt modelId="{3FB5198A-F36E-40C3-9614-823EDC5B678C}" type="pres">
      <dgm:prSet presAssocID="{9018C639-B15B-4ECF-9E83-173C32DF5BB7}" presName="hierChild3" presStyleCnt="0"/>
      <dgm:spPr/>
    </dgm:pt>
    <dgm:pt modelId="{F358C963-5BE0-455B-949E-74397151E2C2}" type="pres">
      <dgm:prSet presAssocID="{98DD8F22-E018-49A8-8200-C232B9919179}" presName="hierRoot1" presStyleCnt="0">
        <dgm:presLayoutVars>
          <dgm:hierBranch val="init"/>
        </dgm:presLayoutVars>
      </dgm:prSet>
      <dgm:spPr/>
    </dgm:pt>
    <dgm:pt modelId="{6C3F996A-64B7-4D11-A5A7-2B626E9DBC61}" type="pres">
      <dgm:prSet presAssocID="{98DD8F22-E018-49A8-8200-C232B9919179}" presName="rootComposite1" presStyleCnt="0"/>
      <dgm:spPr/>
    </dgm:pt>
    <dgm:pt modelId="{16BDD1B1-6573-49A9-B5D7-5900380DA9FE}" type="pres">
      <dgm:prSet presAssocID="{98DD8F22-E018-49A8-8200-C232B9919179}" presName="rootText1" presStyleLbl="node0" presStyleIdx="1" presStyleCnt="2">
        <dgm:presLayoutVars>
          <dgm:chPref val="3"/>
        </dgm:presLayoutVars>
      </dgm:prSet>
      <dgm:spPr/>
    </dgm:pt>
    <dgm:pt modelId="{64294F2E-0A55-4FF7-B70A-76D6ADF390AD}" type="pres">
      <dgm:prSet presAssocID="{98DD8F22-E018-49A8-8200-C232B9919179}" presName="rootConnector1" presStyleLbl="node1" presStyleIdx="0" presStyleCnt="0"/>
      <dgm:spPr/>
    </dgm:pt>
    <dgm:pt modelId="{7BEC5FF6-C856-4846-A476-DB98A7D46425}" type="pres">
      <dgm:prSet presAssocID="{98DD8F22-E018-49A8-8200-C232B9919179}" presName="hierChild2" presStyleCnt="0"/>
      <dgm:spPr/>
    </dgm:pt>
    <dgm:pt modelId="{B8DEA176-23F1-49DC-93D7-61E1A4F2D62C}" type="pres">
      <dgm:prSet presAssocID="{5B651901-5667-44B9-BCDC-80803B122875}" presName="Name64" presStyleLbl="parChTrans1D2" presStyleIdx="2" presStyleCnt="5"/>
      <dgm:spPr/>
    </dgm:pt>
    <dgm:pt modelId="{75741D26-983A-435B-9AC3-79193AC24B67}" type="pres">
      <dgm:prSet presAssocID="{02CDDF87-99FD-41FE-B5E3-0CECAF4BCF45}" presName="hierRoot2" presStyleCnt="0">
        <dgm:presLayoutVars>
          <dgm:hierBranch val="init"/>
        </dgm:presLayoutVars>
      </dgm:prSet>
      <dgm:spPr/>
    </dgm:pt>
    <dgm:pt modelId="{47C358C8-81AD-47F5-BA32-856AC58481B2}" type="pres">
      <dgm:prSet presAssocID="{02CDDF87-99FD-41FE-B5E3-0CECAF4BCF45}" presName="rootComposite" presStyleCnt="0"/>
      <dgm:spPr/>
    </dgm:pt>
    <dgm:pt modelId="{30F0C7C1-13E3-42E2-8FFB-DF4C270C725C}" type="pres">
      <dgm:prSet presAssocID="{02CDDF87-99FD-41FE-B5E3-0CECAF4BCF45}" presName="rootText" presStyleLbl="node2" presStyleIdx="2" presStyleCnt="5">
        <dgm:presLayoutVars>
          <dgm:chPref val="3"/>
        </dgm:presLayoutVars>
      </dgm:prSet>
      <dgm:spPr/>
    </dgm:pt>
    <dgm:pt modelId="{E2102E85-3A96-4B9A-ADF6-E44568DBE505}" type="pres">
      <dgm:prSet presAssocID="{02CDDF87-99FD-41FE-B5E3-0CECAF4BCF45}" presName="rootConnector" presStyleLbl="node2" presStyleIdx="2" presStyleCnt="5"/>
      <dgm:spPr/>
    </dgm:pt>
    <dgm:pt modelId="{28BA4C30-E545-46E1-8342-DBE51F874F7B}" type="pres">
      <dgm:prSet presAssocID="{02CDDF87-99FD-41FE-B5E3-0CECAF4BCF45}" presName="hierChild4" presStyleCnt="0"/>
      <dgm:spPr/>
    </dgm:pt>
    <dgm:pt modelId="{4E006D7C-311F-40A1-8CF9-C16B2E4C1368}" type="pres">
      <dgm:prSet presAssocID="{02CDDF87-99FD-41FE-B5E3-0CECAF4BCF45}" presName="hierChild5" presStyleCnt="0"/>
      <dgm:spPr/>
    </dgm:pt>
    <dgm:pt modelId="{38CAB2FC-CDD3-4A35-A221-9A549B4B8A33}" type="pres">
      <dgm:prSet presAssocID="{8F93E8EE-2246-4795-BCD0-BC5C1CED47A1}" presName="Name64" presStyleLbl="parChTrans1D2" presStyleIdx="3" presStyleCnt="5"/>
      <dgm:spPr/>
    </dgm:pt>
    <dgm:pt modelId="{FF5D2CCD-1E7D-4B64-B325-D5829E55109C}" type="pres">
      <dgm:prSet presAssocID="{2A7F442F-C5C9-4D5B-9D3B-5D1C13AEC459}" presName="hierRoot2" presStyleCnt="0">
        <dgm:presLayoutVars>
          <dgm:hierBranch val="init"/>
        </dgm:presLayoutVars>
      </dgm:prSet>
      <dgm:spPr/>
    </dgm:pt>
    <dgm:pt modelId="{0654D5FE-0349-4776-A15E-F58FDDE363B8}" type="pres">
      <dgm:prSet presAssocID="{2A7F442F-C5C9-4D5B-9D3B-5D1C13AEC459}" presName="rootComposite" presStyleCnt="0"/>
      <dgm:spPr/>
    </dgm:pt>
    <dgm:pt modelId="{1EADD7DE-598F-474D-8DE1-B38E166EFCE4}" type="pres">
      <dgm:prSet presAssocID="{2A7F442F-C5C9-4D5B-9D3B-5D1C13AEC459}" presName="rootText" presStyleLbl="node2" presStyleIdx="3" presStyleCnt="5">
        <dgm:presLayoutVars>
          <dgm:chPref val="3"/>
        </dgm:presLayoutVars>
      </dgm:prSet>
      <dgm:spPr/>
    </dgm:pt>
    <dgm:pt modelId="{BDE4A4FF-134F-4B07-9A39-8219F99B66D2}" type="pres">
      <dgm:prSet presAssocID="{2A7F442F-C5C9-4D5B-9D3B-5D1C13AEC459}" presName="rootConnector" presStyleLbl="node2" presStyleIdx="3" presStyleCnt="5"/>
      <dgm:spPr/>
    </dgm:pt>
    <dgm:pt modelId="{FE7F874B-5677-4740-8EE2-C4117C1D5D5F}" type="pres">
      <dgm:prSet presAssocID="{2A7F442F-C5C9-4D5B-9D3B-5D1C13AEC459}" presName="hierChild4" presStyleCnt="0"/>
      <dgm:spPr/>
    </dgm:pt>
    <dgm:pt modelId="{A801AF83-E4AA-40B2-BD76-3DA93FAE1075}" type="pres">
      <dgm:prSet presAssocID="{2A7F442F-C5C9-4D5B-9D3B-5D1C13AEC459}" presName="hierChild5" presStyleCnt="0"/>
      <dgm:spPr/>
    </dgm:pt>
    <dgm:pt modelId="{B0587C9F-B446-4D5B-8CAF-5E2324A6DE5C}" type="pres">
      <dgm:prSet presAssocID="{C5F80E31-C579-4C2A-9FFE-1E33E5BF53DD}" presName="Name64" presStyleLbl="parChTrans1D2" presStyleIdx="4" presStyleCnt="5"/>
      <dgm:spPr/>
    </dgm:pt>
    <dgm:pt modelId="{6521518A-043E-4A34-933C-F4ECCCD10F9E}" type="pres">
      <dgm:prSet presAssocID="{ECBFAD3E-4CC0-4DFE-8667-D6403B763FE8}" presName="hierRoot2" presStyleCnt="0">
        <dgm:presLayoutVars>
          <dgm:hierBranch val="init"/>
        </dgm:presLayoutVars>
      </dgm:prSet>
      <dgm:spPr/>
    </dgm:pt>
    <dgm:pt modelId="{50F13299-1CEA-4B4B-AE48-F97E1FF6E556}" type="pres">
      <dgm:prSet presAssocID="{ECBFAD3E-4CC0-4DFE-8667-D6403B763FE8}" presName="rootComposite" presStyleCnt="0"/>
      <dgm:spPr/>
    </dgm:pt>
    <dgm:pt modelId="{8E5C6820-90B3-4DDB-AD4C-95FBE90236CE}" type="pres">
      <dgm:prSet presAssocID="{ECBFAD3E-4CC0-4DFE-8667-D6403B763FE8}" presName="rootText" presStyleLbl="node2" presStyleIdx="4" presStyleCnt="5">
        <dgm:presLayoutVars>
          <dgm:chPref val="3"/>
        </dgm:presLayoutVars>
      </dgm:prSet>
      <dgm:spPr/>
    </dgm:pt>
    <dgm:pt modelId="{52E70FDB-384C-4ADD-A33D-C28E189EB912}" type="pres">
      <dgm:prSet presAssocID="{ECBFAD3E-4CC0-4DFE-8667-D6403B763FE8}" presName="rootConnector" presStyleLbl="node2" presStyleIdx="4" presStyleCnt="5"/>
      <dgm:spPr/>
    </dgm:pt>
    <dgm:pt modelId="{FCD922E9-F015-4453-9EC5-395836D9B670}" type="pres">
      <dgm:prSet presAssocID="{ECBFAD3E-4CC0-4DFE-8667-D6403B763FE8}" presName="hierChild4" presStyleCnt="0"/>
      <dgm:spPr/>
    </dgm:pt>
    <dgm:pt modelId="{FC55A75F-D58E-4C6E-BEE7-F07E52A1D071}" type="pres">
      <dgm:prSet presAssocID="{ECBFAD3E-4CC0-4DFE-8667-D6403B763FE8}" presName="hierChild5" presStyleCnt="0"/>
      <dgm:spPr/>
    </dgm:pt>
    <dgm:pt modelId="{94CD9E86-7D3C-4C22-B9AF-4795860EAE86}" type="pres">
      <dgm:prSet presAssocID="{98DD8F22-E018-49A8-8200-C232B9919179}" presName="hierChild3" presStyleCnt="0"/>
      <dgm:spPr/>
    </dgm:pt>
  </dgm:ptLst>
  <dgm:cxnLst>
    <dgm:cxn modelId="{47052E07-42ED-4A58-BDDB-587A7F93C4A0}" type="presOf" srcId="{2A7F442F-C5C9-4D5B-9D3B-5D1C13AEC459}" destId="{BDE4A4FF-134F-4B07-9A39-8219F99B66D2}" srcOrd="1" destOrd="0" presId="urn:microsoft.com/office/officeart/2009/3/layout/HorizontalOrganizationChart"/>
    <dgm:cxn modelId="{0918B509-F339-418A-810B-DDB73E92BB8F}" srcId="{98DD8F22-E018-49A8-8200-C232B9919179}" destId="{ECBFAD3E-4CC0-4DFE-8667-D6403B763FE8}" srcOrd="2" destOrd="0" parTransId="{C5F80E31-C579-4C2A-9FFE-1E33E5BF53DD}" sibTransId="{D69FAB63-DC24-4EBF-8FDC-6AA6668CFF7E}"/>
    <dgm:cxn modelId="{861B1A0B-303F-4742-9767-D679BF7E4174}" type="presOf" srcId="{02CDDF87-99FD-41FE-B5E3-0CECAF4BCF45}" destId="{E2102E85-3A96-4B9A-ADF6-E44568DBE505}" srcOrd="1" destOrd="0" presId="urn:microsoft.com/office/officeart/2009/3/layout/HorizontalOrganizationChart"/>
    <dgm:cxn modelId="{7F14CD13-8448-4837-8681-6E004446E808}" type="presOf" srcId="{5B651901-5667-44B9-BCDC-80803B122875}" destId="{B8DEA176-23F1-49DC-93D7-61E1A4F2D62C}" srcOrd="0" destOrd="0" presId="urn:microsoft.com/office/officeart/2009/3/layout/HorizontalOrganizationChart"/>
    <dgm:cxn modelId="{D777F415-5A78-411F-9627-93E603D32B08}" srcId="{98DD8F22-E018-49A8-8200-C232B9919179}" destId="{02CDDF87-99FD-41FE-B5E3-0CECAF4BCF45}" srcOrd="0" destOrd="0" parTransId="{5B651901-5667-44B9-BCDC-80803B122875}" sibTransId="{FD5A30EC-672A-42E5-A4E9-78B9CD2F73FD}"/>
    <dgm:cxn modelId="{4AD5D91D-1CCB-44FD-B5D0-E93F2F624FE4}" type="presOf" srcId="{98DD8F22-E018-49A8-8200-C232B9919179}" destId="{16BDD1B1-6573-49A9-B5D7-5900380DA9FE}" srcOrd="0" destOrd="0" presId="urn:microsoft.com/office/officeart/2009/3/layout/HorizontalOrganizationChart"/>
    <dgm:cxn modelId="{BDA5D81E-D8A2-4135-93DA-D88024CAC265}" type="presOf" srcId="{54B536DF-88AC-448D-B540-7F766040127F}" destId="{1363C39E-132F-44FF-9F82-3EB8134AD84C}" srcOrd="0" destOrd="0" presId="urn:microsoft.com/office/officeart/2009/3/layout/HorizontalOrganizationChart"/>
    <dgm:cxn modelId="{4A511D28-F3B9-4E5C-8506-92638D8D5EC0}" type="presOf" srcId="{9018C639-B15B-4ECF-9E83-173C32DF5BB7}" destId="{10B685FD-79F8-49D8-B895-E2380080227F}" srcOrd="0" destOrd="0" presId="urn:microsoft.com/office/officeart/2009/3/layout/HorizontalOrganizationChart"/>
    <dgm:cxn modelId="{FCB73433-2B28-4194-9BB0-D2CE51054184}" type="presOf" srcId="{4FE4810C-569E-4D3D-9DCC-5469C4726500}" destId="{D33BB0EA-F195-438F-8A00-24E5C8226EA3}" srcOrd="0" destOrd="0" presId="urn:microsoft.com/office/officeart/2009/3/layout/HorizontalOrganizationChart"/>
    <dgm:cxn modelId="{C3587C3A-D855-4B93-BF19-85DFE0DB642C}" type="presOf" srcId="{8F93E8EE-2246-4795-BCD0-BC5C1CED47A1}" destId="{38CAB2FC-CDD3-4A35-A221-9A549B4B8A33}" srcOrd="0" destOrd="0" presId="urn:microsoft.com/office/officeart/2009/3/layout/HorizontalOrganizationChart"/>
    <dgm:cxn modelId="{0433943D-07BC-48B0-A197-02456C0FFBC0}" type="presOf" srcId="{C5F80E31-C579-4C2A-9FFE-1E33E5BF53DD}" destId="{B0587C9F-B446-4D5B-8CAF-5E2324A6DE5C}" srcOrd="0" destOrd="0" presId="urn:microsoft.com/office/officeart/2009/3/layout/HorizontalOrganizationChart"/>
    <dgm:cxn modelId="{231D0640-6F9B-4B08-ADF9-7EBC0226B82B}" srcId="{98DD8F22-E018-49A8-8200-C232B9919179}" destId="{2A7F442F-C5C9-4D5B-9D3B-5D1C13AEC459}" srcOrd="1" destOrd="0" parTransId="{8F93E8EE-2246-4795-BCD0-BC5C1CED47A1}" sibTransId="{B5C0A802-21BB-425C-B00C-BA658DB75968}"/>
    <dgm:cxn modelId="{BCD1EA49-D2E3-4135-9467-CE7C3479810F}" srcId="{54B536DF-88AC-448D-B540-7F766040127F}" destId="{98DD8F22-E018-49A8-8200-C232B9919179}" srcOrd="1" destOrd="0" parTransId="{23AAD0B8-6377-4E25-9840-1E19B38F7EBE}" sibTransId="{40B031A4-925D-465A-BC64-C47E998C7334}"/>
    <dgm:cxn modelId="{7EABE458-4B05-494E-8686-61FB61CFD66F}" type="presOf" srcId="{02CDDF87-99FD-41FE-B5E3-0CECAF4BCF45}" destId="{30F0C7C1-13E3-42E2-8FFB-DF4C270C725C}" srcOrd="0" destOrd="0" presId="urn:microsoft.com/office/officeart/2009/3/layout/HorizontalOrganizationChart"/>
    <dgm:cxn modelId="{1104A579-78C3-4526-90DB-18B6B8242756}" type="presOf" srcId="{ECBFAD3E-4CC0-4DFE-8667-D6403B763FE8}" destId="{52E70FDB-384C-4ADD-A33D-C28E189EB912}" srcOrd="1" destOrd="0" presId="urn:microsoft.com/office/officeart/2009/3/layout/HorizontalOrganizationChart"/>
    <dgm:cxn modelId="{32C5F25A-A474-478F-B156-867731C4A4B5}" type="presOf" srcId="{98DD8F22-E018-49A8-8200-C232B9919179}" destId="{64294F2E-0A55-4FF7-B70A-76D6ADF390AD}" srcOrd="1" destOrd="0" presId="urn:microsoft.com/office/officeart/2009/3/layout/HorizontalOrganizationChart"/>
    <dgm:cxn modelId="{F3781280-3761-4F1F-9491-FF8A2EA5EC9C}" type="presOf" srcId="{D286143D-BDC1-499D-885B-6D79F1C29B05}" destId="{83A068E7-16B4-4313-9BD7-86F2CC6ED717}" srcOrd="0" destOrd="0" presId="urn:microsoft.com/office/officeart/2009/3/layout/HorizontalOrganizationChart"/>
    <dgm:cxn modelId="{A891B08A-052E-4AF3-A09B-1520015F3526}" srcId="{9018C639-B15B-4ECF-9E83-173C32DF5BB7}" destId="{D986FB5D-0CA7-4649-B32F-B5E0E933678C}" srcOrd="1" destOrd="0" parTransId="{79AF086F-88DA-49F5-86D3-1F5481FED651}" sibTransId="{9680EFFC-479C-4258-AE83-BCC14469C9D3}"/>
    <dgm:cxn modelId="{7E08D08F-C0F9-417B-8132-83B45B41F630}" srcId="{54B536DF-88AC-448D-B540-7F766040127F}" destId="{9018C639-B15B-4ECF-9E83-173C32DF5BB7}" srcOrd="0" destOrd="0" parTransId="{B4EC6EBF-21C2-480E-87B2-7F1A073B6359}" sibTransId="{4E855D6E-212E-406F-9D3B-844BE56C2D9A}"/>
    <dgm:cxn modelId="{ECC8F599-9FC0-4A9F-A986-2AD79CAA0521}" type="presOf" srcId="{D986FB5D-0CA7-4649-B32F-B5E0E933678C}" destId="{808B666D-E5F6-46A6-9724-A881F7C0FFFF}" srcOrd="0" destOrd="0" presId="urn:microsoft.com/office/officeart/2009/3/layout/HorizontalOrganizationChart"/>
    <dgm:cxn modelId="{90ECF5A4-17DA-4854-ADA9-3FD14EA73AC6}" type="presOf" srcId="{79AF086F-88DA-49F5-86D3-1F5481FED651}" destId="{501FCC22-A997-4163-86D1-18CF96D2C847}" srcOrd="0" destOrd="0" presId="urn:microsoft.com/office/officeart/2009/3/layout/HorizontalOrganizationChart"/>
    <dgm:cxn modelId="{2079EAA9-2BC6-4044-AB0C-77E5E63E8028}" type="presOf" srcId="{2A7F442F-C5C9-4D5B-9D3B-5D1C13AEC459}" destId="{1EADD7DE-598F-474D-8DE1-B38E166EFCE4}" srcOrd="0" destOrd="0" presId="urn:microsoft.com/office/officeart/2009/3/layout/HorizontalOrganizationChart"/>
    <dgm:cxn modelId="{32B858B2-4930-4243-A6E4-17F4579F2AE2}" srcId="{9018C639-B15B-4ECF-9E83-173C32DF5BB7}" destId="{D286143D-BDC1-499D-885B-6D79F1C29B05}" srcOrd="0" destOrd="0" parTransId="{4FE4810C-569E-4D3D-9DCC-5469C4726500}" sibTransId="{18485489-1EC0-4AD0-B01F-90A2A7581FA1}"/>
    <dgm:cxn modelId="{10C405C8-009B-43C4-A3C8-A92D6D4E98CF}" type="presOf" srcId="{ECBFAD3E-4CC0-4DFE-8667-D6403B763FE8}" destId="{8E5C6820-90B3-4DDB-AD4C-95FBE90236CE}" srcOrd="0" destOrd="0" presId="urn:microsoft.com/office/officeart/2009/3/layout/HorizontalOrganizationChart"/>
    <dgm:cxn modelId="{46E0F0D3-4482-4223-BC6D-87E35DB33BA4}" type="presOf" srcId="{D986FB5D-0CA7-4649-B32F-B5E0E933678C}" destId="{2C41F697-0E28-482E-AA48-4CE8F1252801}" srcOrd="1" destOrd="0" presId="urn:microsoft.com/office/officeart/2009/3/layout/HorizontalOrganizationChart"/>
    <dgm:cxn modelId="{048D48DB-9E44-4545-897E-28702C0E184F}" type="presOf" srcId="{D286143D-BDC1-499D-885B-6D79F1C29B05}" destId="{A6480A6F-B9F2-41EE-AF4B-E34F34808E52}" srcOrd="1" destOrd="0" presId="urn:microsoft.com/office/officeart/2009/3/layout/HorizontalOrganizationChart"/>
    <dgm:cxn modelId="{9CFFEBDD-A97F-4725-8E34-1D3BF03F80C1}" type="presOf" srcId="{9018C639-B15B-4ECF-9E83-173C32DF5BB7}" destId="{F901269B-131C-4B8B-8A5C-1A38CEB625BB}" srcOrd="1" destOrd="0" presId="urn:microsoft.com/office/officeart/2009/3/layout/HorizontalOrganizationChart"/>
    <dgm:cxn modelId="{39FB46A7-F5F2-440D-B78D-549A3DA33BCC}" type="presParOf" srcId="{1363C39E-132F-44FF-9F82-3EB8134AD84C}" destId="{FE4C99D6-65BF-48DF-B04A-68EB7417A1B0}" srcOrd="0" destOrd="0" presId="urn:microsoft.com/office/officeart/2009/3/layout/HorizontalOrganizationChart"/>
    <dgm:cxn modelId="{DEAA98D4-A1DC-4864-A1DB-2AC20E7407D9}" type="presParOf" srcId="{FE4C99D6-65BF-48DF-B04A-68EB7417A1B0}" destId="{2712F7D2-D78C-4A52-A407-4516BAF4561D}" srcOrd="0" destOrd="0" presId="urn:microsoft.com/office/officeart/2009/3/layout/HorizontalOrganizationChart"/>
    <dgm:cxn modelId="{B7029028-C309-45A4-86E7-3C73BF92C1B4}" type="presParOf" srcId="{2712F7D2-D78C-4A52-A407-4516BAF4561D}" destId="{10B685FD-79F8-49D8-B895-E2380080227F}" srcOrd="0" destOrd="0" presId="urn:microsoft.com/office/officeart/2009/3/layout/HorizontalOrganizationChart"/>
    <dgm:cxn modelId="{74147E6B-921D-444C-B57B-F301FF6EDB67}" type="presParOf" srcId="{2712F7D2-D78C-4A52-A407-4516BAF4561D}" destId="{F901269B-131C-4B8B-8A5C-1A38CEB625BB}" srcOrd="1" destOrd="0" presId="urn:microsoft.com/office/officeart/2009/3/layout/HorizontalOrganizationChart"/>
    <dgm:cxn modelId="{D5D86390-4CB6-4BB1-A96F-10C6430CF7CD}" type="presParOf" srcId="{FE4C99D6-65BF-48DF-B04A-68EB7417A1B0}" destId="{D3896F1F-A879-4D26-A937-B6BD3CF93672}" srcOrd="1" destOrd="0" presId="urn:microsoft.com/office/officeart/2009/3/layout/HorizontalOrganizationChart"/>
    <dgm:cxn modelId="{41052341-BAE4-479E-8EA3-D101E9C426B5}" type="presParOf" srcId="{D3896F1F-A879-4D26-A937-B6BD3CF93672}" destId="{D33BB0EA-F195-438F-8A00-24E5C8226EA3}" srcOrd="0" destOrd="0" presId="urn:microsoft.com/office/officeart/2009/3/layout/HorizontalOrganizationChart"/>
    <dgm:cxn modelId="{2CE43E30-C6CB-4852-9BE3-2A881C6B38B3}" type="presParOf" srcId="{D3896F1F-A879-4D26-A937-B6BD3CF93672}" destId="{75679D68-C971-4953-8DBE-59CC76684E30}" srcOrd="1" destOrd="0" presId="urn:microsoft.com/office/officeart/2009/3/layout/HorizontalOrganizationChart"/>
    <dgm:cxn modelId="{264D18BA-F43E-4500-982F-B7355FDCE074}" type="presParOf" srcId="{75679D68-C971-4953-8DBE-59CC76684E30}" destId="{FEB0C5A7-694E-4F1E-892B-56EDBAA81AB7}" srcOrd="0" destOrd="0" presId="urn:microsoft.com/office/officeart/2009/3/layout/HorizontalOrganizationChart"/>
    <dgm:cxn modelId="{64A017D5-F549-4EBC-B307-294976C97194}" type="presParOf" srcId="{FEB0C5A7-694E-4F1E-892B-56EDBAA81AB7}" destId="{83A068E7-16B4-4313-9BD7-86F2CC6ED717}" srcOrd="0" destOrd="0" presId="urn:microsoft.com/office/officeart/2009/3/layout/HorizontalOrganizationChart"/>
    <dgm:cxn modelId="{4E7512E0-3F1F-402B-9CED-0F934E58E3AF}" type="presParOf" srcId="{FEB0C5A7-694E-4F1E-892B-56EDBAA81AB7}" destId="{A6480A6F-B9F2-41EE-AF4B-E34F34808E52}" srcOrd="1" destOrd="0" presId="urn:microsoft.com/office/officeart/2009/3/layout/HorizontalOrganizationChart"/>
    <dgm:cxn modelId="{ADDD7AEB-DE67-4AF7-81D2-6ADB471E1AB0}" type="presParOf" srcId="{75679D68-C971-4953-8DBE-59CC76684E30}" destId="{3B1511B9-2CB6-4EE5-A072-C412CA5E1460}" srcOrd="1" destOrd="0" presId="urn:microsoft.com/office/officeart/2009/3/layout/HorizontalOrganizationChart"/>
    <dgm:cxn modelId="{A5E97885-9434-4CFE-B5BD-5C6A4C7F942B}" type="presParOf" srcId="{75679D68-C971-4953-8DBE-59CC76684E30}" destId="{3DC5C3BA-4BA4-4B23-9164-FE3A9D3B6DC8}" srcOrd="2" destOrd="0" presId="urn:microsoft.com/office/officeart/2009/3/layout/HorizontalOrganizationChart"/>
    <dgm:cxn modelId="{62A9E393-FDC5-4F50-A527-82A512120756}" type="presParOf" srcId="{D3896F1F-A879-4D26-A937-B6BD3CF93672}" destId="{501FCC22-A997-4163-86D1-18CF96D2C847}" srcOrd="2" destOrd="0" presId="urn:microsoft.com/office/officeart/2009/3/layout/HorizontalOrganizationChart"/>
    <dgm:cxn modelId="{6F22BCC9-036F-4989-B200-A3A925C25A48}" type="presParOf" srcId="{D3896F1F-A879-4D26-A937-B6BD3CF93672}" destId="{73DC2737-AE28-4599-BF47-8A413BD88520}" srcOrd="3" destOrd="0" presId="urn:microsoft.com/office/officeart/2009/3/layout/HorizontalOrganizationChart"/>
    <dgm:cxn modelId="{AED4EE52-86F0-4465-9633-007F0A171E12}" type="presParOf" srcId="{73DC2737-AE28-4599-BF47-8A413BD88520}" destId="{67A19D61-B496-4CCB-B6FD-094B27937291}" srcOrd="0" destOrd="0" presId="urn:microsoft.com/office/officeart/2009/3/layout/HorizontalOrganizationChart"/>
    <dgm:cxn modelId="{C70E4719-5935-408F-8C57-D4642DEA0B6D}" type="presParOf" srcId="{67A19D61-B496-4CCB-B6FD-094B27937291}" destId="{808B666D-E5F6-46A6-9724-A881F7C0FFFF}" srcOrd="0" destOrd="0" presId="urn:microsoft.com/office/officeart/2009/3/layout/HorizontalOrganizationChart"/>
    <dgm:cxn modelId="{8392755B-C5A6-431D-8C62-369A4C09D954}" type="presParOf" srcId="{67A19D61-B496-4CCB-B6FD-094B27937291}" destId="{2C41F697-0E28-482E-AA48-4CE8F1252801}" srcOrd="1" destOrd="0" presId="urn:microsoft.com/office/officeart/2009/3/layout/HorizontalOrganizationChart"/>
    <dgm:cxn modelId="{0B641C22-F483-484A-B0A7-3913493AC680}" type="presParOf" srcId="{73DC2737-AE28-4599-BF47-8A413BD88520}" destId="{516FE777-892C-4934-BD88-8A7C99F99675}" srcOrd="1" destOrd="0" presId="urn:microsoft.com/office/officeart/2009/3/layout/HorizontalOrganizationChart"/>
    <dgm:cxn modelId="{1AA587C5-6469-409A-B845-78E4E238DE05}" type="presParOf" srcId="{73DC2737-AE28-4599-BF47-8A413BD88520}" destId="{9391B30D-6099-4F7D-931E-5CA5E50A3576}" srcOrd="2" destOrd="0" presId="urn:microsoft.com/office/officeart/2009/3/layout/HorizontalOrganizationChart"/>
    <dgm:cxn modelId="{1FF5C01D-F94D-4B99-9D05-7FB2CC43FEAA}" type="presParOf" srcId="{FE4C99D6-65BF-48DF-B04A-68EB7417A1B0}" destId="{3FB5198A-F36E-40C3-9614-823EDC5B678C}" srcOrd="2" destOrd="0" presId="urn:microsoft.com/office/officeart/2009/3/layout/HorizontalOrganizationChart"/>
    <dgm:cxn modelId="{80BAFF79-1795-4711-89FA-E7B31E2DC74E}" type="presParOf" srcId="{1363C39E-132F-44FF-9F82-3EB8134AD84C}" destId="{F358C963-5BE0-455B-949E-74397151E2C2}" srcOrd="1" destOrd="0" presId="urn:microsoft.com/office/officeart/2009/3/layout/HorizontalOrganizationChart"/>
    <dgm:cxn modelId="{18F199BA-C267-4DD8-93BA-5E0EAF1E5EEC}" type="presParOf" srcId="{F358C963-5BE0-455B-949E-74397151E2C2}" destId="{6C3F996A-64B7-4D11-A5A7-2B626E9DBC61}" srcOrd="0" destOrd="0" presId="urn:microsoft.com/office/officeart/2009/3/layout/HorizontalOrganizationChart"/>
    <dgm:cxn modelId="{92FD325C-CA69-4B11-897D-D3CFB6452D75}" type="presParOf" srcId="{6C3F996A-64B7-4D11-A5A7-2B626E9DBC61}" destId="{16BDD1B1-6573-49A9-B5D7-5900380DA9FE}" srcOrd="0" destOrd="0" presId="urn:microsoft.com/office/officeart/2009/3/layout/HorizontalOrganizationChart"/>
    <dgm:cxn modelId="{07208AF7-6A86-4DD8-A399-7AD6CF4A0DB3}" type="presParOf" srcId="{6C3F996A-64B7-4D11-A5A7-2B626E9DBC61}" destId="{64294F2E-0A55-4FF7-B70A-76D6ADF390AD}" srcOrd="1" destOrd="0" presId="urn:microsoft.com/office/officeart/2009/3/layout/HorizontalOrganizationChart"/>
    <dgm:cxn modelId="{BC44D588-C5B5-4DA2-97C0-5DD18E633E84}" type="presParOf" srcId="{F358C963-5BE0-455B-949E-74397151E2C2}" destId="{7BEC5FF6-C856-4846-A476-DB98A7D46425}" srcOrd="1" destOrd="0" presId="urn:microsoft.com/office/officeart/2009/3/layout/HorizontalOrganizationChart"/>
    <dgm:cxn modelId="{746437FF-6620-4813-947C-79543166EFC0}" type="presParOf" srcId="{7BEC5FF6-C856-4846-A476-DB98A7D46425}" destId="{B8DEA176-23F1-49DC-93D7-61E1A4F2D62C}" srcOrd="0" destOrd="0" presId="urn:microsoft.com/office/officeart/2009/3/layout/HorizontalOrganizationChart"/>
    <dgm:cxn modelId="{FB7C8ED0-BAE1-42BA-B8C4-7976F6A67CD8}" type="presParOf" srcId="{7BEC5FF6-C856-4846-A476-DB98A7D46425}" destId="{75741D26-983A-435B-9AC3-79193AC24B67}" srcOrd="1" destOrd="0" presId="urn:microsoft.com/office/officeart/2009/3/layout/HorizontalOrganizationChart"/>
    <dgm:cxn modelId="{0D3FD6B7-ECDB-44C7-BFA8-5E423C5318F4}" type="presParOf" srcId="{75741D26-983A-435B-9AC3-79193AC24B67}" destId="{47C358C8-81AD-47F5-BA32-856AC58481B2}" srcOrd="0" destOrd="0" presId="urn:microsoft.com/office/officeart/2009/3/layout/HorizontalOrganizationChart"/>
    <dgm:cxn modelId="{5BC37D5D-E460-4513-86C3-2748E065C989}" type="presParOf" srcId="{47C358C8-81AD-47F5-BA32-856AC58481B2}" destId="{30F0C7C1-13E3-42E2-8FFB-DF4C270C725C}" srcOrd="0" destOrd="0" presId="urn:microsoft.com/office/officeart/2009/3/layout/HorizontalOrganizationChart"/>
    <dgm:cxn modelId="{2A978E9E-1C58-48A5-B99C-0C239A00FCC3}" type="presParOf" srcId="{47C358C8-81AD-47F5-BA32-856AC58481B2}" destId="{E2102E85-3A96-4B9A-ADF6-E44568DBE505}" srcOrd="1" destOrd="0" presId="urn:microsoft.com/office/officeart/2009/3/layout/HorizontalOrganizationChart"/>
    <dgm:cxn modelId="{E68066B2-797D-4CC6-B36A-D6ACCA2F76F0}" type="presParOf" srcId="{75741D26-983A-435B-9AC3-79193AC24B67}" destId="{28BA4C30-E545-46E1-8342-DBE51F874F7B}" srcOrd="1" destOrd="0" presId="urn:microsoft.com/office/officeart/2009/3/layout/HorizontalOrganizationChart"/>
    <dgm:cxn modelId="{4E9CC23D-8CF5-49ED-ACBA-5874FBDCA43B}" type="presParOf" srcId="{75741D26-983A-435B-9AC3-79193AC24B67}" destId="{4E006D7C-311F-40A1-8CF9-C16B2E4C1368}" srcOrd="2" destOrd="0" presId="urn:microsoft.com/office/officeart/2009/3/layout/HorizontalOrganizationChart"/>
    <dgm:cxn modelId="{825DA910-7FE6-43C3-B7BD-6CD71C5F916F}" type="presParOf" srcId="{7BEC5FF6-C856-4846-A476-DB98A7D46425}" destId="{38CAB2FC-CDD3-4A35-A221-9A549B4B8A33}" srcOrd="2" destOrd="0" presId="urn:microsoft.com/office/officeart/2009/3/layout/HorizontalOrganizationChart"/>
    <dgm:cxn modelId="{5BF5608B-0FC4-4742-AA0B-4A51DBB80BF0}" type="presParOf" srcId="{7BEC5FF6-C856-4846-A476-DB98A7D46425}" destId="{FF5D2CCD-1E7D-4B64-B325-D5829E55109C}" srcOrd="3" destOrd="0" presId="urn:microsoft.com/office/officeart/2009/3/layout/HorizontalOrganizationChart"/>
    <dgm:cxn modelId="{39E13800-6247-4274-92BD-C544F3A6D6CB}" type="presParOf" srcId="{FF5D2CCD-1E7D-4B64-B325-D5829E55109C}" destId="{0654D5FE-0349-4776-A15E-F58FDDE363B8}" srcOrd="0" destOrd="0" presId="urn:microsoft.com/office/officeart/2009/3/layout/HorizontalOrganizationChart"/>
    <dgm:cxn modelId="{3C497C5B-DE9C-44D5-9184-0A9F89AAAE0B}" type="presParOf" srcId="{0654D5FE-0349-4776-A15E-F58FDDE363B8}" destId="{1EADD7DE-598F-474D-8DE1-B38E166EFCE4}" srcOrd="0" destOrd="0" presId="urn:microsoft.com/office/officeart/2009/3/layout/HorizontalOrganizationChart"/>
    <dgm:cxn modelId="{A1C59128-9B43-4DEA-8393-22C797358785}" type="presParOf" srcId="{0654D5FE-0349-4776-A15E-F58FDDE363B8}" destId="{BDE4A4FF-134F-4B07-9A39-8219F99B66D2}" srcOrd="1" destOrd="0" presId="urn:microsoft.com/office/officeart/2009/3/layout/HorizontalOrganizationChart"/>
    <dgm:cxn modelId="{EB6B32C1-F4DD-46DF-83FC-5F6559E70AA0}" type="presParOf" srcId="{FF5D2CCD-1E7D-4B64-B325-D5829E55109C}" destId="{FE7F874B-5677-4740-8EE2-C4117C1D5D5F}" srcOrd="1" destOrd="0" presId="urn:microsoft.com/office/officeart/2009/3/layout/HorizontalOrganizationChart"/>
    <dgm:cxn modelId="{A3904B8B-C3A5-4491-BC61-220EF8869936}" type="presParOf" srcId="{FF5D2CCD-1E7D-4B64-B325-D5829E55109C}" destId="{A801AF83-E4AA-40B2-BD76-3DA93FAE1075}" srcOrd="2" destOrd="0" presId="urn:microsoft.com/office/officeart/2009/3/layout/HorizontalOrganizationChart"/>
    <dgm:cxn modelId="{75E1C365-3786-4712-9A20-E39438DBF546}" type="presParOf" srcId="{7BEC5FF6-C856-4846-A476-DB98A7D46425}" destId="{B0587C9F-B446-4D5B-8CAF-5E2324A6DE5C}" srcOrd="4" destOrd="0" presId="urn:microsoft.com/office/officeart/2009/3/layout/HorizontalOrganizationChart"/>
    <dgm:cxn modelId="{0E1B019E-F867-4043-B570-A785EF1A91BB}" type="presParOf" srcId="{7BEC5FF6-C856-4846-A476-DB98A7D46425}" destId="{6521518A-043E-4A34-933C-F4ECCCD10F9E}" srcOrd="5" destOrd="0" presId="urn:microsoft.com/office/officeart/2009/3/layout/HorizontalOrganizationChart"/>
    <dgm:cxn modelId="{F34BEFD7-E04D-4EFC-B96C-7043938B4784}" type="presParOf" srcId="{6521518A-043E-4A34-933C-F4ECCCD10F9E}" destId="{50F13299-1CEA-4B4B-AE48-F97E1FF6E556}" srcOrd="0" destOrd="0" presId="urn:microsoft.com/office/officeart/2009/3/layout/HorizontalOrganizationChart"/>
    <dgm:cxn modelId="{BF20F78C-5267-44D8-B84A-C7908947AA3A}" type="presParOf" srcId="{50F13299-1CEA-4B4B-AE48-F97E1FF6E556}" destId="{8E5C6820-90B3-4DDB-AD4C-95FBE90236CE}" srcOrd="0" destOrd="0" presId="urn:microsoft.com/office/officeart/2009/3/layout/HorizontalOrganizationChart"/>
    <dgm:cxn modelId="{388C5DF2-99B6-4EE8-BC67-B9B6DECABB2E}" type="presParOf" srcId="{50F13299-1CEA-4B4B-AE48-F97E1FF6E556}" destId="{52E70FDB-384C-4ADD-A33D-C28E189EB912}" srcOrd="1" destOrd="0" presId="urn:microsoft.com/office/officeart/2009/3/layout/HorizontalOrganizationChart"/>
    <dgm:cxn modelId="{996830F4-832F-4D6E-87D6-8B96EF82CF8F}" type="presParOf" srcId="{6521518A-043E-4A34-933C-F4ECCCD10F9E}" destId="{FCD922E9-F015-4453-9EC5-395836D9B670}" srcOrd="1" destOrd="0" presId="urn:microsoft.com/office/officeart/2009/3/layout/HorizontalOrganizationChart"/>
    <dgm:cxn modelId="{273EDA9B-DA2F-42B1-B0B2-8919171DCBF4}" type="presParOf" srcId="{6521518A-043E-4A34-933C-F4ECCCD10F9E}" destId="{FC55A75F-D58E-4C6E-BEE7-F07E52A1D071}" srcOrd="2" destOrd="0" presId="urn:microsoft.com/office/officeart/2009/3/layout/HorizontalOrganizationChart"/>
    <dgm:cxn modelId="{EBAA05EF-0BD1-47D6-AEFA-1167AE312DBC}" type="presParOf" srcId="{F358C963-5BE0-455B-949E-74397151E2C2}" destId="{94CD9E86-7D3C-4C22-B9AF-4795860EAE86}"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13FFBC-1CEE-42EA-AC62-FFC054D8C46E}" type="doc">
      <dgm:prSet loTypeId="urn:microsoft.com/office/officeart/2009/3/layout/StepUpProcess" loCatId="process" qsTypeId="urn:microsoft.com/office/officeart/2005/8/quickstyle/simple1" qsCatId="simple" csTypeId="urn:microsoft.com/office/officeart/2005/8/colors/accent0_3" csCatId="mainScheme" phldr="1"/>
      <dgm:spPr/>
      <dgm:t>
        <a:bodyPr/>
        <a:lstStyle/>
        <a:p>
          <a:endParaRPr lang="en-GB"/>
        </a:p>
      </dgm:t>
    </dgm:pt>
    <dgm:pt modelId="{F4271238-9C86-47D2-A155-EAAB9C578927}">
      <dgm:prSet custT="1"/>
      <dgm:spPr/>
      <dgm:t>
        <a:bodyPr/>
        <a:lstStyle/>
        <a:p>
          <a:pPr algn="ctr"/>
          <a:r>
            <a:rPr lang="en-GB" sz="1800">
              <a:solidFill>
                <a:schemeClr val="tx1"/>
              </a:solidFill>
            </a:rPr>
            <a:t>Awareness</a:t>
          </a:r>
        </a:p>
        <a:p>
          <a:pPr algn="ctr"/>
          <a:r>
            <a:rPr lang="en-GB" sz="1400">
              <a:solidFill>
                <a:schemeClr val="tx1"/>
              </a:solidFill>
            </a:rPr>
            <a:t>“Provide Context”</a:t>
          </a:r>
        </a:p>
      </dgm:t>
    </dgm:pt>
    <dgm:pt modelId="{4BDE395A-27D3-4A16-8F21-0478BFB66361}" type="parTrans" cxnId="{AC926DFA-C01C-496D-BDB8-01EB1B31C232}">
      <dgm:prSet/>
      <dgm:spPr/>
      <dgm:t>
        <a:bodyPr/>
        <a:lstStyle/>
        <a:p>
          <a:endParaRPr lang="en-GB"/>
        </a:p>
      </dgm:t>
    </dgm:pt>
    <dgm:pt modelId="{EB76DEA0-12E6-4335-8D18-EAF8391333D6}" type="sibTrans" cxnId="{AC926DFA-C01C-496D-BDB8-01EB1B31C232}">
      <dgm:prSet/>
      <dgm:spPr/>
      <dgm:t>
        <a:bodyPr/>
        <a:lstStyle/>
        <a:p>
          <a:endParaRPr lang="en-GB"/>
        </a:p>
      </dgm:t>
    </dgm:pt>
    <dgm:pt modelId="{F3BB100C-B4F8-4F04-8580-844FEEBC1122}">
      <dgm:prSet custT="1"/>
      <dgm:spPr/>
      <dgm:t>
        <a:bodyPr/>
        <a:lstStyle/>
        <a:p>
          <a:pPr algn="ctr"/>
          <a:r>
            <a:rPr lang="en-GB" sz="1800">
              <a:solidFill>
                <a:schemeClr val="tx1"/>
              </a:solidFill>
            </a:rPr>
            <a:t>Understanding</a:t>
          </a:r>
        </a:p>
        <a:p>
          <a:pPr algn="ctr"/>
          <a:r>
            <a:rPr lang="en-GB" sz="1400">
              <a:solidFill>
                <a:schemeClr val="tx1"/>
              </a:solidFill>
            </a:rPr>
            <a:t>“Create Momentum”</a:t>
          </a:r>
        </a:p>
      </dgm:t>
    </dgm:pt>
    <dgm:pt modelId="{A7DFACAD-B80F-4D16-95F9-9FCF183CE456}" type="parTrans" cxnId="{64C4F310-F4A3-4F05-B97D-EB14502D48C1}">
      <dgm:prSet/>
      <dgm:spPr/>
      <dgm:t>
        <a:bodyPr/>
        <a:lstStyle/>
        <a:p>
          <a:endParaRPr lang="en-GB"/>
        </a:p>
      </dgm:t>
    </dgm:pt>
    <dgm:pt modelId="{9547A460-8529-4D65-9AC0-63AEB24BD40D}" type="sibTrans" cxnId="{64C4F310-F4A3-4F05-B97D-EB14502D48C1}">
      <dgm:prSet/>
      <dgm:spPr/>
      <dgm:t>
        <a:bodyPr/>
        <a:lstStyle/>
        <a:p>
          <a:endParaRPr lang="en-GB"/>
        </a:p>
      </dgm:t>
    </dgm:pt>
    <dgm:pt modelId="{32E93927-1DA7-41E0-97FC-A8A42EA55892}">
      <dgm:prSet custT="1"/>
      <dgm:spPr/>
      <dgm:t>
        <a:bodyPr/>
        <a:lstStyle/>
        <a:p>
          <a:pPr algn="ctr"/>
          <a:r>
            <a:rPr lang="en-GB" sz="1800">
              <a:solidFill>
                <a:schemeClr val="tx1"/>
              </a:solidFill>
            </a:rPr>
            <a:t>Enablement</a:t>
          </a:r>
        </a:p>
        <a:p>
          <a:pPr algn="ctr"/>
          <a:r>
            <a:rPr lang="en-GB" sz="1400">
              <a:solidFill>
                <a:schemeClr val="tx1"/>
              </a:solidFill>
            </a:rPr>
            <a:t>“Increase knowledge, </a:t>
          </a:r>
        </a:p>
        <a:p>
          <a:pPr algn="ctr"/>
          <a:r>
            <a:rPr lang="en-GB" sz="1400">
              <a:solidFill>
                <a:schemeClr val="tx1"/>
              </a:solidFill>
            </a:rPr>
            <a:t>Provide support”</a:t>
          </a:r>
        </a:p>
      </dgm:t>
    </dgm:pt>
    <dgm:pt modelId="{5ED1F745-EC5A-42C7-9344-1743ACAE933C}" type="parTrans" cxnId="{C9B724F2-E63B-49E1-A66A-3D7FD1BC7762}">
      <dgm:prSet/>
      <dgm:spPr/>
      <dgm:t>
        <a:bodyPr/>
        <a:lstStyle/>
        <a:p>
          <a:endParaRPr lang="en-GB"/>
        </a:p>
      </dgm:t>
    </dgm:pt>
    <dgm:pt modelId="{4783E172-FAC7-4613-8303-E058A1335E9B}" type="sibTrans" cxnId="{C9B724F2-E63B-49E1-A66A-3D7FD1BC7762}">
      <dgm:prSet/>
      <dgm:spPr/>
      <dgm:t>
        <a:bodyPr/>
        <a:lstStyle/>
        <a:p>
          <a:endParaRPr lang="en-GB"/>
        </a:p>
      </dgm:t>
    </dgm:pt>
    <dgm:pt modelId="{A0C155AC-72F7-4C3C-9444-F6C7E5715DDC}">
      <dgm:prSet custT="1"/>
      <dgm:spPr/>
      <dgm:t>
        <a:bodyPr/>
        <a:lstStyle/>
        <a:p>
          <a:pPr algn="ctr"/>
          <a:r>
            <a:rPr lang="en-GB" sz="1800">
              <a:solidFill>
                <a:schemeClr val="tx1"/>
              </a:solidFill>
            </a:rPr>
            <a:t>Adoption</a:t>
          </a:r>
        </a:p>
        <a:p>
          <a:pPr algn="ctr"/>
          <a:r>
            <a:rPr lang="en-GB" sz="1400">
              <a:solidFill>
                <a:schemeClr val="tx1"/>
              </a:solidFill>
            </a:rPr>
            <a:t>“Change Behaviours”</a:t>
          </a:r>
        </a:p>
      </dgm:t>
    </dgm:pt>
    <dgm:pt modelId="{FF213198-F8AB-48E7-B1FE-CFD91F4FA847}" type="parTrans" cxnId="{82112063-F723-4634-8530-93DF9C2809EC}">
      <dgm:prSet/>
      <dgm:spPr/>
      <dgm:t>
        <a:bodyPr/>
        <a:lstStyle/>
        <a:p>
          <a:endParaRPr lang="en-GB"/>
        </a:p>
      </dgm:t>
    </dgm:pt>
    <dgm:pt modelId="{59699AAA-D6DE-4098-B1B6-F2D74B8EB721}" type="sibTrans" cxnId="{82112063-F723-4634-8530-93DF9C2809EC}">
      <dgm:prSet/>
      <dgm:spPr/>
      <dgm:t>
        <a:bodyPr/>
        <a:lstStyle/>
        <a:p>
          <a:endParaRPr lang="en-GB"/>
        </a:p>
      </dgm:t>
    </dgm:pt>
    <dgm:pt modelId="{E6A5B1EB-5A0F-4842-9854-3ACF39C2CCAC}" type="pres">
      <dgm:prSet presAssocID="{9813FFBC-1CEE-42EA-AC62-FFC054D8C46E}" presName="rootnode" presStyleCnt="0">
        <dgm:presLayoutVars>
          <dgm:chMax/>
          <dgm:chPref/>
          <dgm:dir/>
          <dgm:animLvl val="lvl"/>
        </dgm:presLayoutVars>
      </dgm:prSet>
      <dgm:spPr/>
    </dgm:pt>
    <dgm:pt modelId="{BA346D5E-CD60-442B-A42A-F9BD8E15257D}" type="pres">
      <dgm:prSet presAssocID="{F4271238-9C86-47D2-A155-EAAB9C578927}" presName="composite" presStyleCnt="0"/>
      <dgm:spPr/>
    </dgm:pt>
    <dgm:pt modelId="{9E8B13FB-C175-43C8-9A82-D1F3806A9FD4}" type="pres">
      <dgm:prSet presAssocID="{F4271238-9C86-47D2-A155-EAAB9C578927}" presName="LShape" presStyleLbl="alignNode1" presStyleIdx="0" presStyleCnt="7"/>
      <dgm:spPr/>
    </dgm:pt>
    <dgm:pt modelId="{824A309D-CD76-47D0-9FEB-D4A4C8104933}" type="pres">
      <dgm:prSet presAssocID="{F4271238-9C86-47D2-A155-EAAB9C578927}" presName="ParentText" presStyleLbl="revTx" presStyleIdx="0" presStyleCnt="4">
        <dgm:presLayoutVars>
          <dgm:chMax val="0"/>
          <dgm:chPref val="0"/>
          <dgm:bulletEnabled val="1"/>
        </dgm:presLayoutVars>
      </dgm:prSet>
      <dgm:spPr/>
    </dgm:pt>
    <dgm:pt modelId="{A13FD09B-E81E-4C82-ABEB-743DDB7B197F}" type="pres">
      <dgm:prSet presAssocID="{F4271238-9C86-47D2-A155-EAAB9C578927}" presName="Triangle" presStyleLbl="alignNode1" presStyleIdx="1" presStyleCnt="7"/>
      <dgm:spPr/>
    </dgm:pt>
    <dgm:pt modelId="{074599AD-D9D5-4007-862C-84FC65B1BA7A}" type="pres">
      <dgm:prSet presAssocID="{EB76DEA0-12E6-4335-8D18-EAF8391333D6}" presName="sibTrans" presStyleCnt="0"/>
      <dgm:spPr/>
    </dgm:pt>
    <dgm:pt modelId="{7BA89A24-F852-430A-9636-F6BE7D335E11}" type="pres">
      <dgm:prSet presAssocID="{EB76DEA0-12E6-4335-8D18-EAF8391333D6}" presName="space" presStyleCnt="0"/>
      <dgm:spPr/>
    </dgm:pt>
    <dgm:pt modelId="{B2A71D00-65C5-4932-B343-B8FAB8A3C5DE}" type="pres">
      <dgm:prSet presAssocID="{F3BB100C-B4F8-4F04-8580-844FEEBC1122}" presName="composite" presStyleCnt="0"/>
      <dgm:spPr/>
    </dgm:pt>
    <dgm:pt modelId="{02128CB3-EB23-4448-97A8-7F6DA8EB47A5}" type="pres">
      <dgm:prSet presAssocID="{F3BB100C-B4F8-4F04-8580-844FEEBC1122}" presName="LShape" presStyleLbl="alignNode1" presStyleIdx="2" presStyleCnt="7"/>
      <dgm:spPr/>
    </dgm:pt>
    <dgm:pt modelId="{675C4198-D625-466B-BFF9-B894A694AA10}" type="pres">
      <dgm:prSet presAssocID="{F3BB100C-B4F8-4F04-8580-844FEEBC1122}" presName="ParentText" presStyleLbl="revTx" presStyleIdx="1" presStyleCnt="4">
        <dgm:presLayoutVars>
          <dgm:chMax val="0"/>
          <dgm:chPref val="0"/>
          <dgm:bulletEnabled val="1"/>
        </dgm:presLayoutVars>
      </dgm:prSet>
      <dgm:spPr/>
    </dgm:pt>
    <dgm:pt modelId="{42F54CD2-B31B-4819-913D-89EC340297F0}" type="pres">
      <dgm:prSet presAssocID="{F3BB100C-B4F8-4F04-8580-844FEEBC1122}" presName="Triangle" presStyleLbl="alignNode1" presStyleIdx="3" presStyleCnt="7"/>
      <dgm:spPr/>
    </dgm:pt>
    <dgm:pt modelId="{54B6CEC3-7BDA-4782-819D-AB1515A4AF3D}" type="pres">
      <dgm:prSet presAssocID="{9547A460-8529-4D65-9AC0-63AEB24BD40D}" presName="sibTrans" presStyleCnt="0"/>
      <dgm:spPr/>
    </dgm:pt>
    <dgm:pt modelId="{3A31A24B-2C8A-459A-A74E-E55233D0FEB5}" type="pres">
      <dgm:prSet presAssocID="{9547A460-8529-4D65-9AC0-63AEB24BD40D}" presName="space" presStyleCnt="0"/>
      <dgm:spPr/>
    </dgm:pt>
    <dgm:pt modelId="{001FBEC6-2C35-4718-881D-E1500BE4595D}" type="pres">
      <dgm:prSet presAssocID="{32E93927-1DA7-41E0-97FC-A8A42EA55892}" presName="composite" presStyleCnt="0"/>
      <dgm:spPr/>
    </dgm:pt>
    <dgm:pt modelId="{66F5A256-266D-4BE7-AFD3-BCD01C5DAD2B}" type="pres">
      <dgm:prSet presAssocID="{32E93927-1DA7-41E0-97FC-A8A42EA55892}" presName="LShape" presStyleLbl="alignNode1" presStyleIdx="4" presStyleCnt="7"/>
      <dgm:spPr/>
    </dgm:pt>
    <dgm:pt modelId="{C40F3DFB-641A-4E3F-AB78-BBB58F9DA603}" type="pres">
      <dgm:prSet presAssocID="{32E93927-1DA7-41E0-97FC-A8A42EA55892}" presName="ParentText" presStyleLbl="revTx" presStyleIdx="2" presStyleCnt="4">
        <dgm:presLayoutVars>
          <dgm:chMax val="0"/>
          <dgm:chPref val="0"/>
          <dgm:bulletEnabled val="1"/>
        </dgm:presLayoutVars>
      </dgm:prSet>
      <dgm:spPr/>
    </dgm:pt>
    <dgm:pt modelId="{81D15E99-D550-4B39-A864-34A6E38FCB65}" type="pres">
      <dgm:prSet presAssocID="{32E93927-1DA7-41E0-97FC-A8A42EA55892}" presName="Triangle" presStyleLbl="alignNode1" presStyleIdx="5" presStyleCnt="7"/>
      <dgm:spPr/>
    </dgm:pt>
    <dgm:pt modelId="{0854CD24-4313-44B2-8D24-447B456F7738}" type="pres">
      <dgm:prSet presAssocID="{4783E172-FAC7-4613-8303-E058A1335E9B}" presName="sibTrans" presStyleCnt="0"/>
      <dgm:spPr/>
    </dgm:pt>
    <dgm:pt modelId="{BA643373-58E1-4B4D-975E-64386257E5DB}" type="pres">
      <dgm:prSet presAssocID="{4783E172-FAC7-4613-8303-E058A1335E9B}" presName="space" presStyleCnt="0"/>
      <dgm:spPr/>
    </dgm:pt>
    <dgm:pt modelId="{A1E9B2DE-A3E0-4255-B176-B2C74DD5E762}" type="pres">
      <dgm:prSet presAssocID="{A0C155AC-72F7-4C3C-9444-F6C7E5715DDC}" presName="composite" presStyleCnt="0"/>
      <dgm:spPr/>
    </dgm:pt>
    <dgm:pt modelId="{4FF426B4-E48A-4252-BAAD-B02755E253BB}" type="pres">
      <dgm:prSet presAssocID="{A0C155AC-72F7-4C3C-9444-F6C7E5715DDC}" presName="LShape" presStyleLbl="alignNode1" presStyleIdx="6" presStyleCnt="7"/>
      <dgm:spPr/>
    </dgm:pt>
    <dgm:pt modelId="{47EFA488-19BB-4254-8BDC-9FD2C7E7B549}" type="pres">
      <dgm:prSet presAssocID="{A0C155AC-72F7-4C3C-9444-F6C7E5715DDC}" presName="ParentText" presStyleLbl="revTx" presStyleIdx="3" presStyleCnt="4">
        <dgm:presLayoutVars>
          <dgm:chMax val="0"/>
          <dgm:chPref val="0"/>
          <dgm:bulletEnabled val="1"/>
        </dgm:presLayoutVars>
      </dgm:prSet>
      <dgm:spPr/>
    </dgm:pt>
  </dgm:ptLst>
  <dgm:cxnLst>
    <dgm:cxn modelId="{D20CBB04-CD8B-400A-A06D-9DE099840286}" type="presOf" srcId="{F3BB100C-B4F8-4F04-8580-844FEEBC1122}" destId="{675C4198-D625-466B-BFF9-B894A694AA10}" srcOrd="0" destOrd="0" presId="urn:microsoft.com/office/officeart/2009/3/layout/StepUpProcess"/>
    <dgm:cxn modelId="{9A312B06-7C1B-48D8-BFF2-61B16551C712}" type="presOf" srcId="{F4271238-9C86-47D2-A155-EAAB9C578927}" destId="{824A309D-CD76-47D0-9FEB-D4A4C8104933}" srcOrd="0" destOrd="0" presId="urn:microsoft.com/office/officeart/2009/3/layout/StepUpProcess"/>
    <dgm:cxn modelId="{64C4F310-F4A3-4F05-B97D-EB14502D48C1}" srcId="{9813FFBC-1CEE-42EA-AC62-FFC054D8C46E}" destId="{F3BB100C-B4F8-4F04-8580-844FEEBC1122}" srcOrd="1" destOrd="0" parTransId="{A7DFACAD-B80F-4D16-95F9-9FCF183CE456}" sibTransId="{9547A460-8529-4D65-9AC0-63AEB24BD40D}"/>
    <dgm:cxn modelId="{82112063-F723-4634-8530-93DF9C2809EC}" srcId="{9813FFBC-1CEE-42EA-AC62-FFC054D8C46E}" destId="{A0C155AC-72F7-4C3C-9444-F6C7E5715DDC}" srcOrd="3" destOrd="0" parTransId="{FF213198-F8AB-48E7-B1FE-CFD91F4FA847}" sibTransId="{59699AAA-D6DE-4098-B1B6-F2D74B8EB721}"/>
    <dgm:cxn modelId="{9BAB366E-89EA-4181-9703-34BB44B3C084}" type="presOf" srcId="{A0C155AC-72F7-4C3C-9444-F6C7E5715DDC}" destId="{47EFA488-19BB-4254-8BDC-9FD2C7E7B549}" srcOrd="0" destOrd="0" presId="urn:microsoft.com/office/officeart/2009/3/layout/StepUpProcess"/>
    <dgm:cxn modelId="{F16E19A2-7E4F-41F2-B393-B5B0E7C50B9F}" type="presOf" srcId="{32E93927-1DA7-41E0-97FC-A8A42EA55892}" destId="{C40F3DFB-641A-4E3F-AB78-BBB58F9DA603}" srcOrd="0" destOrd="0" presId="urn:microsoft.com/office/officeart/2009/3/layout/StepUpProcess"/>
    <dgm:cxn modelId="{13422AC8-4083-41AD-B955-84B045E4632C}" type="presOf" srcId="{9813FFBC-1CEE-42EA-AC62-FFC054D8C46E}" destId="{E6A5B1EB-5A0F-4842-9854-3ACF39C2CCAC}" srcOrd="0" destOrd="0" presId="urn:microsoft.com/office/officeart/2009/3/layout/StepUpProcess"/>
    <dgm:cxn modelId="{C9B724F2-E63B-49E1-A66A-3D7FD1BC7762}" srcId="{9813FFBC-1CEE-42EA-AC62-FFC054D8C46E}" destId="{32E93927-1DA7-41E0-97FC-A8A42EA55892}" srcOrd="2" destOrd="0" parTransId="{5ED1F745-EC5A-42C7-9344-1743ACAE933C}" sibTransId="{4783E172-FAC7-4613-8303-E058A1335E9B}"/>
    <dgm:cxn modelId="{AC926DFA-C01C-496D-BDB8-01EB1B31C232}" srcId="{9813FFBC-1CEE-42EA-AC62-FFC054D8C46E}" destId="{F4271238-9C86-47D2-A155-EAAB9C578927}" srcOrd="0" destOrd="0" parTransId="{4BDE395A-27D3-4A16-8F21-0478BFB66361}" sibTransId="{EB76DEA0-12E6-4335-8D18-EAF8391333D6}"/>
    <dgm:cxn modelId="{577E90C6-7399-4151-B80D-78DEBE802DDD}" type="presParOf" srcId="{E6A5B1EB-5A0F-4842-9854-3ACF39C2CCAC}" destId="{BA346D5E-CD60-442B-A42A-F9BD8E15257D}" srcOrd="0" destOrd="0" presId="urn:microsoft.com/office/officeart/2009/3/layout/StepUpProcess"/>
    <dgm:cxn modelId="{68888353-9A47-4F57-91E5-A11FD7B5F27C}" type="presParOf" srcId="{BA346D5E-CD60-442B-A42A-F9BD8E15257D}" destId="{9E8B13FB-C175-43C8-9A82-D1F3806A9FD4}" srcOrd="0" destOrd="0" presId="urn:microsoft.com/office/officeart/2009/3/layout/StepUpProcess"/>
    <dgm:cxn modelId="{C9253794-15AF-4742-880C-45870987BCD7}" type="presParOf" srcId="{BA346D5E-CD60-442B-A42A-F9BD8E15257D}" destId="{824A309D-CD76-47D0-9FEB-D4A4C8104933}" srcOrd="1" destOrd="0" presId="urn:microsoft.com/office/officeart/2009/3/layout/StepUpProcess"/>
    <dgm:cxn modelId="{E45C5859-8926-4135-B8D6-2CF09400EB9B}" type="presParOf" srcId="{BA346D5E-CD60-442B-A42A-F9BD8E15257D}" destId="{A13FD09B-E81E-4C82-ABEB-743DDB7B197F}" srcOrd="2" destOrd="0" presId="urn:microsoft.com/office/officeart/2009/3/layout/StepUpProcess"/>
    <dgm:cxn modelId="{F58EA5F0-FD60-4855-8D4C-7367BC2FB5A8}" type="presParOf" srcId="{E6A5B1EB-5A0F-4842-9854-3ACF39C2CCAC}" destId="{074599AD-D9D5-4007-862C-84FC65B1BA7A}" srcOrd="1" destOrd="0" presId="urn:microsoft.com/office/officeart/2009/3/layout/StepUpProcess"/>
    <dgm:cxn modelId="{FF4F4162-8FB0-4FAF-A459-A84BAA8D244D}" type="presParOf" srcId="{074599AD-D9D5-4007-862C-84FC65B1BA7A}" destId="{7BA89A24-F852-430A-9636-F6BE7D335E11}" srcOrd="0" destOrd="0" presId="urn:microsoft.com/office/officeart/2009/3/layout/StepUpProcess"/>
    <dgm:cxn modelId="{514656DA-0875-41B0-B9BC-E2F9819797E5}" type="presParOf" srcId="{E6A5B1EB-5A0F-4842-9854-3ACF39C2CCAC}" destId="{B2A71D00-65C5-4932-B343-B8FAB8A3C5DE}" srcOrd="2" destOrd="0" presId="urn:microsoft.com/office/officeart/2009/3/layout/StepUpProcess"/>
    <dgm:cxn modelId="{26BCA42B-A583-424D-9C1E-DA350F3AAAFE}" type="presParOf" srcId="{B2A71D00-65C5-4932-B343-B8FAB8A3C5DE}" destId="{02128CB3-EB23-4448-97A8-7F6DA8EB47A5}" srcOrd="0" destOrd="0" presId="urn:microsoft.com/office/officeart/2009/3/layout/StepUpProcess"/>
    <dgm:cxn modelId="{278299A3-10EF-49AC-B4D7-DFB5EEE07F53}" type="presParOf" srcId="{B2A71D00-65C5-4932-B343-B8FAB8A3C5DE}" destId="{675C4198-D625-466B-BFF9-B894A694AA10}" srcOrd="1" destOrd="0" presId="urn:microsoft.com/office/officeart/2009/3/layout/StepUpProcess"/>
    <dgm:cxn modelId="{BF7CFFE0-68E6-442E-BB7F-E399AA4EC088}" type="presParOf" srcId="{B2A71D00-65C5-4932-B343-B8FAB8A3C5DE}" destId="{42F54CD2-B31B-4819-913D-89EC340297F0}" srcOrd="2" destOrd="0" presId="urn:microsoft.com/office/officeart/2009/3/layout/StepUpProcess"/>
    <dgm:cxn modelId="{35F54F3B-6646-4385-8948-A2ABCFA29865}" type="presParOf" srcId="{E6A5B1EB-5A0F-4842-9854-3ACF39C2CCAC}" destId="{54B6CEC3-7BDA-4782-819D-AB1515A4AF3D}" srcOrd="3" destOrd="0" presId="urn:microsoft.com/office/officeart/2009/3/layout/StepUpProcess"/>
    <dgm:cxn modelId="{19313FBD-1DCC-4798-946A-EC80FC52872C}" type="presParOf" srcId="{54B6CEC3-7BDA-4782-819D-AB1515A4AF3D}" destId="{3A31A24B-2C8A-459A-A74E-E55233D0FEB5}" srcOrd="0" destOrd="0" presId="urn:microsoft.com/office/officeart/2009/3/layout/StepUpProcess"/>
    <dgm:cxn modelId="{9DDEA218-39AE-4030-A09E-2AD98C963F25}" type="presParOf" srcId="{E6A5B1EB-5A0F-4842-9854-3ACF39C2CCAC}" destId="{001FBEC6-2C35-4718-881D-E1500BE4595D}" srcOrd="4" destOrd="0" presId="urn:microsoft.com/office/officeart/2009/3/layout/StepUpProcess"/>
    <dgm:cxn modelId="{9846AF72-BE36-47B6-A58E-83638DB9B0EE}" type="presParOf" srcId="{001FBEC6-2C35-4718-881D-E1500BE4595D}" destId="{66F5A256-266D-4BE7-AFD3-BCD01C5DAD2B}" srcOrd="0" destOrd="0" presId="urn:microsoft.com/office/officeart/2009/3/layout/StepUpProcess"/>
    <dgm:cxn modelId="{B6B61570-BB60-413D-BBC7-E8427A02B175}" type="presParOf" srcId="{001FBEC6-2C35-4718-881D-E1500BE4595D}" destId="{C40F3DFB-641A-4E3F-AB78-BBB58F9DA603}" srcOrd="1" destOrd="0" presId="urn:microsoft.com/office/officeart/2009/3/layout/StepUpProcess"/>
    <dgm:cxn modelId="{54ECABAA-71D3-43E1-9EEB-565F56A577D2}" type="presParOf" srcId="{001FBEC6-2C35-4718-881D-E1500BE4595D}" destId="{81D15E99-D550-4B39-A864-34A6E38FCB65}" srcOrd="2" destOrd="0" presId="urn:microsoft.com/office/officeart/2009/3/layout/StepUpProcess"/>
    <dgm:cxn modelId="{0F8196DC-84A5-49DA-9C41-30366DE9DBB7}" type="presParOf" srcId="{E6A5B1EB-5A0F-4842-9854-3ACF39C2CCAC}" destId="{0854CD24-4313-44B2-8D24-447B456F7738}" srcOrd="5" destOrd="0" presId="urn:microsoft.com/office/officeart/2009/3/layout/StepUpProcess"/>
    <dgm:cxn modelId="{A3883FBB-10C4-42E9-BF4A-B0ECEC36C855}" type="presParOf" srcId="{0854CD24-4313-44B2-8D24-447B456F7738}" destId="{BA643373-58E1-4B4D-975E-64386257E5DB}" srcOrd="0" destOrd="0" presId="urn:microsoft.com/office/officeart/2009/3/layout/StepUpProcess"/>
    <dgm:cxn modelId="{8E81E1AC-FE9F-4196-8CB9-B1CC12025677}" type="presParOf" srcId="{E6A5B1EB-5A0F-4842-9854-3ACF39C2CCAC}" destId="{A1E9B2DE-A3E0-4255-B176-B2C74DD5E762}" srcOrd="6" destOrd="0" presId="urn:microsoft.com/office/officeart/2009/3/layout/StepUpProcess"/>
    <dgm:cxn modelId="{C793C074-DCA2-46F8-99EB-D327572209BE}" type="presParOf" srcId="{A1E9B2DE-A3E0-4255-B176-B2C74DD5E762}" destId="{4FF426B4-E48A-4252-BAAD-B02755E253BB}" srcOrd="0" destOrd="0" presId="urn:microsoft.com/office/officeart/2009/3/layout/StepUpProcess"/>
    <dgm:cxn modelId="{B2CB7351-612E-40FA-B3F9-3764F8220581}" type="presParOf" srcId="{A1E9B2DE-A3E0-4255-B176-B2C74DD5E762}" destId="{47EFA488-19BB-4254-8BDC-9FD2C7E7B549}"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41616A5-29C3-4E27-B1BE-55EE1A0173C6}"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US"/>
        </a:p>
      </dgm:t>
    </dgm:pt>
    <dgm:pt modelId="{84176246-96FD-467B-B883-7597FFE71F64}">
      <dgm:prSet/>
      <dgm:spPr/>
      <dgm:t>
        <a:bodyPr/>
        <a:lstStyle/>
        <a:p>
          <a:r>
            <a:rPr lang="en-GB" baseline="0"/>
            <a:t>Plan for adoption</a:t>
          </a:r>
          <a:endParaRPr lang="en-GB"/>
        </a:p>
      </dgm:t>
    </dgm:pt>
    <dgm:pt modelId="{E9AFECFA-6551-4358-BFF8-22B9AA7C1BA0}" type="parTrans" cxnId="{333A7814-9CFC-45F6-872C-736A8806E03E}">
      <dgm:prSet/>
      <dgm:spPr/>
      <dgm:t>
        <a:bodyPr/>
        <a:lstStyle/>
        <a:p>
          <a:endParaRPr lang="en-US"/>
        </a:p>
      </dgm:t>
    </dgm:pt>
    <dgm:pt modelId="{19ED48DB-D628-4622-AC0F-0C90E968FF67}" type="sibTrans" cxnId="{333A7814-9CFC-45F6-872C-736A8806E03E}">
      <dgm:prSet/>
      <dgm:spPr/>
      <dgm:t>
        <a:bodyPr/>
        <a:lstStyle/>
        <a:p>
          <a:endParaRPr lang="en-US"/>
        </a:p>
      </dgm:t>
    </dgm:pt>
    <dgm:pt modelId="{45A71536-347B-440A-91FA-8582F882F6E2}">
      <dgm:prSet custT="1"/>
      <dgm:spPr/>
      <dgm:t>
        <a:bodyPr/>
        <a:lstStyle/>
        <a:p>
          <a:r>
            <a:rPr lang="en-GB" sz="1800" baseline="0"/>
            <a:t>Training needs</a:t>
          </a:r>
          <a:endParaRPr lang="en-GB" sz="1800"/>
        </a:p>
      </dgm:t>
    </dgm:pt>
    <dgm:pt modelId="{1514DAE1-D18A-4C12-A7BB-CBE2B3B7A60A}" type="parTrans" cxnId="{F03A635B-709A-4332-BE5F-D23FF763DC3D}">
      <dgm:prSet/>
      <dgm:spPr/>
      <dgm:t>
        <a:bodyPr/>
        <a:lstStyle/>
        <a:p>
          <a:endParaRPr lang="en-US"/>
        </a:p>
      </dgm:t>
    </dgm:pt>
    <dgm:pt modelId="{972948D2-5F30-477C-9F6D-B707BEFFA827}" type="sibTrans" cxnId="{F03A635B-709A-4332-BE5F-D23FF763DC3D}">
      <dgm:prSet/>
      <dgm:spPr/>
      <dgm:t>
        <a:bodyPr/>
        <a:lstStyle/>
        <a:p>
          <a:endParaRPr lang="en-US"/>
        </a:p>
      </dgm:t>
    </dgm:pt>
    <dgm:pt modelId="{1EA2FED8-EA28-43E2-86E5-F07F4099A889}">
      <dgm:prSet custT="1"/>
      <dgm:spPr/>
      <dgm:t>
        <a:bodyPr/>
        <a:lstStyle/>
        <a:p>
          <a:r>
            <a:rPr lang="en-GB" sz="1800" baseline="0"/>
            <a:t>Change management</a:t>
          </a:r>
          <a:endParaRPr lang="en-GB" sz="1800"/>
        </a:p>
      </dgm:t>
    </dgm:pt>
    <dgm:pt modelId="{1275F5FB-F0D3-41D2-A4F5-C1231C56D9B6}" type="parTrans" cxnId="{FA7675BF-A989-486F-B634-3BF18C2DBAC7}">
      <dgm:prSet/>
      <dgm:spPr/>
      <dgm:t>
        <a:bodyPr/>
        <a:lstStyle/>
        <a:p>
          <a:endParaRPr lang="en-US"/>
        </a:p>
      </dgm:t>
    </dgm:pt>
    <dgm:pt modelId="{80BA7300-2335-4E3E-A301-695F41C0AE3A}" type="sibTrans" cxnId="{FA7675BF-A989-486F-B634-3BF18C2DBAC7}">
      <dgm:prSet/>
      <dgm:spPr/>
      <dgm:t>
        <a:bodyPr/>
        <a:lstStyle/>
        <a:p>
          <a:endParaRPr lang="en-US"/>
        </a:p>
      </dgm:t>
    </dgm:pt>
    <dgm:pt modelId="{149CC44A-FCF3-445E-977E-51BF617A0195}">
      <dgm:prSet custT="1"/>
      <dgm:spPr/>
      <dgm:t>
        <a:bodyPr/>
        <a:lstStyle/>
        <a:p>
          <a:r>
            <a:rPr lang="en-GB" sz="1800" baseline="0"/>
            <a:t>Project Prioritisation</a:t>
          </a:r>
          <a:endParaRPr lang="en-GB" sz="1800"/>
        </a:p>
      </dgm:t>
    </dgm:pt>
    <dgm:pt modelId="{8F78BC22-B691-4075-9DD6-2DB79D6CD3CF}" type="parTrans" cxnId="{309FFF16-6568-4E93-8086-5E003CA6744C}">
      <dgm:prSet/>
      <dgm:spPr/>
      <dgm:t>
        <a:bodyPr/>
        <a:lstStyle/>
        <a:p>
          <a:endParaRPr lang="en-US"/>
        </a:p>
      </dgm:t>
    </dgm:pt>
    <dgm:pt modelId="{86FC3C6D-6D7D-4BB7-9D8B-1284261D005A}" type="sibTrans" cxnId="{309FFF16-6568-4E93-8086-5E003CA6744C}">
      <dgm:prSet/>
      <dgm:spPr/>
      <dgm:t>
        <a:bodyPr/>
        <a:lstStyle/>
        <a:p>
          <a:endParaRPr lang="en-US"/>
        </a:p>
      </dgm:t>
    </dgm:pt>
    <dgm:pt modelId="{455BC3D0-E347-480A-90B3-8B801382489A}">
      <dgm:prSet/>
      <dgm:spPr/>
      <dgm:t>
        <a:bodyPr/>
        <a:lstStyle/>
        <a:p>
          <a:r>
            <a:rPr lang="en-GB" baseline="0"/>
            <a:t>Roll-Out strategy</a:t>
          </a:r>
          <a:endParaRPr lang="en-GB"/>
        </a:p>
      </dgm:t>
    </dgm:pt>
    <dgm:pt modelId="{4B6900E6-7829-4EC2-83E8-ACEFFD11C6BF}" type="parTrans" cxnId="{08F64967-3136-49C1-8C8D-7F048F6BC016}">
      <dgm:prSet/>
      <dgm:spPr/>
      <dgm:t>
        <a:bodyPr/>
        <a:lstStyle/>
        <a:p>
          <a:endParaRPr lang="en-US"/>
        </a:p>
      </dgm:t>
    </dgm:pt>
    <dgm:pt modelId="{854B5A5A-2B39-41A2-91A4-D7605CC8AA21}" type="sibTrans" cxnId="{08F64967-3136-49C1-8C8D-7F048F6BC016}">
      <dgm:prSet/>
      <dgm:spPr/>
      <dgm:t>
        <a:bodyPr/>
        <a:lstStyle/>
        <a:p>
          <a:endParaRPr lang="en-US"/>
        </a:p>
      </dgm:t>
    </dgm:pt>
    <dgm:pt modelId="{AE238B7D-FBD4-42C7-9255-A1F28FBF7AB0}">
      <dgm:prSet custT="1"/>
      <dgm:spPr/>
      <dgm:t>
        <a:bodyPr/>
        <a:lstStyle/>
        <a:p>
          <a:r>
            <a:rPr lang="en-GB" sz="1800" baseline="0"/>
            <a:t>Smooth roll-out</a:t>
          </a:r>
          <a:endParaRPr lang="en-GB" sz="1800"/>
        </a:p>
      </dgm:t>
    </dgm:pt>
    <dgm:pt modelId="{6FA8FECA-FD21-428A-A7C4-61656CDD1B21}" type="parTrans" cxnId="{BBF0035B-73BE-4222-946A-0B47EF2AA344}">
      <dgm:prSet/>
      <dgm:spPr/>
      <dgm:t>
        <a:bodyPr/>
        <a:lstStyle/>
        <a:p>
          <a:endParaRPr lang="en-US"/>
        </a:p>
      </dgm:t>
    </dgm:pt>
    <dgm:pt modelId="{A7B30719-920B-43AC-B9C9-0025C1D24D7A}" type="sibTrans" cxnId="{BBF0035B-73BE-4222-946A-0B47EF2AA344}">
      <dgm:prSet/>
      <dgm:spPr/>
      <dgm:t>
        <a:bodyPr/>
        <a:lstStyle/>
        <a:p>
          <a:endParaRPr lang="en-US"/>
        </a:p>
      </dgm:t>
    </dgm:pt>
    <dgm:pt modelId="{5A89C734-54C5-43CA-B57B-270D9FA8E078}">
      <dgm:prSet custT="1"/>
      <dgm:spPr/>
      <dgm:t>
        <a:bodyPr/>
        <a:lstStyle/>
        <a:p>
          <a:r>
            <a:rPr lang="en-GB" sz="1800" baseline="0"/>
            <a:t>Enables employees</a:t>
          </a:r>
          <a:endParaRPr lang="en-GB" sz="1800"/>
        </a:p>
      </dgm:t>
    </dgm:pt>
    <dgm:pt modelId="{36238EEB-8938-4708-9DF1-4940270A5BBA}" type="parTrans" cxnId="{33B6FF89-48CB-4F36-8695-7E39A8BE45C7}">
      <dgm:prSet/>
      <dgm:spPr/>
      <dgm:t>
        <a:bodyPr/>
        <a:lstStyle/>
        <a:p>
          <a:endParaRPr lang="en-US"/>
        </a:p>
      </dgm:t>
    </dgm:pt>
    <dgm:pt modelId="{FE22BEEC-73C4-4133-BE4D-DE750F406BE1}" type="sibTrans" cxnId="{33B6FF89-48CB-4F36-8695-7E39A8BE45C7}">
      <dgm:prSet/>
      <dgm:spPr/>
      <dgm:t>
        <a:bodyPr/>
        <a:lstStyle/>
        <a:p>
          <a:endParaRPr lang="en-US"/>
        </a:p>
      </dgm:t>
    </dgm:pt>
    <dgm:pt modelId="{E3B46A83-C61A-4069-BA30-D3A0EB1551EE}">
      <dgm:prSet custT="1"/>
      <dgm:spPr/>
      <dgm:t>
        <a:bodyPr/>
        <a:lstStyle/>
        <a:p>
          <a:r>
            <a:rPr lang="en-GB" sz="1800" baseline="0"/>
            <a:t>Timely support </a:t>
          </a:r>
          <a:endParaRPr lang="en-GB" sz="1800"/>
        </a:p>
      </dgm:t>
    </dgm:pt>
    <dgm:pt modelId="{5784E569-B516-4050-8FF9-237BA1A0975A}" type="parTrans" cxnId="{345020F0-B7B6-4440-B55F-B6E0F3271724}">
      <dgm:prSet/>
      <dgm:spPr/>
      <dgm:t>
        <a:bodyPr/>
        <a:lstStyle/>
        <a:p>
          <a:endParaRPr lang="en-US"/>
        </a:p>
      </dgm:t>
    </dgm:pt>
    <dgm:pt modelId="{A85D28BC-3BC6-4B35-9FAC-DBFB29B391C4}" type="sibTrans" cxnId="{345020F0-B7B6-4440-B55F-B6E0F3271724}">
      <dgm:prSet/>
      <dgm:spPr/>
      <dgm:t>
        <a:bodyPr/>
        <a:lstStyle/>
        <a:p>
          <a:endParaRPr lang="en-US"/>
        </a:p>
      </dgm:t>
    </dgm:pt>
    <dgm:pt modelId="{A567D409-BB3E-4864-AEC8-897C5BFD2AEE}" type="pres">
      <dgm:prSet presAssocID="{A41616A5-29C3-4E27-B1BE-55EE1A0173C6}" presName="hierChild1" presStyleCnt="0">
        <dgm:presLayoutVars>
          <dgm:orgChart val="1"/>
          <dgm:chPref val="1"/>
          <dgm:dir/>
          <dgm:animOne val="branch"/>
          <dgm:animLvl val="lvl"/>
          <dgm:resizeHandles/>
        </dgm:presLayoutVars>
      </dgm:prSet>
      <dgm:spPr/>
    </dgm:pt>
    <dgm:pt modelId="{13DABFE5-AE15-4D71-A796-4093C3900588}" type="pres">
      <dgm:prSet presAssocID="{84176246-96FD-467B-B883-7597FFE71F64}" presName="hierRoot1" presStyleCnt="0">
        <dgm:presLayoutVars>
          <dgm:hierBranch val="init"/>
        </dgm:presLayoutVars>
      </dgm:prSet>
      <dgm:spPr/>
    </dgm:pt>
    <dgm:pt modelId="{363DCE14-859C-40D2-9D49-22E87187C3DE}" type="pres">
      <dgm:prSet presAssocID="{84176246-96FD-467B-B883-7597FFE71F64}" presName="rootComposite1" presStyleCnt="0"/>
      <dgm:spPr/>
    </dgm:pt>
    <dgm:pt modelId="{7B3AFAB1-3D0B-41CE-8084-792C150D3A90}" type="pres">
      <dgm:prSet presAssocID="{84176246-96FD-467B-B883-7597FFE71F64}" presName="rootText1" presStyleLbl="node0" presStyleIdx="0" presStyleCnt="2">
        <dgm:presLayoutVars>
          <dgm:chPref val="3"/>
        </dgm:presLayoutVars>
      </dgm:prSet>
      <dgm:spPr/>
    </dgm:pt>
    <dgm:pt modelId="{F415D549-0A50-435E-AFCB-BDDFC74C9828}" type="pres">
      <dgm:prSet presAssocID="{84176246-96FD-467B-B883-7597FFE71F64}" presName="rootConnector1" presStyleLbl="node1" presStyleIdx="0" presStyleCnt="0"/>
      <dgm:spPr/>
    </dgm:pt>
    <dgm:pt modelId="{51383AEA-4D72-4A55-B6CF-68F00C4F0BD0}" type="pres">
      <dgm:prSet presAssocID="{84176246-96FD-467B-B883-7597FFE71F64}" presName="hierChild2" presStyleCnt="0"/>
      <dgm:spPr/>
    </dgm:pt>
    <dgm:pt modelId="{BEE92C3F-5928-45C2-AFAF-03A82F740A80}" type="pres">
      <dgm:prSet presAssocID="{1514DAE1-D18A-4C12-A7BB-CBE2B3B7A60A}" presName="Name64" presStyleLbl="parChTrans1D2" presStyleIdx="0" presStyleCnt="6"/>
      <dgm:spPr/>
    </dgm:pt>
    <dgm:pt modelId="{961CE449-BB25-45BC-BB54-1C4FE43D22CF}" type="pres">
      <dgm:prSet presAssocID="{45A71536-347B-440A-91FA-8582F882F6E2}" presName="hierRoot2" presStyleCnt="0">
        <dgm:presLayoutVars>
          <dgm:hierBranch val="init"/>
        </dgm:presLayoutVars>
      </dgm:prSet>
      <dgm:spPr/>
    </dgm:pt>
    <dgm:pt modelId="{3E19DA19-1709-46B5-9505-8EDA437FBCAA}" type="pres">
      <dgm:prSet presAssocID="{45A71536-347B-440A-91FA-8582F882F6E2}" presName="rootComposite" presStyleCnt="0"/>
      <dgm:spPr/>
    </dgm:pt>
    <dgm:pt modelId="{7E860E76-4F9E-4821-8118-182994921227}" type="pres">
      <dgm:prSet presAssocID="{45A71536-347B-440A-91FA-8582F882F6E2}" presName="rootText" presStyleLbl="node2" presStyleIdx="0" presStyleCnt="6">
        <dgm:presLayoutVars>
          <dgm:chPref val="3"/>
        </dgm:presLayoutVars>
      </dgm:prSet>
      <dgm:spPr/>
    </dgm:pt>
    <dgm:pt modelId="{E2EE8D1D-B9A0-427A-B161-0B0CA5EA1961}" type="pres">
      <dgm:prSet presAssocID="{45A71536-347B-440A-91FA-8582F882F6E2}" presName="rootConnector" presStyleLbl="node2" presStyleIdx="0" presStyleCnt="6"/>
      <dgm:spPr/>
    </dgm:pt>
    <dgm:pt modelId="{E31E487C-689A-496B-AE89-3DDF43FC39EC}" type="pres">
      <dgm:prSet presAssocID="{45A71536-347B-440A-91FA-8582F882F6E2}" presName="hierChild4" presStyleCnt="0"/>
      <dgm:spPr/>
    </dgm:pt>
    <dgm:pt modelId="{FC0C5007-12C6-40E1-AEF3-70F61D7C222C}" type="pres">
      <dgm:prSet presAssocID="{45A71536-347B-440A-91FA-8582F882F6E2}" presName="hierChild5" presStyleCnt="0"/>
      <dgm:spPr/>
    </dgm:pt>
    <dgm:pt modelId="{3D75CFDE-5DAB-4A9F-A066-D1C8A836DAB7}" type="pres">
      <dgm:prSet presAssocID="{1275F5FB-F0D3-41D2-A4F5-C1231C56D9B6}" presName="Name64" presStyleLbl="parChTrans1D2" presStyleIdx="1" presStyleCnt="6"/>
      <dgm:spPr/>
    </dgm:pt>
    <dgm:pt modelId="{98967328-8BE4-4AEE-942D-3B545C8C4109}" type="pres">
      <dgm:prSet presAssocID="{1EA2FED8-EA28-43E2-86E5-F07F4099A889}" presName="hierRoot2" presStyleCnt="0">
        <dgm:presLayoutVars>
          <dgm:hierBranch val="init"/>
        </dgm:presLayoutVars>
      </dgm:prSet>
      <dgm:spPr/>
    </dgm:pt>
    <dgm:pt modelId="{D790AFC4-6B9E-4982-B36A-BB01A32B4458}" type="pres">
      <dgm:prSet presAssocID="{1EA2FED8-EA28-43E2-86E5-F07F4099A889}" presName="rootComposite" presStyleCnt="0"/>
      <dgm:spPr/>
    </dgm:pt>
    <dgm:pt modelId="{14C257C8-9A5A-4199-8400-B8F1BA216CDD}" type="pres">
      <dgm:prSet presAssocID="{1EA2FED8-EA28-43E2-86E5-F07F4099A889}" presName="rootText" presStyleLbl="node2" presStyleIdx="1" presStyleCnt="6">
        <dgm:presLayoutVars>
          <dgm:chPref val="3"/>
        </dgm:presLayoutVars>
      </dgm:prSet>
      <dgm:spPr/>
    </dgm:pt>
    <dgm:pt modelId="{CF1DFE0E-7A9F-43C5-BC7B-8F4C02828A24}" type="pres">
      <dgm:prSet presAssocID="{1EA2FED8-EA28-43E2-86E5-F07F4099A889}" presName="rootConnector" presStyleLbl="node2" presStyleIdx="1" presStyleCnt="6"/>
      <dgm:spPr/>
    </dgm:pt>
    <dgm:pt modelId="{D12299FE-0D86-4DAB-B377-B0AB5D6FD313}" type="pres">
      <dgm:prSet presAssocID="{1EA2FED8-EA28-43E2-86E5-F07F4099A889}" presName="hierChild4" presStyleCnt="0"/>
      <dgm:spPr/>
    </dgm:pt>
    <dgm:pt modelId="{D420C9B3-6505-4697-9F3F-4CB474C5912F}" type="pres">
      <dgm:prSet presAssocID="{1EA2FED8-EA28-43E2-86E5-F07F4099A889}" presName="hierChild5" presStyleCnt="0"/>
      <dgm:spPr/>
    </dgm:pt>
    <dgm:pt modelId="{9F2187BD-A438-45F7-B04E-F9CF460E4C0F}" type="pres">
      <dgm:prSet presAssocID="{8F78BC22-B691-4075-9DD6-2DB79D6CD3CF}" presName="Name64" presStyleLbl="parChTrans1D2" presStyleIdx="2" presStyleCnt="6"/>
      <dgm:spPr/>
    </dgm:pt>
    <dgm:pt modelId="{C407B40B-6434-450D-AE1A-233DAFCCADE7}" type="pres">
      <dgm:prSet presAssocID="{149CC44A-FCF3-445E-977E-51BF617A0195}" presName="hierRoot2" presStyleCnt="0">
        <dgm:presLayoutVars>
          <dgm:hierBranch val="init"/>
        </dgm:presLayoutVars>
      </dgm:prSet>
      <dgm:spPr/>
    </dgm:pt>
    <dgm:pt modelId="{130B5994-5722-40A3-8AFA-2B824A32924C}" type="pres">
      <dgm:prSet presAssocID="{149CC44A-FCF3-445E-977E-51BF617A0195}" presName="rootComposite" presStyleCnt="0"/>
      <dgm:spPr/>
    </dgm:pt>
    <dgm:pt modelId="{A0367830-297B-46FD-B40E-58BCFDB09A4C}" type="pres">
      <dgm:prSet presAssocID="{149CC44A-FCF3-445E-977E-51BF617A0195}" presName="rootText" presStyleLbl="node2" presStyleIdx="2" presStyleCnt="6">
        <dgm:presLayoutVars>
          <dgm:chPref val="3"/>
        </dgm:presLayoutVars>
      </dgm:prSet>
      <dgm:spPr/>
    </dgm:pt>
    <dgm:pt modelId="{59FE0573-3617-4B79-8E0C-E0A493FE1757}" type="pres">
      <dgm:prSet presAssocID="{149CC44A-FCF3-445E-977E-51BF617A0195}" presName="rootConnector" presStyleLbl="node2" presStyleIdx="2" presStyleCnt="6"/>
      <dgm:spPr/>
    </dgm:pt>
    <dgm:pt modelId="{A68EFAA4-D022-413F-B15F-382A12F3E906}" type="pres">
      <dgm:prSet presAssocID="{149CC44A-FCF3-445E-977E-51BF617A0195}" presName="hierChild4" presStyleCnt="0"/>
      <dgm:spPr/>
    </dgm:pt>
    <dgm:pt modelId="{499F9E8A-D4A0-4566-BD0E-F8895BE75397}" type="pres">
      <dgm:prSet presAssocID="{149CC44A-FCF3-445E-977E-51BF617A0195}" presName="hierChild5" presStyleCnt="0"/>
      <dgm:spPr/>
    </dgm:pt>
    <dgm:pt modelId="{2C5A1E61-E6F2-4526-BD5E-BD604396F57E}" type="pres">
      <dgm:prSet presAssocID="{84176246-96FD-467B-B883-7597FFE71F64}" presName="hierChild3" presStyleCnt="0"/>
      <dgm:spPr/>
    </dgm:pt>
    <dgm:pt modelId="{6B740B07-C1B6-4E2C-959F-414A28EC4200}" type="pres">
      <dgm:prSet presAssocID="{455BC3D0-E347-480A-90B3-8B801382489A}" presName="hierRoot1" presStyleCnt="0">
        <dgm:presLayoutVars>
          <dgm:hierBranch val="init"/>
        </dgm:presLayoutVars>
      </dgm:prSet>
      <dgm:spPr/>
    </dgm:pt>
    <dgm:pt modelId="{0A6F9E71-161C-44CD-BF3B-FF11580E2943}" type="pres">
      <dgm:prSet presAssocID="{455BC3D0-E347-480A-90B3-8B801382489A}" presName="rootComposite1" presStyleCnt="0"/>
      <dgm:spPr/>
    </dgm:pt>
    <dgm:pt modelId="{D54CD301-8086-46BB-86E9-AA4F9A74A139}" type="pres">
      <dgm:prSet presAssocID="{455BC3D0-E347-480A-90B3-8B801382489A}" presName="rootText1" presStyleLbl="node0" presStyleIdx="1" presStyleCnt="2">
        <dgm:presLayoutVars>
          <dgm:chPref val="3"/>
        </dgm:presLayoutVars>
      </dgm:prSet>
      <dgm:spPr/>
    </dgm:pt>
    <dgm:pt modelId="{7B503E3B-6C2D-4C13-9A05-01CE0561B7DB}" type="pres">
      <dgm:prSet presAssocID="{455BC3D0-E347-480A-90B3-8B801382489A}" presName="rootConnector1" presStyleLbl="node1" presStyleIdx="0" presStyleCnt="0"/>
      <dgm:spPr/>
    </dgm:pt>
    <dgm:pt modelId="{C085B105-A00D-4883-91F1-30E748745D55}" type="pres">
      <dgm:prSet presAssocID="{455BC3D0-E347-480A-90B3-8B801382489A}" presName="hierChild2" presStyleCnt="0"/>
      <dgm:spPr/>
    </dgm:pt>
    <dgm:pt modelId="{E57B647A-4E85-476E-B0F2-05C7E9498437}" type="pres">
      <dgm:prSet presAssocID="{6FA8FECA-FD21-428A-A7C4-61656CDD1B21}" presName="Name64" presStyleLbl="parChTrans1D2" presStyleIdx="3" presStyleCnt="6"/>
      <dgm:spPr/>
    </dgm:pt>
    <dgm:pt modelId="{A13AD376-8DCA-40C1-B01B-F81A43EDAD44}" type="pres">
      <dgm:prSet presAssocID="{AE238B7D-FBD4-42C7-9255-A1F28FBF7AB0}" presName="hierRoot2" presStyleCnt="0">
        <dgm:presLayoutVars>
          <dgm:hierBranch val="init"/>
        </dgm:presLayoutVars>
      </dgm:prSet>
      <dgm:spPr/>
    </dgm:pt>
    <dgm:pt modelId="{4555ED77-F427-4B7E-92A1-A57BB7E5FAF9}" type="pres">
      <dgm:prSet presAssocID="{AE238B7D-FBD4-42C7-9255-A1F28FBF7AB0}" presName="rootComposite" presStyleCnt="0"/>
      <dgm:spPr/>
    </dgm:pt>
    <dgm:pt modelId="{B7813D52-6C17-4B5A-8155-AA52F2827680}" type="pres">
      <dgm:prSet presAssocID="{AE238B7D-FBD4-42C7-9255-A1F28FBF7AB0}" presName="rootText" presStyleLbl="node2" presStyleIdx="3" presStyleCnt="6">
        <dgm:presLayoutVars>
          <dgm:chPref val="3"/>
        </dgm:presLayoutVars>
      </dgm:prSet>
      <dgm:spPr/>
    </dgm:pt>
    <dgm:pt modelId="{7F954D02-CA06-473C-9B22-24E865D13E88}" type="pres">
      <dgm:prSet presAssocID="{AE238B7D-FBD4-42C7-9255-A1F28FBF7AB0}" presName="rootConnector" presStyleLbl="node2" presStyleIdx="3" presStyleCnt="6"/>
      <dgm:spPr/>
    </dgm:pt>
    <dgm:pt modelId="{10E12931-AF7B-49D4-994D-AEA6B0E0CBB2}" type="pres">
      <dgm:prSet presAssocID="{AE238B7D-FBD4-42C7-9255-A1F28FBF7AB0}" presName="hierChild4" presStyleCnt="0"/>
      <dgm:spPr/>
    </dgm:pt>
    <dgm:pt modelId="{D01E0E68-5FEF-41F7-BADA-903D28E40E45}" type="pres">
      <dgm:prSet presAssocID="{AE238B7D-FBD4-42C7-9255-A1F28FBF7AB0}" presName="hierChild5" presStyleCnt="0"/>
      <dgm:spPr/>
    </dgm:pt>
    <dgm:pt modelId="{08CF8413-0EEB-43DB-8CFA-C41D58448CE6}" type="pres">
      <dgm:prSet presAssocID="{36238EEB-8938-4708-9DF1-4940270A5BBA}" presName="Name64" presStyleLbl="parChTrans1D2" presStyleIdx="4" presStyleCnt="6"/>
      <dgm:spPr/>
    </dgm:pt>
    <dgm:pt modelId="{DF68DFC9-E2D8-4416-A26F-F4A2A90CA977}" type="pres">
      <dgm:prSet presAssocID="{5A89C734-54C5-43CA-B57B-270D9FA8E078}" presName="hierRoot2" presStyleCnt="0">
        <dgm:presLayoutVars>
          <dgm:hierBranch val="init"/>
        </dgm:presLayoutVars>
      </dgm:prSet>
      <dgm:spPr/>
    </dgm:pt>
    <dgm:pt modelId="{912A5442-21BC-4631-BCFD-31C3CBA24AB1}" type="pres">
      <dgm:prSet presAssocID="{5A89C734-54C5-43CA-B57B-270D9FA8E078}" presName="rootComposite" presStyleCnt="0"/>
      <dgm:spPr/>
    </dgm:pt>
    <dgm:pt modelId="{FF0999A2-A371-438B-9636-8BC14C9A22B5}" type="pres">
      <dgm:prSet presAssocID="{5A89C734-54C5-43CA-B57B-270D9FA8E078}" presName="rootText" presStyleLbl="node2" presStyleIdx="4" presStyleCnt="6">
        <dgm:presLayoutVars>
          <dgm:chPref val="3"/>
        </dgm:presLayoutVars>
      </dgm:prSet>
      <dgm:spPr/>
    </dgm:pt>
    <dgm:pt modelId="{CB90CA1C-2FB6-4AE9-BFFF-48C7C351C3F0}" type="pres">
      <dgm:prSet presAssocID="{5A89C734-54C5-43CA-B57B-270D9FA8E078}" presName="rootConnector" presStyleLbl="node2" presStyleIdx="4" presStyleCnt="6"/>
      <dgm:spPr/>
    </dgm:pt>
    <dgm:pt modelId="{58F28690-9732-4C71-A967-9655AC72A874}" type="pres">
      <dgm:prSet presAssocID="{5A89C734-54C5-43CA-B57B-270D9FA8E078}" presName="hierChild4" presStyleCnt="0"/>
      <dgm:spPr/>
    </dgm:pt>
    <dgm:pt modelId="{41971D7F-D614-4EF2-B01B-7D9109E2E019}" type="pres">
      <dgm:prSet presAssocID="{5A89C734-54C5-43CA-B57B-270D9FA8E078}" presName="hierChild5" presStyleCnt="0"/>
      <dgm:spPr/>
    </dgm:pt>
    <dgm:pt modelId="{FC194065-8BB9-40A4-8875-C19BF6770BD1}" type="pres">
      <dgm:prSet presAssocID="{5784E569-B516-4050-8FF9-237BA1A0975A}" presName="Name64" presStyleLbl="parChTrans1D2" presStyleIdx="5" presStyleCnt="6"/>
      <dgm:spPr/>
    </dgm:pt>
    <dgm:pt modelId="{D4F39A8B-7951-4181-A5E3-68155C281AEC}" type="pres">
      <dgm:prSet presAssocID="{E3B46A83-C61A-4069-BA30-D3A0EB1551EE}" presName="hierRoot2" presStyleCnt="0">
        <dgm:presLayoutVars>
          <dgm:hierBranch val="init"/>
        </dgm:presLayoutVars>
      </dgm:prSet>
      <dgm:spPr/>
    </dgm:pt>
    <dgm:pt modelId="{F514D14A-DE8B-4424-9EBC-BA3823C53A52}" type="pres">
      <dgm:prSet presAssocID="{E3B46A83-C61A-4069-BA30-D3A0EB1551EE}" presName="rootComposite" presStyleCnt="0"/>
      <dgm:spPr/>
    </dgm:pt>
    <dgm:pt modelId="{C8A9065A-A7A5-43B2-B96A-0D8660C0C64A}" type="pres">
      <dgm:prSet presAssocID="{E3B46A83-C61A-4069-BA30-D3A0EB1551EE}" presName="rootText" presStyleLbl="node2" presStyleIdx="5" presStyleCnt="6">
        <dgm:presLayoutVars>
          <dgm:chPref val="3"/>
        </dgm:presLayoutVars>
      </dgm:prSet>
      <dgm:spPr/>
    </dgm:pt>
    <dgm:pt modelId="{34F1AA48-0D42-4CEF-8B86-DB808A0645CB}" type="pres">
      <dgm:prSet presAssocID="{E3B46A83-C61A-4069-BA30-D3A0EB1551EE}" presName="rootConnector" presStyleLbl="node2" presStyleIdx="5" presStyleCnt="6"/>
      <dgm:spPr/>
    </dgm:pt>
    <dgm:pt modelId="{56665E4C-F952-4577-A516-1FD4C894EF8E}" type="pres">
      <dgm:prSet presAssocID="{E3B46A83-C61A-4069-BA30-D3A0EB1551EE}" presName="hierChild4" presStyleCnt="0"/>
      <dgm:spPr/>
    </dgm:pt>
    <dgm:pt modelId="{032AE0CC-8475-42FF-AFEB-4DA7DBD20EC8}" type="pres">
      <dgm:prSet presAssocID="{E3B46A83-C61A-4069-BA30-D3A0EB1551EE}" presName="hierChild5" presStyleCnt="0"/>
      <dgm:spPr/>
    </dgm:pt>
    <dgm:pt modelId="{B5767B7F-2C47-4D48-B103-E5C8454F0CCA}" type="pres">
      <dgm:prSet presAssocID="{455BC3D0-E347-480A-90B3-8B801382489A}" presName="hierChild3" presStyleCnt="0"/>
      <dgm:spPr/>
    </dgm:pt>
  </dgm:ptLst>
  <dgm:cxnLst>
    <dgm:cxn modelId="{75B4C710-6E6F-4224-9A54-AA5A89537881}" type="presOf" srcId="{5784E569-B516-4050-8FF9-237BA1A0975A}" destId="{FC194065-8BB9-40A4-8875-C19BF6770BD1}" srcOrd="0" destOrd="0" presId="urn:microsoft.com/office/officeart/2009/3/layout/HorizontalOrganizationChart"/>
    <dgm:cxn modelId="{333A7814-9CFC-45F6-872C-736A8806E03E}" srcId="{A41616A5-29C3-4E27-B1BE-55EE1A0173C6}" destId="{84176246-96FD-467B-B883-7597FFE71F64}" srcOrd="0" destOrd="0" parTransId="{E9AFECFA-6551-4358-BFF8-22B9AA7C1BA0}" sibTransId="{19ED48DB-D628-4622-AC0F-0C90E968FF67}"/>
    <dgm:cxn modelId="{309FFF16-6568-4E93-8086-5E003CA6744C}" srcId="{84176246-96FD-467B-B883-7597FFE71F64}" destId="{149CC44A-FCF3-445E-977E-51BF617A0195}" srcOrd="2" destOrd="0" parTransId="{8F78BC22-B691-4075-9DD6-2DB79D6CD3CF}" sibTransId="{86FC3C6D-6D7D-4BB7-9D8B-1284261D005A}"/>
    <dgm:cxn modelId="{7B90D425-74F2-4813-925B-21ACD51AC7D9}" type="presOf" srcId="{1275F5FB-F0D3-41D2-A4F5-C1231C56D9B6}" destId="{3D75CFDE-5DAB-4A9F-A066-D1C8A836DAB7}" srcOrd="0" destOrd="0" presId="urn:microsoft.com/office/officeart/2009/3/layout/HorizontalOrganizationChart"/>
    <dgm:cxn modelId="{E41B2B26-B984-41EF-8E88-445CE8801D58}" type="presOf" srcId="{45A71536-347B-440A-91FA-8582F882F6E2}" destId="{E2EE8D1D-B9A0-427A-B161-0B0CA5EA1961}" srcOrd="1" destOrd="0" presId="urn:microsoft.com/office/officeart/2009/3/layout/HorizontalOrganizationChart"/>
    <dgm:cxn modelId="{A2B7E62D-7FCD-4CFE-A85A-2527597AC7CA}" type="presOf" srcId="{5A89C734-54C5-43CA-B57B-270D9FA8E078}" destId="{CB90CA1C-2FB6-4AE9-BFFF-48C7C351C3F0}" srcOrd="1" destOrd="0" presId="urn:microsoft.com/office/officeart/2009/3/layout/HorizontalOrganizationChart"/>
    <dgm:cxn modelId="{3D677535-70A4-4FA3-A124-AA048F4B071E}" type="presOf" srcId="{149CC44A-FCF3-445E-977E-51BF617A0195}" destId="{59FE0573-3617-4B79-8E0C-E0A493FE1757}" srcOrd="1" destOrd="0" presId="urn:microsoft.com/office/officeart/2009/3/layout/HorizontalOrganizationChart"/>
    <dgm:cxn modelId="{BBF0035B-73BE-4222-946A-0B47EF2AA344}" srcId="{455BC3D0-E347-480A-90B3-8B801382489A}" destId="{AE238B7D-FBD4-42C7-9255-A1F28FBF7AB0}" srcOrd="0" destOrd="0" parTransId="{6FA8FECA-FD21-428A-A7C4-61656CDD1B21}" sibTransId="{A7B30719-920B-43AC-B9C9-0025C1D24D7A}"/>
    <dgm:cxn modelId="{F03A635B-709A-4332-BE5F-D23FF763DC3D}" srcId="{84176246-96FD-467B-B883-7597FFE71F64}" destId="{45A71536-347B-440A-91FA-8582F882F6E2}" srcOrd="0" destOrd="0" parTransId="{1514DAE1-D18A-4C12-A7BB-CBE2B3B7A60A}" sibTransId="{972948D2-5F30-477C-9F6D-B707BEFFA827}"/>
    <dgm:cxn modelId="{CD04245F-7331-4231-8AD6-4804CA07C7A9}" type="presOf" srcId="{45A71536-347B-440A-91FA-8582F882F6E2}" destId="{7E860E76-4F9E-4821-8118-182994921227}" srcOrd="0" destOrd="0" presId="urn:microsoft.com/office/officeart/2009/3/layout/HorizontalOrganizationChart"/>
    <dgm:cxn modelId="{08F64967-3136-49C1-8C8D-7F048F6BC016}" srcId="{A41616A5-29C3-4E27-B1BE-55EE1A0173C6}" destId="{455BC3D0-E347-480A-90B3-8B801382489A}" srcOrd="1" destOrd="0" parTransId="{4B6900E6-7829-4EC2-83E8-ACEFFD11C6BF}" sibTransId="{854B5A5A-2B39-41A2-91A4-D7605CC8AA21}"/>
    <dgm:cxn modelId="{13140872-E51F-4885-B8C1-5D3B9CF882B3}" type="presOf" srcId="{A41616A5-29C3-4E27-B1BE-55EE1A0173C6}" destId="{A567D409-BB3E-4864-AEC8-897C5BFD2AEE}" srcOrd="0" destOrd="0" presId="urn:microsoft.com/office/officeart/2009/3/layout/HorizontalOrganizationChart"/>
    <dgm:cxn modelId="{96E77A54-3448-4267-8050-CC14A3D734D0}" type="presOf" srcId="{455BC3D0-E347-480A-90B3-8B801382489A}" destId="{7B503E3B-6C2D-4C13-9A05-01CE0561B7DB}" srcOrd="1" destOrd="0" presId="urn:microsoft.com/office/officeart/2009/3/layout/HorizontalOrganizationChart"/>
    <dgm:cxn modelId="{6CB4727F-1FAB-4600-BDE8-F76F83C3257E}" type="presOf" srcId="{36238EEB-8938-4708-9DF1-4940270A5BBA}" destId="{08CF8413-0EEB-43DB-8CFA-C41D58448CE6}" srcOrd="0" destOrd="0" presId="urn:microsoft.com/office/officeart/2009/3/layout/HorizontalOrganizationChart"/>
    <dgm:cxn modelId="{33B6FF89-48CB-4F36-8695-7E39A8BE45C7}" srcId="{455BC3D0-E347-480A-90B3-8B801382489A}" destId="{5A89C734-54C5-43CA-B57B-270D9FA8E078}" srcOrd="1" destOrd="0" parTransId="{36238EEB-8938-4708-9DF1-4940270A5BBA}" sibTransId="{FE22BEEC-73C4-4133-BE4D-DE750F406BE1}"/>
    <dgm:cxn modelId="{25B09D9D-9A60-456D-B620-F14138A0E03B}" type="presOf" srcId="{84176246-96FD-467B-B883-7597FFE71F64}" destId="{7B3AFAB1-3D0B-41CE-8084-792C150D3A90}" srcOrd="0" destOrd="0" presId="urn:microsoft.com/office/officeart/2009/3/layout/HorizontalOrganizationChart"/>
    <dgm:cxn modelId="{1C3FB4A7-3E92-41CD-8D56-9D51115F2622}" type="presOf" srcId="{AE238B7D-FBD4-42C7-9255-A1F28FBF7AB0}" destId="{B7813D52-6C17-4B5A-8155-AA52F2827680}" srcOrd="0" destOrd="0" presId="urn:microsoft.com/office/officeart/2009/3/layout/HorizontalOrganizationChart"/>
    <dgm:cxn modelId="{E29413AB-5BD9-4A56-B59B-0106AF8A05E3}" type="presOf" srcId="{1EA2FED8-EA28-43E2-86E5-F07F4099A889}" destId="{CF1DFE0E-7A9F-43C5-BC7B-8F4C02828A24}" srcOrd="1" destOrd="0" presId="urn:microsoft.com/office/officeart/2009/3/layout/HorizontalOrganizationChart"/>
    <dgm:cxn modelId="{F2A878B1-6ED4-4FC5-A1D5-280DDE8A2665}" type="presOf" srcId="{84176246-96FD-467B-B883-7597FFE71F64}" destId="{F415D549-0A50-435E-AFCB-BDDFC74C9828}" srcOrd="1" destOrd="0" presId="urn:microsoft.com/office/officeart/2009/3/layout/HorizontalOrganizationChart"/>
    <dgm:cxn modelId="{9B83C3BD-0431-45BC-9B76-9B81EC6DDAB1}" type="presOf" srcId="{455BC3D0-E347-480A-90B3-8B801382489A}" destId="{D54CD301-8086-46BB-86E9-AA4F9A74A139}" srcOrd="0" destOrd="0" presId="urn:microsoft.com/office/officeart/2009/3/layout/HorizontalOrganizationChart"/>
    <dgm:cxn modelId="{FA7675BF-A989-486F-B634-3BF18C2DBAC7}" srcId="{84176246-96FD-467B-B883-7597FFE71F64}" destId="{1EA2FED8-EA28-43E2-86E5-F07F4099A889}" srcOrd="1" destOrd="0" parTransId="{1275F5FB-F0D3-41D2-A4F5-C1231C56D9B6}" sibTransId="{80BA7300-2335-4E3E-A301-695F41C0AE3A}"/>
    <dgm:cxn modelId="{6D6159C2-6072-45C8-8E46-AD7AFD835E1E}" type="presOf" srcId="{149CC44A-FCF3-445E-977E-51BF617A0195}" destId="{A0367830-297B-46FD-B40E-58BCFDB09A4C}" srcOrd="0" destOrd="0" presId="urn:microsoft.com/office/officeart/2009/3/layout/HorizontalOrganizationChart"/>
    <dgm:cxn modelId="{88A4CEC2-39CC-4CBD-922E-692647F6AA48}" type="presOf" srcId="{E3B46A83-C61A-4069-BA30-D3A0EB1551EE}" destId="{C8A9065A-A7A5-43B2-B96A-0D8660C0C64A}" srcOrd="0" destOrd="0" presId="urn:microsoft.com/office/officeart/2009/3/layout/HorizontalOrganizationChart"/>
    <dgm:cxn modelId="{0A262AC6-826D-480B-A828-C896FB4CCE3A}" type="presOf" srcId="{1EA2FED8-EA28-43E2-86E5-F07F4099A889}" destId="{14C257C8-9A5A-4199-8400-B8F1BA216CDD}" srcOrd="0" destOrd="0" presId="urn:microsoft.com/office/officeart/2009/3/layout/HorizontalOrganizationChart"/>
    <dgm:cxn modelId="{D337ACCC-75BA-4D68-AFEE-CA56D4927D90}" type="presOf" srcId="{6FA8FECA-FD21-428A-A7C4-61656CDD1B21}" destId="{E57B647A-4E85-476E-B0F2-05C7E9498437}" srcOrd="0" destOrd="0" presId="urn:microsoft.com/office/officeart/2009/3/layout/HorizontalOrganizationChart"/>
    <dgm:cxn modelId="{C86423CF-6E8C-4B91-B96C-25D325BF28A5}" type="presOf" srcId="{AE238B7D-FBD4-42C7-9255-A1F28FBF7AB0}" destId="{7F954D02-CA06-473C-9B22-24E865D13E88}" srcOrd="1" destOrd="0" presId="urn:microsoft.com/office/officeart/2009/3/layout/HorizontalOrganizationChart"/>
    <dgm:cxn modelId="{36C17FCF-9E79-459F-B03E-EEF296B0729F}" type="presOf" srcId="{5A89C734-54C5-43CA-B57B-270D9FA8E078}" destId="{FF0999A2-A371-438B-9636-8BC14C9A22B5}" srcOrd="0" destOrd="0" presId="urn:microsoft.com/office/officeart/2009/3/layout/HorizontalOrganizationChart"/>
    <dgm:cxn modelId="{557066D3-8A25-435E-97F6-94024A02B0B0}" type="presOf" srcId="{E3B46A83-C61A-4069-BA30-D3A0EB1551EE}" destId="{34F1AA48-0D42-4CEF-8B86-DB808A0645CB}" srcOrd="1" destOrd="0" presId="urn:microsoft.com/office/officeart/2009/3/layout/HorizontalOrganizationChart"/>
    <dgm:cxn modelId="{D4C3B8DD-4D73-4F2D-85A5-536CA5CCB9C2}" type="presOf" srcId="{8F78BC22-B691-4075-9DD6-2DB79D6CD3CF}" destId="{9F2187BD-A438-45F7-B04E-F9CF460E4C0F}" srcOrd="0" destOrd="0" presId="urn:microsoft.com/office/officeart/2009/3/layout/HorizontalOrganizationChart"/>
    <dgm:cxn modelId="{6E5E91E1-5819-4EE1-A4CE-C7833D34077E}" type="presOf" srcId="{1514DAE1-D18A-4C12-A7BB-CBE2B3B7A60A}" destId="{BEE92C3F-5928-45C2-AFAF-03A82F740A80}" srcOrd="0" destOrd="0" presId="urn:microsoft.com/office/officeart/2009/3/layout/HorizontalOrganizationChart"/>
    <dgm:cxn modelId="{345020F0-B7B6-4440-B55F-B6E0F3271724}" srcId="{455BC3D0-E347-480A-90B3-8B801382489A}" destId="{E3B46A83-C61A-4069-BA30-D3A0EB1551EE}" srcOrd="2" destOrd="0" parTransId="{5784E569-B516-4050-8FF9-237BA1A0975A}" sibTransId="{A85D28BC-3BC6-4B35-9FAC-DBFB29B391C4}"/>
    <dgm:cxn modelId="{9952057C-C480-401D-A861-F562FC3482B4}" type="presParOf" srcId="{A567D409-BB3E-4864-AEC8-897C5BFD2AEE}" destId="{13DABFE5-AE15-4D71-A796-4093C3900588}" srcOrd="0" destOrd="0" presId="urn:microsoft.com/office/officeart/2009/3/layout/HorizontalOrganizationChart"/>
    <dgm:cxn modelId="{3F0F832C-A123-498C-B90C-2A505E851B55}" type="presParOf" srcId="{13DABFE5-AE15-4D71-A796-4093C3900588}" destId="{363DCE14-859C-40D2-9D49-22E87187C3DE}" srcOrd="0" destOrd="0" presId="urn:microsoft.com/office/officeart/2009/3/layout/HorizontalOrganizationChart"/>
    <dgm:cxn modelId="{7C867290-4049-4AFF-97E4-4B7811993CED}" type="presParOf" srcId="{363DCE14-859C-40D2-9D49-22E87187C3DE}" destId="{7B3AFAB1-3D0B-41CE-8084-792C150D3A90}" srcOrd="0" destOrd="0" presId="urn:microsoft.com/office/officeart/2009/3/layout/HorizontalOrganizationChart"/>
    <dgm:cxn modelId="{384FB450-3B0A-4FDE-BFA5-CDC879DA3562}" type="presParOf" srcId="{363DCE14-859C-40D2-9D49-22E87187C3DE}" destId="{F415D549-0A50-435E-AFCB-BDDFC74C9828}" srcOrd="1" destOrd="0" presId="urn:microsoft.com/office/officeart/2009/3/layout/HorizontalOrganizationChart"/>
    <dgm:cxn modelId="{DC13FA27-1716-4850-8412-9A4C9ACA8999}" type="presParOf" srcId="{13DABFE5-AE15-4D71-A796-4093C3900588}" destId="{51383AEA-4D72-4A55-B6CF-68F00C4F0BD0}" srcOrd="1" destOrd="0" presId="urn:microsoft.com/office/officeart/2009/3/layout/HorizontalOrganizationChart"/>
    <dgm:cxn modelId="{AB404E10-B98C-4A23-9982-B82D167EAA30}" type="presParOf" srcId="{51383AEA-4D72-4A55-B6CF-68F00C4F0BD0}" destId="{BEE92C3F-5928-45C2-AFAF-03A82F740A80}" srcOrd="0" destOrd="0" presId="urn:microsoft.com/office/officeart/2009/3/layout/HorizontalOrganizationChart"/>
    <dgm:cxn modelId="{DBFDF5AA-9F6A-4069-865E-237E5E38102F}" type="presParOf" srcId="{51383AEA-4D72-4A55-B6CF-68F00C4F0BD0}" destId="{961CE449-BB25-45BC-BB54-1C4FE43D22CF}" srcOrd="1" destOrd="0" presId="urn:microsoft.com/office/officeart/2009/3/layout/HorizontalOrganizationChart"/>
    <dgm:cxn modelId="{254B957F-62BC-420B-B35A-8DB4FF9617B3}" type="presParOf" srcId="{961CE449-BB25-45BC-BB54-1C4FE43D22CF}" destId="{3E19DA19-1709-46B5-9505-8EDA437FBCAA}" srcOrd="0" destOrd="0" presId="urn:microsoft.com/office/officeart/2009/3/layout/HorizontalOrganizationChart"/>
    <dgm:cxn modelId="{946A846F-AFCF-4822-B5A1-A4D50C40D4CE}" type="presParOf" srcId="{3E19DA19-1709-46B5-9505-8EDA437FBCAA}" destId="{7E860E76-4F9E-4821-8118-182994921227}" srcOrd="0" destOrd="0" presId="urn:microsoft.com/office/officeart/2009/3/layout/HorizontalOrganizationChart"/>
    <dgm:cxn modelId="{5ED952A1-25C4-4457-99B1-9AF71CF14944}" type="presParOf" srcId="{3E19DA19-1709-46B5-9505-8EDA437FBCAA}" destId="{E2EE8D1D-B9A0-427A-B161-0B0CA5EA1961}" srcOrd="1" destOrd="0" presId="urn:microsoft.com/office/officeart/2009/3/layout/HorizontalOrganizationChart"/>
    <dgm:cxn modelId="{CB114B5C-6B2D-4ABE-83C0-C4D3744BAB5E}" type="presParOf" srcId="{961CE449-BB25-45BC-BB54-1C4FE43D22CF}" destId="{E31E487C-689A-496B-AE89-3DDF43FC39EC}" srcOrd="1" destOrd="0" presId="urn:microsoft.com/office/officeart/2009/3/layout/HorizontalOrganizationChart"/>
    <dgm:cxn modelId="{BF047F47-405B-40A5-86DB-66C9F7E523E3}" type="presParOf" srcId="{961CE449-BB25-45BC-BB54-1C4FE43D22CF}" destId="{FC0C5007-12C6-40E1-AEF3-70F61D7C222C}" srcOrd="2" destOrd="0" presId="urn:microsoft.com/office/officeart/2009/3/layout/HorizontalOrganizationChart"/>
    <dgm:cxn modelId="{6A5A3E62-F446-4A0D-BE2A-EAEBE6F0D656}" type="presParOf" srcId="{51383AEA-4D72-4A55-B6CF-68F00C4F0BD0}" destId="{3D75CFDE-5DAB-4A9F-A066-D1C8A836DAB7}" srcOrd="2" destOrd="0" presId="urn:microsoft.com/office/officeart/2009/3/layout/HorizontalOrganizationChart"/>
    <dgm:cxn modelId="{90623111-51E8-49A1-B0A5-6BDCA19BC605}" type="presParOf" srcId="{51383AEA-4D72-4A55-B6CF-68F00C4F0BD0}" destId="{98967328-8BE4-4AEE-942D-3B545C8C4109}" srcOrd="3" destOrd="0" presId="urn:microsoft.com/office/officeart/2009/3/layout/HorizontalOrganizationChart"/>
    <dgm:cxn modelId="{21519B3A-52EC-46F7-9C1D-D9CA747DDBF0}" type="presParOf" srcId="{98967328-8BE4-4AEE-942D-3B545C8C4109}" destId="{D790AFC4-6B9E-4982-B36A-BB01A32B4458}" srcOrd="0" destOrd="0" presId="urn:microsoft.com/office/officeart/2009/3/layout/HorizontalOrganizationChart"/>
    <dgm:cxn modelId="{44A16CAC-7162-4BDB-AFF7-80779442EC67}" type="presParOf" srcId="{D790AFC4-6B9E-4982-B36A-BB01A32B4458}" destId="{14C257C8-9A5A-4199-8400-B8F1BA216CDD}" srcOrd="0" destOrd="0" presId="urn:microsoft.com/office/officeart/2009/3/layout/HorizontalOrganizationChart"/>
    <dgm:cxn modelId="{6DD97631-0EF8-492E-9DD7-CD1E479E37A9}" type="presParOf" srcId="{D790AFC4-6B9E-4982-B36A-BB01A32B4458}" destId="{CF1DFE0E-7A9F-43C5-BC7B-8F4C02828A24}" srcOrd="1" destOrd="0" presId="urn:microsoft.com/office/officeart/2009/3/layout/HorizontalOrganizationChart"/>
    <dgm:cxn modelId="{DF5F5867-30DC-45D1-A592-8DE9F4B252CA}" type="presParOf" srcId="{98967328-8BE4-4AEE-942D-3B545C8C4109}" destId="{D12299FE-0D86-4DAB-B377-B0AB5D6FD313}" srcOrd="1" destOrd="0" presId="urn:microsoft.com/office/officeart/2009/3/layout/HorizontalOrganizationChart"/>
    <dgm:cxn modelId="{06D7EBE6-92A3-4D2B-AAD4-69B21EBE6186}" type="presParOf" srcId="{98967328-8BE4-4AEE-942D-3B545C8C4109}" destId="{D420C9B3-6505-4697-9F3F-4CB474C5912F}" srcOrd="2" destOrd="0" presId="urn:microsoft.com/office/officeart/2009/3/layout/HorizontalOrganizationChart"/>
    <dgm:cxn modelId="{153C5DA8-8BF6-4A80-A14D-7211A4C7816B}" type="presParOf" srcId="{51383AEA-4D72-4A55-B6CF-68F00C4F0BD0}" destId="{9F2187BD-A438-45F7-B04E-F9CF460E4C0F}" srcOrd="4" destOrd="0" presId="urn:microsoft.com/office/officeart/2009/3/layout/HorizontalOrganizationChart"/>
    <dgm:cxn modelId="{9268BD29-F858-40F6-9692-60C5D7E68A3D}" type="presParOf" srcId="{51383AEA-4D72-4A55-B6CF-68F00C4F0BD0}" destId="{C407B40B-6434-450D-AE1A-233DAFCCADE7}" srcOrd="5" destOrd="0" presId="urn:microsoft.com/office/officeart/2009/3/layout/HorizontalOrganizationChart"/>
    <dgm:cxn modelId="{2DFB4EC2-8129-4F03-9E70-A604414262CB}" type="presParOf" srcId="{C407B40B-6434-450D-AE1A-233DAFCCADE7}" destId="{130B5994-5722-40A3-8AFA-2B824A32924C}" srcOrd="0" destOrd="0" presId="urn:microsoft.com/office/officeart/2009/3/layout/HorizontalOrganizationChart"/>
    <dgm:cxn modelId="{4A93E7C0-FD92-4E0C-95D9-E35CCCB88F28}" type="presParOf" srcId="{130B5994-5722-40A3-8AFA-2B824A32924C}" destId="{A0367830-297B-46FD-B40E-58BCFDB09A4C}" srcOrd="0" destOrd="0" presId="urn:microsoft.com/office/officeart/2009/3/layout/HorizontalOrganizationChart"/>
    <dgm:cxn modelId="{E5134EFF-7406-45E6-AB8F-EAA69B573F72}" type="presParOf" srcId="{130B5994-5722-40A3-8AFA-2B824A32924C}" destId="{59FE0573-3617-4B79-8E0C-E0A493FE1757}" srcOrd="1" destOrd="0" presId="urn:microsoft.com/office/officeart/2009/3/layout/HorizontalOrganizationChart"/>
    <dgm:cxn modelId="{38C03318-3229-45AF-938A-67473C73D499}" type="presParOf" srcId="{C407B40B-6434-450D-AE1A-233DAFCCADE7}" destId="{A68EFAA4-D022-413F-B15F-382A12F3E906}" srcOrd="1" destOrd="0" presId="urn:microsoft.com/office/officeart/2009/3/layout/HorizontalOrganizationChart"/>
    <dgm:cxn modelId="{E98DA7D1-EF17-4B71-8C65-1D019F6FDCCA}" type="presParOf" srcId="{C407B40B-6434-450D-AE1A-233DAFCCADE7}" destId="{499F9E8A-D4A0-4566-BD0E-F8895BE75397}" srcOrd="2" destOrd="0" presId="urn:microsoft.com/office/officeart/2009/3/layout/HorizontalOrganizationChart"/>
    <dgm:cxn modelId="{C5F31A43-D088-45D2-AD20-014DB8A1F893}" type="presParOf" srcId="{13DABFE5-AE15-4D71-A796-4093C3900588}" destId="{2C5A1E61-E6F2-4526-BD5E-BD604396F57E}" srcOrd="2" destOrd="0" presId="urn:microsoft.com/office/officeart/2009/3/layout/HorizontalOrganizationChart"/>
    <dgm:cxn modelId="{7314C473-1DC4-4AA9-AC25-07BF89A0B0CC}" type="presParOf" srcId="{A567D409-BB3E-4864-AEC8-897C5BFD2AEE}" destId="{6B740B07-C1B6-4E2C-959F-414A28EC4200}" srcOrd="1" destOrd="0" presId="urn:microsoft.com/office/officeart/2009/3/layout/HorizontalOrganizationChart"/>
    <dgm:cxn modelId="{A0106C60-1DB7-4075-986E-0B0263974CC8}" type="presParOf" srcId="{6B740B07-C1B6-4E2C-959F-414A28EC4200}" destId="{0A6F9E71-161C-44CD-BF3B-FF11580E2943}" srcOrd="0" destOrd="0" presId="urn:microsoft.com/office/officeart/2009/3/layout/HorizontalOrganizationChart"/>
    <dgm:cxn modelId="{1ECB6C9F-8A4F-4F6D-B5A9-D6C8BB0E3E23}" type="presParOf" srcId="{0A6F9E71-161C-44CD-BF3B-FF11580E2943}" destId="{D54CD301-8086-46BB-86E9-AA4F9A74A139}" srcOrd="0" destOrd="0" presId="urn:microsoft.com/office/officeart/2009/3/layout/HorizontalOrganizationChart"/>
    <dgm:cxn modelId="{151F6A3E-EE66-462E-B24C-7485E71E71D1}" type="presParOf" srcId="{0A6F9E71-161C-44CD-BF3B-FF11580E2943}" destId="{7B503E3B-6C2D-4C13-9A05-01CE0561B7DB}" srcOrd="1" destOrd="0" presId="urn:microsoft.com/office/officeart/2009/3/layout/HorizontalOrganizationChart"/>
    <dgm:cxn modelId="{14C7DF7B-E069-4BB5-8FF0-58DA4600D16F}" type="presParOf" srcId="{6B740B07-C1B6-4E2C-959F-414A28EC4200}" destId="{C085B105-A00D-4883-91F1-30E748745D55}" srcOrd="1" destOrd="0" presId="urn:microsoft.com/office/officeart/2009/3/layout/HorizontalOrganizationChart"/>
    <dgm:cxn modelId="{7F3E9404-9007-4508-990B-6D88135BD163}" type="presParOf" srcId="{C085B105-A00D-4883-91F1-30E748745D55}" destId="{E57B647A-4E85-476E-B0F2-05C7E9498437}" srcOrd="0" destOrd="0" presId="urn:microsoft.com/office/officeart/2009/3/layout/HorizontalOrganizationChart"/>
    <dgm:cxn modelId="{202DDB1B-F0D8-4A52-BF6C-A9B4E68BCEEB}" type="presParOf" srcId="{C085B105-A00D-4883-91F1-30E748745D55}" destId="{A13AD376-8DCA-40C1-B01B-F81A43EDAD44}" srcOrd="1" destOrd="0" presId="urn:microsoft.com/office/officeart/2009/3/layout/HorizontalOrganizationChart"/>
    <dgm:cxn modelId="{24A8D207-A7AB-4693-BB90-ADB82615D177}" type="presParOf" srcId="{A13AD376-8DCA-40C1-B01B-F81A43EDAD44}" destId="{4555ED77-F427-4B7E-92A1-A57BB7E5FAF9}" srcOrd="0" destOrd="0" presId="urn:microsoft.com/office/officeart/2009/3/layout/HorizontalOrganizationChart"/>
    <dgm:cxn modelId="{4DCEE70A-ECFE-482A-B41C-23E9A3950ACE}" type="presParOf" srcId="{4555ED77-F427-4B7E-92A1-A57BB7E5FAF9}" destId="{B7813D52-6C17-4B5A-8155-AA52F2827680}" srcOrd="0" destOrd="0" presId="urn:microsoft.com/office/officeart/2009/3/layout/HorizontalOrganizationChart"/>
    <dgm:cxn modelId="{564233F0-8BE3-4273-A70E-F8C7A571E938}" type="presParOf" srcId="{4555ED77-F427-4B7E-92A1-A57BB7E5FAF9}" destId="{7F954D02-CA06-473C-9B22-24E865D13E88}" srcOrd="1" destOrd="0" presId="urn:microsoft.com/office/officeart/2009/3/layout/HorizontalOrganizationChart"/>
    <dgm:cxn modelId="{A5258B0F-CCF4-4653-B8DD-69A8B3234AB9}" type="presParOf" srcId="{A13AD376-8DCA-40C1-B01B-F81A43EDAD44}" destId="{10E12931-AF7B-49D4-994D-AEA6B0E0CBB2}" srcOrd="1" destOrd="0" presId="urn:microsoft.com/office/officeart/2009/3/layout/HorizontalOrganizationChart"/>
    <dgm:cxn modelId="{D2F58229-4A46-401A-A444-D28E4454A6B3}" type="presParOf" srcId="{A13AD376-8DCA-40C1-B01B-F81A43EDAD44}" destId="{D01E0E68-5FEF-41F7-BADA-903D28E40E45}" srcOrd="2" destOrd="0" presId="urn:microsoft.com/office/officeart/2009/3/layout/HorizontalOrganizationChart"/>
    <dgm:cxn modelId="{E18C16C1-6BCF-47A6-B39F-938B5553219D}" type="presParOf" srcId="{C085B105-A00D-4883-91F1-30E748745D55}" destId="{08CF8413-0EEB-43DB-8CFA-C41D58448CE6}" srcOrd="2" destOrd="0" presId="urn:microsoft.com/office/officeart/2009/3/layout/HorizontalOrganizationChart"/>
    <dgm:cxn modelId="{289EA12A-F942-4EE9-9EAF-96FE1356B337}" type="presParOf" srcId="{C085B105-A00D-4883-91F1-30E748745D55}" destId="{DF68DFC9-E2D8-4416-A26F-F4A2A90CA977}" srcOrd="3" destOrd="0" presId="urn:microsoft.com/office/officeart/2009/3/layout/HorizontalOrganizationChart"/>
    <dgm:cxn modelId="{8713EBA9-4466-4D45-9DAB-E826C962F674}" type="presParOf" srcId="{DF68DFC9-E2D8-4416-A26F-F4A2A90CA977}" destId="{912A5442-21BC-4631-BCFD-31C3CBA24AB1}" srcOrd="0" destOrd="0" presId="urn:microsoft.com/office/officeart/2009/3/layout/HorizontalOrganizationChart"/>
    <dgm:cxn modelId="{119D3C1A-88CA-4513-9F5D-83D66075B2A6}" type="presParOf" srcId="{912A5442-21BC-4631-BCFD-31C3CBA24AB1}" destId="{FF0999A2-A371-438B-9636-8BC14C9A22B5}" srcOrd="0" destOrd="0" presId="urn:microsoft.com/office/officeart/2009/3/layout/HorizontalOrganizationChart"/>
    <dgm:cxn modelId="{A1E8F91D-24BF-43FB-BCB6-5C1B53BD4195}" type="presParOf" srcId="{912A5442-21BC-4631-BCFD-31C3CBA24AB1}" destId="{CB90CA1C-2FB6-4AE9-BFFF-48C7C351C3F0}" srcOrd="1" destOrd="0" presId="urn:microsoft.com/office/officeart/2009/3/layout/HorizontalOrganizationChart"/>
    <dgm:cxn modelId="{1634F8B6-0FA3-4F58-88A0-9CDAFE2248FB}" type="presParOf" srcId="{DF68DFC9-E2D8-4416-A26F-F4A2A90CA977}" destId="{58F28690-9732-4C71-A967-9655AC72A874}" srcOrd="1" destOrd="0" presId="urn:microsoft.com/office/officeart/2009/3/layout/HorizontalOrganizationChart"/>
    <dgm:cxn modelId="{A2A46AFF-CB18-4BEA-864B-5DFD14F22EBA}" type="presParOf" srcId="{DF68DFC9-E2D8-4416-A26F-F4A2A90CA977}" destId="{41971D7F-D614-4EF2-B01B-7D9109E2E019}" srcOrd="2" destOrd="0" presId="urn:microsoft.com/office/officeart/2009/3/layout/HorizontalOrganizationChart"/>
    <dgm:cxn modelId="{4F441C12-9178-400D-AF15-1301C2D661D9}" type="presParOf" srcId="{C085B105-A00D-4883-91F1-30E748745D55}" destId="{FC194065-8BB9-40A4-8875-C19BF6770BD1}" srcOrd="4" destOrd="0" presId="urn:microsoft.com/office/officeart/2009/3/layout/HorizontalOrganizationChart"/>
    <dgm:cxn modelId="{7EB41924-FCC8-49F5-9EAB-04919F9B132B}" type="presParOf" srcId="{C085B105-A00D-4883-91F1-30E748745D55}" destId="{D4F39A8B-7951-4181-A5E3-68155C281AEC}" srcOrd="5" destOrd="0" presId="urn:microsoft.com/office/officeart/2009/3/layout/HorizontalOrganizationChart"/>
    <dgm:cxn modelId="{34C0B4E4-CEF2-4915-A899-FD31D78BF04A}" type="presParOf" srcId="{D4F39A8B-7951-4181-A5E3-68155C281AEC}" destId="{F514D14A-DE8B-4424-9EBC-BA3823C53A52}" srcOrd="0" destOrd="0" presId="urn:microsoft.com/office/officeart/2009/3/layout/HorizontalOrganizationChart"/>
    <dgm:cxn modelId="{E8A842C6-9D21-459A-BE76-1BFBF22B563D}" type="presParOf" srcId="{F514D14A-DE8B-4424-9EBC-BA3823C53A52}" destId="{C8A9065A-A7A5-43B2-B96A-0D8660C0C64A}" srcOrd="0" destOrd="0" presId="urn:microsoft.com/office/officeart/2009/3/layout/HorizontalOrganizationChart"/>
    <dgm:cxn modelId="{4DF2CB4C-D125-42AB-94F3-77BC7DDF4694}" type="presParOf" srcId="{F514D14A-DE8B-4424-9EBC-BA3823C53A52}" destId="{34F1AA48-0D42-4CEF-8B86-DB808A0645CB}" srcOrd="1" destOrd="0" presId="urn:microsoft.com/office/officeart/2009/3/layout/HorizontalOrganizationChart"/>
    <dgm:cxn modelId="{5254C8AA-BA44-45B2-9FBF-CC354B1A93DD}" type="presParOf" srcId="{D4F39A8B-7951-4181-A5E3-68155C281AEC}" destId="{56665E4C-F952-4577-A516-1FD4C894EF8E}" srcOrd="1" destOrd="0" presId="urn:microsoft.com/office/officeart/2009/3/layout/HorizontalOrganizationChart"/>
    <dgm:cxn modelId="{DFB254DB-0F74-4744-8E09-A7C2F66BB892}" type="presParOf" srcId="{D4F39A8B-7951-4181-A5E3-68155C281AEC}" destId="{032AE0CC-8475-42FF-AFEB-4DA7DBD20EC8}" srcOrd="2" destOrd="0" presId="urn:microsoft.com/office/officeart/2009/3/layout/HorizontalOrganizationChart"/>
    <dgm:cxn modelId="{4B99CA6F-2EA9-493F-BB35-FD0203C57577}" type="presParOf" srcId="{6B740B07-C1B6-4E2C-959F-414A28EC4200}" destId="{B5767B7F-2C47-4D48-B103-E5C8454F0CCA}"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718A29F-B205-4410-87AC-4CD49B63708B}"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87F28AF-938E-4AB2-BE59-9B8FEB743EBE}">
      <dgm:prSet/>
      <dgm:spPr/>
      <dgm:t>
        <a:bodyPr/>
        <a:lstStyle/>
        <a:p>
          <a:pPr marL="0">
            <a:lnSpc>
              <a:spcPct val="90000"/>
            </a:lnSpc>
            <a:buNone/>
          </a:pPr>
          <a:r>
            <a:rPr lang="en-GB" sz="3300" baseline="0">
              <a:solidFill>
                <a:srgbClr val="F2C811"/>
              </a:solidFill>
            </a:rPr>
            <a:t>Corporate BI</a:t>
          </a:r>
          <a:endParaRPr lang="en-GB" sz="3300">
            <a:solidFill>
              <a:srgbClr val="F2C811"/>
            </a:solidFill>
          </a:endParaRPr>
        </a:p>
      </dgm:t>
    </dgm:pt>
    <dgm:pt modelId="{126C6C3D-D951-40AA-B036-2F2A2A71CB35}" type="parTrans" cxnId="{FA0756C9-DE8D-4224-86CE-25123F9485AB}">
      <dgm:prSet/>
      <dgm:spPr/>
      <dgm:t>
        <a:bodyPr/>
        <a:lstStyle/>
        <a:p>
          <a:endParaRPr lang="en-US"/>
        </a:p>
      </dgm:t>
    </dgm:pt>
    <dgm:pt modelId="{627E7EDD-C7FE-4931-9065-1D376AC1B13C}" type="sibTrans" cxnId="{FA0756C9-DE8D-4224-86CE-25123F9485AB}">
      <dgm:prSet/>
      <dgm:spPr/>
      <dgm:t>
        <a:bodyPr/>
        <a:lstStyle/>
        <a:p>
          <a:endParaRPr lang="en-US"/>
        </a:p>
      </dgm:t>
    </dgm:pt>
    <dgm:pt modelId="{4333A816-6ACF-4842-BBA4-7A9FC0986BC1}">
      <dgm:prSet custT="1"/>
      <dgm:spPr/>
      <dgm:t>
        <a:bodyPr/>
        <a:lstStyle/>
        <a:p>
          <a:pPr marL="360000">
            <a:lnSpc>
              <a:spcPct val="150000"/>
            </a:lnSpc>
            <a:buNone/>
          </a:pPr>
          <a:r>
            <a:rPr lang="en-GB" sz="2000" baseline="0"/>
            <a:t>Product evaluation</a:t>
          </a:r>
          <a:endParaRPr lang="en-GB" sz="2000"/>
        </a:p>
      </dgm:t>
    </dgm:pt>
    <dgm:pt modelId="{F73B7C02-4916-4309-A6E5-916D538E7FBD}" type="parTrans" cxnId="{D00FC633-7C51-4167-8A5B-011278057F23}">
      <dgm:prSet/>
      <dgm:spPr/>
      <dgm:t>
        <a:bodyPr/>
        <a:lstStyle/>
        <a:p>
          <a:endParaRPr lang="en-US"/>
        </a:p>
      </dgm:t>
    </dgm:pt>
    <dgm:pt modelId="{F06563C8-7C5A-45EF-90E9-968DAD31449F}" type="sibTrans" cxnId="{D00FC633-7C51-4167-8A5B-011278057F23}">
      <dgm:prSet/>
      <dgm:spPr/>
      <dgm:t>
        <a:bodyPr/>
        <a:lstStyle/>
        <a:p>
          <a:endParaRPr lang="en-US"/>
        </a:p>
      </dgm:t>
    </dgm:pt>
    <dgm:pt modelId="{430D3227-D232-458B-B98D-6D38C64B74C3}">
      <dgm:prSet custT="1"/>
      <dgm:spPr/>
      <dgm:t>
        <a:bodyPr/>
        <a:lstStyle/>
        <a:p>
          <a:pPr marL="360000">
            <a:lnSpc>
              <a:spcPct val="150000"/>
            </a:lnSpc>
            <a:buNone/>
          </a:pPr>
          <a:r>
            <a:rPr lang="en-GB" sz="2000" baseline="0"/>
            <a:t>Governance and security standards</a:t>
          </a:r>
          <a:endParaRPr lang="en-GB" sz="2000"/>
        </a:p>
      </dgm:t>
    </dgm:pt>
    <dgm:pt modelId="{270FA6A4-FEBB-4804-9231-BE62A4C7DF1E}" type="parTrans" cxnId="{EA689F71-7492-4F37-8118-8147BF72CD53}">
      <dgm:prSet/>
      <dgm:spPr/>
      <dgm:t>
        <a:bodyPr/>
        <a:lstStyle/>
        <a:p>
          <a:endParaRPr lang="en-US"/>
        </a:p>
      </dgm:t>
    </dgm:pt>
    <dgm:pt modelId="{DC158A54-6827-4B23-AB97-1341D194A1DA}" type="sibTrans" cxnId="{EA689F71-7492-4F37-8118-8147BF72CD53}">
      <dgm:prSet/>
      <dgm:spPr/>
      <dgm:t>
        <a:bodyPr/>
        <a:lstStyle/>
        <a:p>
          <a:endParaRPr lang="en-US"/>
        </a:p>
      </dgm:t>
    </dgm:pt>
    <dgm:pt modelId="{E2861460-7AC6-4148-82B4-514C8C5ED18B}">
      <dgm:prSet custT="1"/>
      <dgm:spPr/>
      <dgm:t>
        <a:bodyPr/>
        <a:lstStyle/>
        <a:p>
          <a:pPr marL="360000">
            <a:lnSpc>
              <a:spcPct val="150000"/>
            </a:lnSpc>
            <a:buNone/>
          </a:pPr>
          <a:r>
            <a:rPr lang="en-GB" sz="2000" baseline="0"/>
            <a:t>Infrastructure setup</a:t>
          </a:r>
          <a:endParaRPr lang="en-GB" sz="2000"/>
        </a:p>
      </dgm:t>
    </dgm:pt>
    <dgm:pt modelId="{955F3D32-FD86-4585-9046-B55D0350C183}" type="parTrans" cxnId="{FAD89D23-61AB-4464-ADD1-08BC080303FB}">
      <dgm:prSet/>
      <dgm:spPr/>
      <dgm:t>
        <a:bodyPr/>
        <a:lstStyle/>
        <a:p>
          <a:endParaRPr lang="en-US"/>
        </a:p>
      </dgm:t>
    </dgm:pt>
    <dgm:pt modelId="{04E11991-1414-4FC2-904A-81FB0706AB6C}" type="sibTrans" cxnId="{FAD89D23-61AB-4464-ADD1-08BC080303FB}">
      <dgm:prSet/>
      <dgm:spPr/>
      <dgm:t>
        <a:bodyPr/>
        <a:lstStyle/>
        <a:p>
          <a:endParaRPr lang="en-US"/>
        </a:p>
      </dgm:t>
    </dgm:pt>
    <dgm:pt modelId="{F2A1FCC7-E74D-4CB6-8E63-46290A86B36C}">
      <dgm:prSet custT="1"/>
      <dgm:spPr/>
      <dgm:t>
        <a:bodyPr/>
        <a:lstStyle/>
        <a:p>
          <a:pPr marL="360000">
            <a:lnSpc>
              <a:spcPct val="150000"/>
            </a:lnSpc>
            <a:buNone/>
          </a:pPr>
          <a:r>
            <a:rPr lang="en-GB" sz="2000" baseline="0"/>
            <a:t>Support structure</a:t>
          </a:r>
          <a:endParaRPr lang="en-GB" sz="2000"/>
        </a:p>
      </dgm:t>
    </dgm:pt>
    <dgm:pt modelId="{C719A02D-5CF0-4730-BCE3-88352D955472}" type="parTrans" cxnId="{6145587E-0D5E-4BC4-8B7B-5745A3D7A4D2}">
      <dgm:prSet/>
      <dgm:spPr/>
      <dgm:t>
        <a:bodyPr/>
        <a:lstStyle/>
        <a:p>
          <a:endParaRPr lang="en-US"/>
        </a:p>
      </dgm:t>
    </dgm:pt>
    <dgm:pt modelId="{2EDD5343-7DFA-4116-AC3B-F43B1B8D7657}" type="sibTrans" cxnId="{6145587E-0D5E-4BC4-8B7B-5745A3D7A4D2}">
      <dgm:prSet/>
      <dgm:spPr/>
      <dgm:t>
        <a:bodyPr/>
        <a:lstStyle/>
        <a:p>
          <a:endParaRPr lang="en-US"/>
        </a:p>
      </dgm:t>
    </dgm:pt>
    <dgm:pt modelId="{0D19F3B8-55C7-49A8-A933-C710DD020EB1}">
      <dgm:prSet custT="1"/>
      <dgm:spPr/>
      <dgm:t>
        <a:bodyPr/>
        <a:lstStyle/>
        <a:p>
          <a:pPr marL="360000">
            <a:lnSpc>
              <a:spcPct val="150000"/>
            </a:lnSpc>
            <a:buNone/>
          </a:pPr>
          <a:r>
            <a:rPr lang="en-GB" sz="2000" baseline="0"/>
            <a:t>IT led solution delivery</a:t>
          </a:r>
          <a:endParaRPr lang="en-GB" sz="2000"/>
        </a:p>
      </dgm:t>
    </dgm:pt>
    <dgm:pt modelId="{04C1CF4B-9103-484B-8FFC-0112B7950A66}" type="parTrans" cxnId="{BBF1FF25-6D8B-47BC-A521-8C165542A71B}">
      <dgm:prSet/>
      <dgm:spPr/>
      <dgm:t>
        <a:bodyPr/>
        <a:lstStyle/>
        <a:p>
          <a:endParaRPr lang="en-US"/>
        </a:p>
      </dgm:t>
    </dgm:pt>
    <dgm:pt modelId="{ACDD0113-AEFE-4F2F-B3CA-67804D5508FF}" type="sibTrans" cxnId="{BBF1FF25-6D8B-47BC-A521-8C165542A71B}">
      <dgm:prSet/>
      <dgm:spPr/>
      <dgm:t>
        <a:bodyPr/>
        <a:lstStyle/>
        <a:p>
          <a:endParaRPr lang="en-US"/>
        </a:p>
      </dgm:t>
    </dgm:pt>
    <dgm:pt modelId="{D0FEDA00-8F1C-4260-9C38-C6F498D97E38}">
      <dgm:prSet custT="1"/>
      <dgm:spPr/>
      <dgm:t>
        <a:bodyPr/>
        <a:lstStyle/>
        <a:p>
          <a:pPr marL="360000">
            <a:lnSpc>
              <a:spcPct val="150000"/>
            </a:lnSpc>
            <a:buNone/>
          </a:pPr>
          <a:r>
            <a:rPr lang="en-GB" sz="2000" baseline="0"/>
            <a:t>Training Program</a:t>
          </a:r>
          <a:endParaRPr lang="en-GB" sz="2000"/>
        </a:p>
      </dgm:t>
    </dgm:pt>
    <dgm:pt modelId="{50DA1497-2160-4279-9478-0D2EF3BDA841}" type="parTrans" cxnId="{EE2039F6-09C3-4CFE-A728-4FD62D173DA9}">
      <dgm:prSet/>
      <dgm:spPr/>
      <dgm:t>
        <a:bodyPr/>
        <a:lstStyle/>
        <a:p>
          <a:endParaRPr lang="en-US"/>
        </a:p>
      </dgm:t>
    </dgm:pt>
    <dgm:pt modelId="{F0A33792-990D-4B1C-A2B8-185EB80DBBE3}" type="sibTrans" cxnId="{EE2039F6-09C3-4CFE-A728-4FD62D173DA9}">
      <dgm:prSet/>
      <dgm:spPr/>
      <dgm:t>
        <a:bodyPr/>
        <a:lstStyle/>
        <a:p>
          <a:endParaRPr lang="en-US"/>
        </a:p>
      </dgm:t>
    </dgm:pt>
    <dgm:pt modelId="{54F93565-52ED-4576-BC7D-0AF92CADD310}">
      <dgm:prSet/>
      <dgm:spPr/>
      <dgm:t>
        <a:bodyPr/>
        <a:lstStyle/>
        <a:p>
          <a:pPr marL="0">
            <a:lnSpc>
              <a:spcPct val="90000"/>
            </a:lnSpc>
            <a:buNone/>
          </a:pPr>
          <a:r>
            <a:rPr lang="en-GB" sz="3300" baseline="0">
              <a:solidFill>
                <a:srgbClr val="F2C811"/>
              </a:solidFill>
            </a:rPr>
            <a:t>Business-Led Self Service BI</a:t>
          </a:r>
          <a:endParaRPr lang="en-GB" sz="3300">
            <a:solidFill>
              <a:srgbClr val="F2C811"/>
            </a:solidFill>
          </a:endParaRPr>
        </a:p>
      </dgm:t>
    </dgm:pt>
    <dgm:pt modelId="{E945A0DC-6443-440E-9015-4C0FC81094BB}" type="parTrans" cxnId="{E7AB4C82-E44F-4646-BD5E-F6E73BC10BE9}">
      <dgm:prSet/>
      <dgm:spPr/>
      <dgm:t>
        <a:bodyPr/>
        <a:lstStyle/>
        <a:p>
          <a:endParaRPr lang="en-US"/>
        </a:p>
      </dgm:t>
    </dgm:pt>
    <dgm:pt modelId="{AADD4544-3179-4875-90F2-9F8969A8563D}" type="sibTrans" cxnId="{E7AB4C82-E44F-4646-BD5E-F6E73BC10BE9}">
      <dgm:prSet/>
      <dgm:spPr/>
      <dgm:t>
        <a:bodyPr/>
        <a:lstStyle/>
        <a:p>
          <a:endParaRPr lang="en-US"/>
        </a:p>
      </dgm:t>
    </dgm:pt>
    <dgm:pt modelId="{E8FC284B-5DCB-4308-9A62-38C2B2321EFF}">
      <dgm:prSet custT="1"/>
      <dgm:spPr/>
      <dgm:t>
        <a:bodyPr/>
        <a:lstStyle/>
        <a:p>
          <a:pPr marL="360000">
            <a:lnSpc>
              <a:spcPct val="150000"/>
            </a:lnSpc>
            <a:buNone/>
          </a:pPr>
          <a:r>
            <a:rPr lang="en-GB" sz="2000" baseline="0"/>
            <a:t>Build on the foundation laid down by IT</a:t>
          </a:r>
          <a:endParaRPr lang="en-GB" sz="2000"/>
        </a:p>
      </dgm:t>
    </dgm:pt>
    <dgm:pt modelId="{29C48661-EFBC-4768-90E0-C18D92244C13}" type="parTrans" cxnId="{3B06F1A6-FF19-4A17-A32A-79186945183D}">
      <dgm:prSet/>
      <dgm:spPr/>
      <dgm:t>
        <a:bodyPr/>
        <a:lstStyle/>
        <a:p>
          <a:endParaRPr lang="en-US"/>
        </a:p>
      </dgm:t>
    </dgm:pt>
    <dgm:pt modelId="{114CD63A-CADC-41AA-9CF2-F25913C54375}" type="sibTrans" cxnId="{3B06F1A6-FF19-4A17-A32A-79186945183D}">
      <dgm:prSet/>
      <dgm:spPr/>
      <dgm:t>
        <a:bodyPr/>
        <a:lstStyle/>
        <a:p>
          <a:endParaRPr lang="en-US"/>
        </a:p>
      </dgm:t>
    </dgm:pt>
    <dgm:pt modelId="{2C0B3D2C-C6DA-4330-B3D6-823D30D72F5E}">
      <dgm:prSet custT="1"/>
      <dgm:spPr/>
      <dgm:t>
        <a:bodyPr/>
        <a:lstStyle/>
        <a:p>
          <a:pPr marL="360000">
            <a:lnSpc>
              <a:spcPct val="150000"/>
            </a:lnSpc>
            <a:buNone/>
          </a:pPr>
          <a:r>
            <a:rPr lang="en-GB" sz="2000" baseline="0"/>
            <a:t>Identification of Power BI Champions</a:t>
          </a:r>
          <a:endParaRPr lang="en-GB" sz="2000"/>
        </a:p>
      </dgm:t>
    </dgm:pt>
    <dgm:pt modelId="{7157FD6F-A81A-4F04-BC33-F6F35DFE88F6}" type="parTrans" cxnId="{9C3DA3F0-3F9D-4E92-92CE-1E37EE6EC605}">
      <dgm:prSet/>
      <dgm:spPr/>
      <dgm:t>
        <a:bodyPr/>
        <a:lstStyle/>
        <a:p>
          <a:endParaRPr lang="en-US"/>
        </a:p>
      </dgm:t>
    </dgm:pt>
    <dgm:pt modelId="{02E813CB-0205-4DAD-AE26-D1242B22C317}" type="sibTrans" cxnId="{9C3DA3F0-3F9D-4E92-92CE-1E37EE6EC605}">
      <dgm:prSet/>
      <dgm:spPr/>
      <dgm:t>
        <a:bodyPr/>
        <a:lstStyle/>
        <a:p>
          <a:endParaRPr lang="en-US"/>
        </a:p>
      </dgm:t>
    </dgm:pt>
    <dgm:pt modelId="{2C6DED75-06EC-4EB0-967D-9D8178E4C005}">
      <dgm:prSet custT="1"/>
      <dgm:spPr/>
      <dgm:t>
        <a:bodyPr/>
        <a:lstStyle/>
        <a:p>
          <a:pPr marL="360000">
            <a:lnSpc>
              <a:spcPct val="150000"/>
            </a:lnSpc>
            <a:buNone/>
          </a:pPr>
          <a:r>
            <a:rPr lang="en-GB" sz="2000" baseline="0"/>
            <a:t>Roll-out at a team/department level</a:t>
          </a:r>
          <a:endParaRPr lang="en-GB" sz="2000"/>
        </a:p>
      </dgm:t>
    </dgm:pt>
    <dgm:pt modelId="{23238CB2-DD1C-4285-BC05-C32C90DCE8DC}" type="parTrans" cxnId="{68C3BA20-246D-4E33-9EE8-EDAE82D539BD}">
      <dgm:prSet/>
      <dgm:spPr/>
      <dgm:t>
        <a:bodyPr/>
        <a:lstStyle/>
        <a:p>
          <a:endParaRPr lang="en-GB"/>
        </a:p>
      </dgm:t>
    </dgm:pt>
    <dgm:pt modelId="{9A122CD5-A802-4E4B-9C22-70BF0E2AD6CE}" type="sibTrans" cxnId="{68C3BA20-246D-4E33-9EE8-EDAE82D539BD}">
      <dgm:prSet/>
      <dgm:spPr/>
      <dgm:t>
        <a:bodyPr/>
        <a:lstStyle/>
        <a:p>
          <a:endParaRPr lang="en-GB"/>
        </a:p>
      </dgm:t>
    </dgm:pt>
    <dgm:pt modelId="{29FB2F4C-61BC-4459-A149-DA1F80C31612}" type="pres">
      <dgm:prSet presAssocID="{5718A29F-B205-4410-87AC-4CD49B63708B}" presName="diagram" presStyleCnt="0">
        <dgm:presLayoutVars>
          <dgm:dir/>
          <dgm:resizeHandles val="exact"/>
        </dgm:presLayoutVars>
      </dgm:prSet>
      <dgm:spPr/>
    </dgm:pt>
    <dgm:pt modelId="{197480A1-BFDC-4298-B195-411692E751F5}" type="pres">
      <dgm:prSet presAssocID="{587F28AF-938E-4AB2-BE59-9B8FEB743EBE}" presName="node" presStyleLbl="node1" presStyleIdx="0" presStyleCnt="2" custScaleY="131601">
        <dgm:presLayoutVars>
          <dgm:bulletEnabled val="1"/>
        </dgm:presLayoutVars>
      </dgm:prSet>
      <dgm:spPr/>
    </dgm:pt>
    <dgm:pt modelId="{3A207E7A-261B-47F5-B46A-DA1EB7BC477B}" type="pres">
      <dgm:prSet presAssocID="{627E7EDD-C7FE-4931-9065-1D376AC1B13C}" presName="sibTrans" presStyleCnt="0"/>
      <dgm:spPr/>
    </dgm:pt>
    <dgm:pt modelId="{9C0711DF-9261-4564-AFC3-163E9BED3EB0}" type="pres">
      <dgm:prSet presAssocID="{54F93565-52ED-4576-BC7D-0AF92CADD310}" presName="node" presStyleLbl="node1" presStyleIdx="1" presStyleCnt="2" custScaleY="130809">
        <dgm:presLayoutVars>
          <dgm:bulletEnabled val="1"/>
        </dgm:presLayoutVars>
      </dgm:prSet>
      <dgm:spPr/>
    </dgm:pt>
  </dgm:ptLst>
  <dgm:cxnLst>
    <dgm:cxn modelId="{68C3BA20-246D-4E33-9EE8-EDAE82D539BD}" srcId="{54F93565-52ED-4576-BC7D-0AF92CADD310}" destId="{2C6DED75-06EC-4EB0-967D-9D8178E4C005}" srcOrd="2" destOrd="0" parTransId="{23238CB2-DD1C-4285-BC05-C32C90DCE8DC}" sibTransId="{9A122CD5-A802-4E4B-9C22-70BF0E2AD6CE}"/>
    <dgm:cxn modelId="{FAD89D23-61AB-4464-ADD1-08BC080303FB}" srcId="{587F28AF-938E-4AB2-BE59-9B8FEB743EBE}" destId="{E2861460-7AC6-4148-82B4-514C8C5ED18B}" srcOrd="2" destOrd="0" parTransId="{955F3D32-FD86-4585-9046-B55D0350C183}" sibTransId="{04E11991-1414-4FC2-904A-81FB0706AB6C}"/>
    <dgm:cxn modelId="{BBF1FF25-6D8B-47BC-A521-8C165542A71B}" srcId="{587F28AF-938E-4AB2-BE59-9B8FEB743EBE}" destId="{0D19F3B8-55C7-49A8-A933-C710DD020EB1}" srcOrd="4" destOrd="0" parTransId="{04C1CF4B-9103-484B-8FFC-0112B7950A66}" sibTransId="{ACDD0113-AEFE-4F2F-B3CA-67804D5508FF}"/>
    <dgm:cxn modelId="{D00FC633-7C51-4167-8A5B-011278057F23}" srcId="{587F28AF-938E-4AB2-BE59-9B8FEB743EBE}" destId="{4333A816-6ACF-4842-BBA4-7A9FC0986BC1}" srcOrd="0" destOrd="0" parTransId="{F73B7C02-4916-4309-A6E5-916D538E7FBD}" sibTransId="{F06563C8-7C5A-45EF-90E9-968DAD31449F}"/>
    <dgm:cxn modelId="{9BBDDF44-AB23-4423-958B-7D9F454F219E}" type="presOf" srcId="{D0FEDA00-8F1C-4260-9C38-C6F498D97E38}" destId="{197480A1-BFDC-4298-B195-411692E751F5}" srcOrd="0" destOrd="6" presId="urn:microsoft.com/office/officeart/2005/8/layout/default"/>
    <dgm:cxn modelId="{C1E20A47-5D45-4230-96FE-6F15E326C943}" type="presOf" srcId="{54F93565-52ED-4576-BC7D-0AF92CADD310}" destId="{9C0711DF-9261-4564-AFC3-163E9BED3EB0}" srcOrd="0" destOrd="0" presId="urn:microsoft.com/office/officeart/2005/8/layout/default"/>
    <dgm:cxn modelId="{3D7BEF48-1867-4DDB-BD89-6547E1EFC209}" type="presOf" srcId="{587F28AF-938E-4AB2-BE59-9B8FEB743EBE}" destId="{197480A1-BFDC-4298-B195-411692E751F5}" srcOrd="0" destOrd="0" presId="urn:microsoft.com/office/officeart/2005/8/layout/default"/>
    <dgm:cxn modelId="{EA689F71-7492-4F37-8118-8147BF72CD53}" srcId="{587F28AF-938E-4AB2-BE59-9B8FEB743EBE}" destId="{430D3227-D232-458B-B98D-6D38C64B74C3}" srcOrd="1" destOrd="0" parTransId="{270FA6A4-FEBB-4804-9231-BE62A4C7DF1E}" sibTransId="{DC158A54-6827-4B23-AB97-1341D194A1DA}"/>
    <dgm:cxn modelId="{B4B2F055-99D7-490B-B791-E4E160675BC8}" type="presOf" srcId="{E2861460-7AC6-4148-82B4-514C8C5ED18B}" destId="{197480A1-BFDC-4298-B195-411692E751F5}" srcOrd="0" destOrd="3" presId="urn:microsoft.com/office/officeart/2005/8/layout/default"/>
    <dgm:cxn modelId="{6145587E-0D5E-4BC4-8B7B-5745A3D7A4D2}" srcId="{587F28AF-938E-4AB2-BE59-9B8FEB743EBE}" destId="{F2A1FCC7-E74D-4CB6-8E63-46290A86B36C}" srcOrd="3" destOrd="0" parTransId="{C719A02D-5CF0-4730-BCE3-88352D955472}" sibTransId="{2EDD5343-7DFA-4116-AC3B-F43B1B8D7657}"/>
    <dgm:cxn modelId="{E7AB4C82-E44F-4646-BD5E-F6E73BC10BE9}" srcId="{5718A29F-B205-4410-87AC-4CD49B63708B}" destId="{54F93565-52ED-4576-BC7D-0AF92CADD310}" srcOrd="1" destOrd="0" parTransId="{E945A0DC-6443-440E-9015-4C0FC81094BB}" sibTransId="{AADD4544-3179-4875-90F2-9F8969A8563D}"/>
    <dgm:cxn modelId="{C5297390-0FFA-43E9-8647-883C9633400C}" type="presOf" srcId="{5718A29F-B205-4410-87AC-4CD49B63708B}" destId="{29FB2F4C-61BC-4459-A149-DA1F80C31612}" srcOrd="0" destOrd="0" presId="urn:microsoft.com/office/officeart/2005/8/layout/default"/>
    <dgm:cxn modelId="{3B06F1A6-FF19-4A17-A32A-79186945183D}" srcId="{54F93565-52ED-4576-BC7D-0AF92CADD310}" destId="{E8FC284B-5DCB-4308-9A62-38C2B2321EFF}" srcOrd="0" destOrd="0" parTransId="{29C48661-EFBC-4768-90E0-C18D92244C13}" sibTransId="{114CD63A-CADC-41AA-9CF2-F25913C54375}"/>
    <dgm:cxn modelId="{8B24EAA9-51BB-44C2-9C9D-AE5B410E2C64}" type="presOf" srcId="{4333A816-6ACF-4842-BBA4-7A9FC0986BC1}" destId="{197480A1-BFDC-4298-B195-411692E751F5}" srcOrd="0" destOrd="1" presId="urn:microsoft.com/office/officeart/2005/8/layout/default"/>
    <dgm:cxn modelId="{C497EAB5-4358-4977-9F06-F5D75A078AC7}" type="presOf" srcId="{0D19F3B8-55C7-49A8-A933-C710DD020EB1}" destId="{197480A1-BFDC-4298-B195-411692E751F5}" srcOrd="0" destOrd="5" presId="urn:microsoft.com/office/officeart/2005/8/layout/default"/>
    <dgm:cxn modelId="{5B7620B9-4D06-4771-BECA-05D087A5A98D}" type="presOf" srcId="{E8FC284B-5DCB-4308-9A62-38C2B2321EFF}" destId="{9C0711DF-9261-4564-AFC3-163E9BED3EB0}" srcOrd="0" destOrd="1" presId="urn:microsoft.com/office/officeart/2005/8/layout/default"/>
    <dgm:cxn modelId="{E3FEDABF-4F8A-4DB9-AE58-38908F14A121}" type="presOf" srcId="{F2A1FCC7-E74D-4CB6-8E63-46290A86B36C}" destId="{197480A1-BFDC-4298-B195-411692E751F5}" srcOrd="0" destOrd="4" presId="urn:microsoft.com/office/officeart/2005/8/layout/default"/>
    <dgm:cxn modelId="{FA0756C9-DE8D-4224-86CE-25123F9485AB}" srcId="{5718A29F-B205-4410-87AC-4CD49B63708B}" destId="{587F28AF-938E-4AB2-BE59-9B8FEB743EBE}" srcOrd="0" destOrd="0" parTransId="{126C6C3D-D951-40AA-B036-2F2A2A71CB35}" sibTransId="{627E7EDD-C7FE-4931-9065-1D376AC1B13C}"/>
    <dgm:cxn modelId="{75F867E3-D929-409C-9869-436E8A2EB92B}" type="presOf" srcId="{430D3227-D232-458B-B98D-6D38C64B74C3}" destId="{197480A1-BFDC-4298-B195-411692E751F5}" srcOrd="0" destOrd="2" presId="urn:microsoft.com/office/officeart/2005/8/layout/default"/>
    <dgm:cxn modelId="{9C3DA3F0-3F9D-4E92-92CE-1E37EE6EC605}" srcId="{54F93565-52ED-4576-BC7D-0AF92CADD310}" destId="{2C0B3D2C-C6DA-4330-B3D6-823D30D72F5E}" srcOrd="1" destOrd="0" parTransId="{7157FD6F-A81A-4F04-BC33-F6F35DFE88F6}" sibTransId="{02E813CB-0205-4DAD-AE26-D1242B22C317}"/>
    <dgm:cxn modelId="{AD5BBCF4-27CA-4679-B236-13E51087556A}" type="presOf" srcId="{2C0B3D2C-C6DA-4330-B3D6-823D30D72F5E}" destId="{9C0711DF-9261-4564-AFC3-163E9BED3EB0}" srcOrd="0" destOrd="2" presId="urn:microsoft.com/office/officeart/2005/8/layout/default"/>
    <dgm:cxn modelId="{EE2039F6-09C3-4CFE-A728-4FD62D173DA9}" srcId="{587F28AF-938E-4AB2-BE59-9B8FEB743EBE}" destId="{D0FEDA00-8F1C-4260-9C38-C6F498D97E38}" srcOrd="5" destOrd="0" parTransId="{50DA1497-2160-4279-9478-0D2EF3BDA841}" sibTransId="{F0A33792-990D-4B1C-A2B8-185EB80DBBE3}"/>
    <dgm:cxn modelId="{90E600FF-3D1A-485A-976A-0871CC10ABD1}" type="presOf" srcId="{2C6DED75-06EC-4EB0-967D-9D8178E4C005}" destId="{9C0711DF-9261-4564-AFC3-163E9BED3EB0}" srcOrd="0" destOrd="3" presId="urn:microsoft.com/office/officeart/2005/8/layout/default"/>
    <dgm:cxn modelId="{35CEDD0C-8AC4-477E-B2EC-C4BE15F495DF}" type="presParOf" srcId="{29FB2F4C-61BC-4459-A149-DA1F80C31612}" destId="{197480A1-BFDC-4298-B195-411692E751F5}" srcOrd="0" destOrd="0" presId="urn:microsoft.com/office/officeart/2005/8/layout/default"/>
    <dgm:cxn modelId="{4142B6CE-C95E-4F3D-8BCA-DE5BA401E776}" type="presParOf" srcId="{29FB2F4C-61BC-4459-A149-DA1F80C31612}" destId="{3A207E7A-261B-47F5-B46A-DA1EB7BC477B}" srcOrd="1" destOrd="0" presId="urn:microsoft.com/office/officeart/2005/8/layout/default"/>
    <dgm:cxn modelId="{AD36FDAC-AAF9-4C74-845A-2F6E6E713C55}" type="presParOf" srcId="{29FB2F4C-61BC-4459-A149-DA1F80C31612}" destId="{9C0711DF-9261-4564-AFC3-163E9BED3EB0}"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5718A29F-B205-4410-87AC-4CD49B63708B}"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587F28AF-938E-4AB2-BE59-9B8FEB743EBE}">
      <dgm:prSet/>
      <dgm:spPr/>
      <dgm:t>
        <a:bodyPr/>
        <a:lstStyle/>
        <a:p>
          <a:pPr marL="0">
            <a:lnSpc>
              <a:spcPct val="90000"/>
            </a:lnSpc>
            <a:buNone/>
          </a:pPr>
          <a:r>
            <a:rPr lang="en-GB" sz="3300" baseline="0">
              <a:solidFill>
                <a:srgbClr val="F2C811"/>
              </a:solidFill>
            </a:rPr>
            <a:t>Corporate BI</a:t>
          </a:r>
          <a:endParaRPr lang="en-GB" sz="3300">
            <a:solidFill>
              <a:srgbClr val="F2C811"/>
            </a:solidFill>
          </a:endParaRPr>
        </a:p>
      </dgm:t>
    </dgm:pt>
    <dgm:pt modelId="{126C6C3D-D951-40AA-B036-2F2A2A71CB35}" type="parTrans" cxnId="{FA0756C9-DE8D-4224-86CE-25123F9485AB}">
      <dgm:prSet/>
      <dgm:spPr/>
      <dgm:t>
        <a:bodyPr/>
        <a:lstStyle/>
        <a:p>
          <a:endParaRPr lang="en-US"/>
        </a:p>
      </dgm:t>
    </dgm:pt>
    <dgm:pt modelId="{627E7EDD-C7FE-4931-9065-1D376AC1B13C}" type="sibTrans" cxnId="{FA0756C9-DE8D-4224-86CE-25123F9485AB}">
      <dgm:prSet/>
      <dgm:spPr/>
      <dgm:t>
        <a:bodyPr/>
        <a:lstStyle/>
        <a:p>
          <a:endParaRPr lang="en-US"/>
        </a:p>
      </dgm:t>
    </dgm:pt>
    <dgm:pt modelId="{54F93565-52ED-4576-BC7D-0AF92CADD310}">
      <dgm:prSet/>
      <dgm:spPr/>
      <dgm:t>
        <a:bodyPr/>
        <a:lstStyle/>
        <a:p>
          <a:pPr marL="0">
            <a:lnSpc>
              <a:spcPct val="90000"/>
            </a:lnSpc>
            <a:buNone/>
          </a:pPr>
          <a:r>
            <a:rPr lang="en-GB" sz="3300" kern="1200" baseline="0">
              <a:solidFill>
                <a:srgbClr val="F2C811"/>
              </a:solidFill>
            </a:rPr>
            <a:t>Business-Led Self Service BI</a:t>
          </a:r>
          <a:endParaRPr lang="en-GB" sz="3300" kern="1200">
            <a:solidFill>
              <a:srgbClr val="F2C811"/>
            </a:solidFill>
          </a:endParaRPr>
        </a:p>
      </dgm:t>
    </dgm:pt>
    <dgm:pt modelId="{E945A0DC-6443-440E-9015-4C0FC81094BB}" type="parTrans" cxnId="{E7AB4C82-E44F-4646-BD5E-F6E73BC10BE9}">
      <dgm:prSet/>
      <dgm:spPr/>
      <dgm:t>
        <a:bodyPr/>
        <a:lstStyle/>
        <a:p>
          <a:endParaRPr lang="en-US"/>
        </a:p>
      </dgm:t>
    </dgm:pt>
    <dgm:pt modelId="{AADD4544-3179-4875-90F2-9F8969A8563D}" type="sibTrans" cxnId="{E7AB4C82-E44F-4646-BD5E-F6E73BC10BE9}">
      <dgm:prSet/>
      <dgm:spPr/>
      <dgm:t>
        <a:bodyPr/>
        <a:lstStyle/>
        <a:p>
          <a:endParaRPr lang="en-US"/>
        </a:p>
      </dgm:t>
    </dgm:pt>
    <dgm:pt modelId="{E8FC284B-5DCB-4308-9A62-38C2B2321EFF}">
      <dgm:prSet custT="1"/>
      <dgm:spPr/>
      <dgm:t>
        <a:bodyPr/>
        <a:lstStyle/>
        <a:p>
          <a:pPr marL="360000">
            <a:lnSpc>
              <a:spcPct val="150000"/>
            </a:lnSpc>
            <a:buNone/>
          </a:pPr>
          <a:r>
            <a:rPr lang="en-GB" sz="2000" kern="1200" baseline="0"/>
            <a:t>Start gaining benefits of the tool immediately</a:t>
          </a:r>
          <a:endParaRPr lang="en-GB" sz="2000" kern="1200"/>
        </a:p>
      </dgm:t>
    </dgm:pt>
    <dgm:pt modelId="{29C48661-EFBC-4768-90E0-C18D92244C13}" type="parTrans" cxnId="{3B06F1A6-FF19-4A17-A32A-79186945183D}">
      <dgm:prSet/>
      <dgm:spPr/>
      <dgm:t>
        <a:bodyPr/>
        <a:lstStyle/>
        <a:p>
          <a:endParaRPr lang="en-US"/>
        </a:p>
      </dgm:t>
    </dgm:pt>
    <dgm:pt modelId="{114CD63A-CADC-41AA-9CF2-F25913C54375}" type="sibTrans" cxnId="{3B06F1A6-FF19-4A17-A32A-79186945183D}">
      <dgm:prSet/>
      <dgm:spPr/>
      <dgm:t>
        <a:bodyPr/>
        <a:lstStyle/>
        <a:p>
          <a:endParaRPr lang="en-US"/>
        </a:p>
      </dgm:t>
    </dgm:pt>
    <dgm:pt modelId="{ADA60B00-9F24-41D0-A9E3-B9F5E4676AAC}">
      <dgm:prSet custScaleY="127198" custT="1"/>
      <dgm:spPr/>
      <dgm:t>
        <a:bodyPr/>
        <a:lstStyle/>
        <a:p>
          <a:pPr marL="360000">
            <a:lnSpc>
              <a:spcPct val="150000"/>
            </a:lnSpc>
            <a:buNone/>
          </a:pPr>
          <a:r>
            <a:rPr lang="en-GB" sz="2000" baseline="0"/>
            <a:t>Product evaluation</a:t>
          </a:r>
          <a:endParaRPr lang="en-GB" sz="2000"/>
        </a:p>
      </dgm:t>
    </dgm:pt>
    <dgm:pt modelId="{CEE911B0-8280-4AB3-B249-4E326E7E5319}" type="parTrans" cxnId="{1EDABC39-CB27-4EF1-834F-315E9FD6C0D9}">
      <dgm:prSet/>
      <dgm:spPr/>
      <dgm:t>
        <a:bodyPr/>
        <a:lstStyle/>
        <a:p>
          <a:endParaRPr lang="en-GB"/>
        </a:p>
      </dgm:t>
    </dgm:pt>
    <dgm:pt modelId="{A3EDE53F-C5AB-4C0B-8635-FF66539D2154}" type="sibTrans" cxnId="{1EDABC39-CB27-4EF1-834F-315E9FD6C0D9}">
      <dgm:prSet/>
      <dgm:spPr/>
      <dgm:t>
        <a:bodyPr/>
        <a:lstStyle/>
        <a:p>
          <a:endParaRPr lang="en-GB"/>
        </a:p>
      </dgm:t>
    </dgm:pt>
    <dgm:pt modelId="{6CB9C5AE-BAC2-4EB7-8C89-0D8922A5E1F4}">
      <dgm:prSet custT="1"/>
      <dgm:spPr/>
      <dgm:t>
        <a:bodyPr/>
        <a:lstStyle/>
        <a:p>
          <a:pPr marL="360000">
            <a:lnSpc>
              <a:spcPct val="150000"/>
            </a:lnSpc>
            <a:buNone/>
          </a:pPr>
          <a:r>
            <a:rPr lang="en-GB" sz="2000" baseline="0"/>
            <a:t>Governance and security standards</a:t>
          </a:r>
          <a:endParaRPr lang="en-GB" sz="2000"/>
        </a:p>
      </dgm:t>
    </dgm:pt>
    <dgm:pt modelId="{5B6E70B3-48A4-4797-A6F9-13DD452052C9}" type="parTrans" cxnId="{00FE4B0A-F8DC-4AC7-8873-C474AB772330}">
      <dgm:prSet/>
      <dgm:spPr/>
      <dgm:t>
        <a:bodyPr/>
        <a:lstStyle/>
        <a:p>
          <a:endParaRPr lang="en-GB"/>
        </a:p>
      </dgm:t>
    </dgm:pt>
    <dgm:pt modelId="{A2F3F4F6-63E4-4730-9601-480B9009893D}" type="sibTrans" cxnId="{00FE4B0A-F8DC-4AC7-8873-C474AB772330}">
      <dgm:prSet/>
      <dgm:spPr/>
      <dgm:t>
        <a:bodyPr/>
        <a:lstStyle/>
        <a:p>
          <a:endParaRPr lang="en-GB"/>
        </a:p>
      </dgm:t>
    </dgm:pt>
    <dgm:pt modelId="{1A282B2D-6614-41D6-A213-80B731E54A83}">
      <dgm:prSet custT="1"/>
      <dgm:spPr/>
      <dgm:t>
        <a:bodyPr/>
        <a:lstStyle/>
        <a:p>
          <a:pPr marL="360000">
            <a:lnSpc>
              <a:spcPct val="150000"/>
            </a:lnSpc>
            <a:buNone/>
          </a:pPr>
          <a:r>
            <a:rPr lang="en-GB" sz="2000" baseline="0">
              <a:solidFill>
                <a:prstClr val="white"/>
              </a:solidFill>
              <a:latin typeface="Segoe UI"/>
              <a:ea typeface="+mn-ea"/>
              <a:cs typeface="+mn-cs"/>
            </a:rPr>
            <a:t>Centrally</a:t>
          </a:r>
          <a:r>
            <a:rPr lang="en-GB" sz="2000" baseline="0"/>
            <a:t> Managed Service</a:t>
          </a:r>
          <a:endParaRPr lang="en-GB" sz="2000"/>
        </a:p>
      </dgm:t>
    </dgm:pt>
    <dgm:pt modelId="{CAE579C5-51CC-4D52-B9A7-358E2D1F3465}" type="parTrans" cxnId="{959A0FB5-E3FD-4131-B38C-D3D50C2DC4F6}">
      <dgm:prSet/>
      <dgm:spPr/>
      <dgm:t>
        <a:bodyPr/>
        <a:lstStyle/>
        <a:p>
          <a:endParaRPr lang="en-GB"/>
        </a:p>
      </dgm:t>
    </dgm:pt>
    <dgm:pt modelId="{1F9724F4-5D3A-4CEB-B143-542B9CE5AA3D}" type="sibTrans" cxnId="{959A0FB5-E3FD-4131-B38C-D3D50C2DC4F6}">
      <dgm:prSet/>
      <dgm:spPr/>
      <dgm:t>
        <a:bodyPr/>
        <a:lstStyle/>
        <a:p>
          <a:endParaRPr lang="en-GB"/>
        </a:p>
      </dgm:t>
    </dgm:pt>
    <dgm:pt modelId="{CAC3BF27-D4B5-4C02-8B42-2AB35AF79839}">
      <dgm:prSet custT="1"/>
      <dgm:spPr/>
      <dgm:t>
        <a:bodyPr/>
        <a:lstStyle/>
        <a:p>
          <a:pPr marL="360000">
            <a:lnSpc>
              <a:spcPct val="150000"/>
            </a:lnSpc>
            <a:buNone/>
          </a:pPr>
          <a:r>
            <a:rPr lang="en-GB" sz="2000" baseline="0"/>
            <a:t>Support structure</a:t>
          </a:r>
          <a:endParaRPr lang="en-GB" sz="2000"/>
        </a:p>
      </dgm:t>
    </dgm:pt>
    <dgm:pt modelId="{761DB02F-7666-4B91-8D79-8181D05E614D}" type="parTrans" cxnId="{B540CE76-3315-43AE-9FC4-6171518E361F}">
      <dgm:prSet/>
      <dgm:spPr/>
      <dgm:t>
        <a:bodyPr/>
        <a:lstStyle/>
        <a:p>
          <a:endParaRPr lang="en-GB"/>
        </a:p>
      </dgm:t>
    </dgm:pt>
    <dgm:pt modelId="{A7B6D0ED-B620-4E4D-8072-836AD54F82CF}" type="sibTrans" cxnId="{B540CE76-3315-43AE-9FC4-6171518E361F}">
      <dgm:prSet/>
      <dgm:spPr/>
      <dgm:t>
        <a:bodyPr/>
        <a:lstStyle/>
        <a:p>
          <a:endParaRPr lang="en-GB"/>
        </a:p>
      </dgm:t>
    </dgm:pt>
    <dgm:pt modelId="{FBD60577-C5E2-4CA4-9CD0-0E7CF52B379C}">
      <dgm:prSet custT="1"/>
      <dgm:spPr/>
      <dgm:t>
        <a:bodyPr/>
        <a:lstStyle/>
        <a:p>
          <a:pPr marL="360000">
            <a:lnSpc>
              <a:spcPct val="150000"/>
            </a:lnSpc>
            <a:buNone/>
          </a:pPr>
          <a:r>
            <a:rPr lang="en-GB" sz="2000" baseline="0"/>
            <a:t>IT led solution delivery</a:t>
          </a:r>
          <a:endParaRPr lang="en-GB" sz="2000"/>
        </a:p>
      </dgm:t>
    </dgm:pt>
    <dgm:pt modelId="{61FF312E-8C99-4D5A-A7D6-B5769DDFBC21}" type="parTrans" cxnId="{95754EFE-55CD-4E6C-8767-8B2D1E6108A7}">
      <dgm:prSet/>
      <dgm:spPr/>
      <dgm:t>
        <a:bodyPr/>
        <a:lstStyle/>
        <a:p>
          <a:endParaRPr lang="en-GB"/>
        </a:p>
      </dgm:t>
    </dgm:pt>
    <dgm:pt modelId="{B2A49410-908C-43A2-8FD7-73AAEECEC9D9}" type="sibTrans" cxnId="{95754EFE-55CD-4E6C-8767-8B2D1E6108A7}">
      <dgm:prSet/>
      <dgm:spPr/>
      <dgm:t>
        <a:bodyPr/>
        <a:lstStyle/>
        <a:p>
          <a:endParaRPr lang="en-GB"/>
        </a:p>
      </dgm:t>
    </dgm:pt>
    <dgm:pt modelId="{D4295925-4C46-4693-9BE0-4EFD8883C612}">
      <dgm:prSet custT="1"/>
      <dgm:spPr/>
      <dgm:t>
        <a:bodyPr/>
        <a:lstStyle/>
        <a:p>
          <a:pPr marL="360000">
            <a:lnSpc>
              <a:spcPct val="150000"/>
            </a:lnSpc>
            <a:buNone/>
          </a:pPr>
          <a:r>
            <a:rPr lang="en-GB" sz="2000" kern="1200" baseline="0">
              <a:solidFill>
                <a:prstClr val="white"/>
              </a:solidFill>
              <a:latin typeface="Segoe UI"/>
              <a:ea typeface="+mn-ea"/>
              <a:cs typeface="+mn-cs"/>
            </a:rPr>
            <a:t>Power BI Champions will emerge</a:t>
          </a:r>
          <a:endParaRPr lang="en-GB" sz="2000" kern="1200"/>
        </a:p>
      </dgm:t>
    </dgm:pt>
    <dgm:pt modelId="{E99B53B6-220C-4ADC-9C9B-4C4CE7E2DFE7}" type="parTrans" cxnId="{55DCCFF3-1F01-4F6C-A786-7825DDA6B57A}">
      <dgm:prSet/>
      <dgm:spPr/>
      <dgm:t>
        <a:bodyPr/>
        <a:lstStyle/>
        <a:p>
          <a:endParaRPr lang="en-GB"/>
        </a:p>
      </dgm:t>
    </dgm:pt>
    <dgm:pt modelId="{C0C971A7-0BAC-4B2F-902B-06B67EEBC22F}" type="sibTrans" cxnId="{55DCCFF3-1F01-4F6C-A786-7825DDA6B57A}">
      <dgm:prSet/>
      <dgm:spPr/>
      <dgm:t>
        <a:bodyPr/>
        <a:lstStyle/>
        <a:p>
          <a:endParaRPr lang="en-GB"/>
        </a:p>
      </dgm:t>
    </dgm:pt>
    <dgm:pt modelId="{9E346B8A-465F-426B-AE31-22F0A5741059}">
      <dgm:prSet custT="1"/>
      <dgm:spPr/>
      <dgm:t>
        <a:bodyPr/>
        <a:lstStyle/>
        <a:p>
          <a:pPr marL="360000">
            <a:lnSpc>
              <a:spcPct val="150000"/>
            </a:lnSpc>
            <a:buNone/>
          </a:pPr>
          <a:r>
            <a:rPr lang="en-GB" sz="2000" kern="1200" baseline="0">
              <a:solidFill>
                <a:prstClr val="white"/>
              </a:solidFill>
              <a:latin typeface="Segoe UI"/>
              <a:ea typeface="+mn-ea"/>
              <a:cs typeface="+mn-cs"/>
            </a:rPr>
            <a:t>End user/ Power user training</a:t>
          </a:r>
        </a:p>
      </dgm:t>
    </dgm:pt>
    <dgm:pt modelId="{D71850F3-3823-4923-A5FE-FE3BDF4235FC}" type="parTrans" cxnId="{1FF31B3A-D38C-4A4B-9855-0AB7F8BB9896}">
      <dgm:prSet/>
      <dgm:spPr/>
      <dgm:t>
        <a:bodyPr/>
        <a:lstStyle/>
        <a:p>
          <a:endParaRPr lang="en-GB"/>
        </a:p>
      </dgm:t>
    </dgm:pt>
    <dgm:pt modelId="{91CA64F8-9BD5-462D-92CA-E476BC630E4A}" type="sibTrans" cxnId="{1FF31B3A-D38C-4A4B-9855-0AB7F8BB9896}">
      <dgm:prSet/>
      <dgm:spPr/>
      <dgm:t>
        <a:bodyPr/>
        <a:lstStyle/>
        <a:p>
          <a:endParaRPr lang="en-GB"/>
        </a:p>
      </dgm:t>
    </dgm:pt>
    <dgm:pt modelId="{E1FC9531-1DE8-4871-8077-804460808A08}">
      <dgm:prSet custT="1"/>
      <dgm:spPr/>
      <dgm:t>
        <a:bodyPr/>
        <a:lstStyle/>
        <a:p>
          <a:pPr marL="360000">
            <a:lnSpc>
              <a:spcPct val="150000"/>
            </a:lnSpc>
            <a:buNone/>
          </a:pPr>
          <a:r>
            <a:rPr lang="en-GB" sz="2000" kern="1200" baseline="0">
              <a:solidFill>
                <a:prstClr val="white"/>
              </a:solidFill>
              <a:latin typeface="Segoe UI"/>
              <a:ea typeface="+mn-ea"/>
              <a:cs typeface="+mn-cs"/>
            </a:rPr>
            <a:t>Infrastructure setup</a:t>
          </a:r>
        </a:p>
      </dgm:t>
    </dgm:pt>
    <dgm:pt modelId="{67EDCB4F-4634-4B3F-A2F3-8709C6583410}" type="parTrans" cxnId="{BE048415-D765-49A5-9D76-702959360DE2}">
      <dgm:prSet/>
      <dgm:spPr/>
    </dgm:pt>
    <dgm:pt modelId="{35623A07-8B46-4981-8437-7473D191C04E}" type="sibTrans" cxnId="{BE048415-D765-49A5-9D76-702959360DE2}">
      <dgm:prSet/>
      <dgm:spPr/>
    </dgm:pt>
    <dgm:pt modelId="{DF40ED90-3DE8-4A5E-8148-12122FB51081}">
      <dgm:prSet custT="1"/>
      <dgm:spPr/>
      <dgm:t>
        <a:bodyPr/>
        <a:lstStyle/>
        <a:p>
          <a:pPr marL="360000">
            <a:lnSpc>
              <a:spcPct val="150000"/>
            </a:lnSpc>
            <a:buNone/>
          </a:pPr>
          <a:r>
            <a:rPr lang="en-GB" sz="2000" kern="1200" baseline="0">
              <a:solidFill>
                <a:prstClr val="white"/>
              </a:solidFill>
              <a:latin typeface="Segoe UI"/>
              <a:ea typeface="+mn-ea"/>
              <a:cs typeface="+mn-cs"/>
            </a:rPr>
            <a:t>Support structure</a:t>
          </a:r>
        </a:p>
      </dgm:t>
    </dgm:pt>
    <dgm:pt modelId="{C4A3F743-1B37-4906-A911-F529443C836A}" type="parTrans" cxnId="{8987A952-1CEF-4D69-98BC-1EED58F7A533}">
      <dgm:prSet/>
      <dgm:spPr/>
      <dgm:t>
        <a:bodyPr/>
        <a:lstStyle/>
        <a:p>
          <a:endParaRPr lang="en-GB"/>
        </a:p>
      </dgm:t>
    </dgm:pt>
    <dgm:pt modelId="{CB7F6D20-CFD5-4823-9495-66CFAD812438}" type="sibTrans" cxnId="{8987A952-1CEF-4D69-98BC-1EED58F7A533}">
      <dgm:prSet/>
      <dgm:spPr/>
      <dgm:t>
        <a:bodyPr/>
        <a:lstStyle/>
        <a:p>
          <a:endParaRPr lang="en-GB"/>
        </a:p>
      </dgm:t>
    </dgm:pt>
    <dgm:pt modelId="{5756F26A-CDCE-4F3D-813D-D8B8CEC6A6CE}">
      <dgm:prSet custT="1"/>
      <dgm:spPr/>
      <dgm:t>
        <a:bodyPr/>
        <a:lstStyle/>
        <a:p>
          <a:pPr marL="360000">
            <a:lnSpc>
              <a:spcPct val="150000"/>
            </a:lnSpc>
            <a:buNone/>
          </a:pPr>
          <a:r>
            <a:rPr lang="en-GB" sz="2000" baseline="0"/>
            <a:t>Infrastructure setup</a:t>
          </a:r>
          <a:endParaRPr lang="en-GB" sz="2000"/>
        </a:p>
      </dgm:t>
    </dgm:pt>
    <dgm:pt modelId="{83B0D285-08F5-4BF7-8FC4-997653CEDB98}" type="parTrans" cxnId="{115A376E-4FEA-46F7-B10E-59C19FF30FF6}">
      <dgm:prSet/>
      <dgm:spPr/>
    </dgm:pt>
    <dgm:pt modelId="{367D2E42-26AA-4686-9FD7-97A43997DB89}" type="sibTrans" cxnId="{115A376E-4FEA-46F7-B10E-59C19FF30FF6}">
      <dgm:prSet/>
      <dgm:spPr/>
    </dgm:pt>
    <dgm:pt modelId="{29FB2F4C-61BC-4459-A149-DA1F80C31612}" type="pres">
      <dgm:prSet presAssocID="{5718A29F-B205-4410-87AC-4CD49B63708B}" presName="diagram" presStyleCnt="0">
        <dgm:presLayoutVars>
          <dgm:dir/>
          <dgm:resizeHandles val="exact"/>
        </dgm:presLayoutVars>
      </dgm:prSet>
      <dgm:spPr/>
    </dgm:pt>
    <dgm:pt modelId="{197480A1-BFDC-4298-B195-411692E751F5}" type="pres">
      <dgm:prSet presAssocID="{587F28AF-938E-4AB2-BE59-9B8FEB743EBE}" presName="node" presStyleLbl="node1" presStyleIdx="0" presStyleCnt="2" custScaleY="131601">
        <dgm:presLayoutVars>
          <dgm:bulletEnabled val="1"/>
        </dgm:presLayoutVars>
      </dgm:prSet>
      <dgm:spPr/>
    </dgm:pt>
    <dgm:pt modelId="{3A207E7A-261B-47F5-B46A-DA1EB7BC477B}" type="pres">
      <dgm:prSet presAssocID="{627E7EDD-C7FE-4931-9065-1D376AC1B13C}" presName="sibTrans" presStyleCnt="0"/>
      <dgm:spPr/>
    </dgm:pt>
    <dgm:pt modelId="{9C0711DF-9261-4564-AFC3-163E9BED3EB0}" type="pres">
      <dgm:prSet presAssocID="{54F93565-52ED-4576-BC7D-0AF92CADD310}" presName="node" presStyleLbl="node1" presStyleIdx="1" presStyleCnt="2" custScaleY="130809">
        <dgm:presLayoutVars>
          <dgm:bulletEnabled val="1"/>
        </dgm:presLayoutVars>
      </dgm:prSet>
      <dgm:spPr/>
    </dgm:pt>
  </dgm:ptLst>
  <dgm:cxnLst>
    <dgm:cxn modelId="{54527D09-1E93-4489-BA1C-D90FC06E1817}" type="presOf" srcId="{E1FC9531-1DE8-4871-8077-804460808A08}" destId="{9C0711DF-9261-4564-AFC3-163E9BED3EB0}" srcOrd="0" destOrd="3" presId="urn:microsoft.com/office/officeart/2005/8/layout/default"/>
    <dgm:cxn modelId="{00FE4B0A-F8DC-4AC7-8873-C474AB772330}" srcId="{587F28AF-938E-4AB2-BE59-9B8FEB743EBE}" destId="{6CB9C5AE-BAC2-4EB7-8C89-0D8922A5E1F4}" srcOrd="1" destOrd="0" parTransId="{5B6E70B3-48A4-4797-A6F9-13DD452052C9}" sibTransId="{A2F3F4F6-63E4-4730-9601-480B9009893D}"/>
    <dgm:cxn modelId="{6D82490B-70F8-4E85-BDF1-31B371E78637}" type="presOf" srcId="{5756F26A-CDCE-4F3D-813D-D8B8CEC6A6CE}" destId="{197480A1-BFDC-4298-B195-411692E751F5}" srcOrd="0" destOrd="4" presId="urn:microsoft.com/office/officeart/2005/8/layout/default"/>
    <dgm:cxn modelId="{BE048415-D765-49A5-9D76-702959360DE2}" srcId="{54F93565-52ED-4576-BC7D-0AF92CADD310}" destId="{E1FC9531-1DE8-4871-8077-804460808A08}" srcOrd="2" destOrd="0" parTransId="{67EDCB4F-4634-4B3F-A2F3-8709C6583410}" sibTransId="{35623A07-8B46-4981-8437-7473D191C04E}"/>
    <dgm:cxn modelId="{442F0033-766F-4D37-A959-5030BC466FFC}" type="presOf" srcId="{6CB9C5AE-BAC2-4EB7-8C89-0D8922A5E1F4}" destId="{197480A1-BFDC-4298-B195-411692E751F5}" srcOrd="0" destOrd="2" presId="urn:microsoft.com/office/officeart/2005/8/layout/default"/>
    <dgm:cxn modelId="{1EDABC39-CB27-4EF1-834F-315E9FD6C0D9}" srcId="{587F28AF-938E-4AB2-BE59-9B8FEB743EBE}" destId="{ADA60B00-9F24-41D0-A9E3-B9F5E4676AAC}" srcOrd="0" destOrd="0" parTransId="{CEE911B0-8280-4AB3-B249-4E326E7E5319}" sibTransId="{A3EDE53F-C5AB-4C0B-8635-FF66539D2154}"/>
    <dgm:cxn modelId="{1FF31B3A-D38C-4A4B-9855-0AB7F8BB9896}" srcId="{54F93565-52ED-4576-BC7D-0AF92CADD310}" destId="{9E346B8A-465F-426B-AE31-22F0A5741059}" srcOrd="4" destOrd="0" parTransId="{D71850F3-3823-4923-A5FE-FE3BDF4235FC}" sibTransId="{91CA64F8-9BD5-462D-92CA-E476BC630E4A}"/>
    <dgm:cxn modelId="{36A03D66-40FE-48B2-9224-49B6898FF9F8}" type="presOf" srcId="{D4295925-4C46-4693-9BE0-4EFD8883C612}" destId="{9C0711DF-9261-4564-AFC3-163E9BED3EB0}" srcOrd="0" destOrd="2" presId="urn:microsoft.com/office/officeart/2005/8/layout/default"/>
    <dgm:cxn modelId="{C1E20A47-5D45-4230-96FE-6F15E326C943}" type="presOf" srcId="{54F93565-52ED-4576-BC7D-0AF92CADD310}" destId="{9C0711DF-9261-4564-AFC3-163E9BED3EB0}" srcOrd="0" destOrd="0" presId="urn:microsoft.com/office/officeart/2005/8/layout/default"/>
    <dgm:cxn modelId="{3D7BEF48-1867-4DDB-BD89-6547E1EFC209}" type="presOf" srcId="{587F28AF-938E-4AB2-BE59-9B8FEB743EBE}" destId="{197480A1-BFDC-4298-B195-411692E751F5}" srcOrd="0" destOrd="0" presId="urn:microsoft.com/office/officeart/2005/8/layout/default"/>
    <dgm:cxn modelId="{115A376E-4FEA-46F7-B10E-59C19FF30FF6}" srcId="{587F28AF-938E-4AB2-BE59-9B8FEB743EBE}" destId="{5756F26A-CDCE-4F3D-813D-D8B8CEC6A6CE}" srcOrd="3" destOrd="0" parTransId="{83B0D285-08F5-4BF7-8FC4-997653CEDB98}" sibTransId="{367D2E42-26AA-4686-9FD7-97A43997DB89}"/>
    <dgm:cxn modelId="{6FFD2C51-CF2B-4018-A248-7BEE096B6F87}" type="presOf" srcId="{CAC3BF27-D4B5-4C02-8B42-2AB35AF79839}" destId="{197480A1-BFDC-4298-B195-411692E751F5}" srcOrd="0" destOrd="5" presId="urn:microsoft.com/office/officeart/2005/8/layout/default"/>
    <dgm:cxn modelId="{8987A952-1CEF-4D69-98BC-1EED58F7A533}" srcId="{54F93565-52ED-4576-BC7D-0AF92CADD310}" destId="{DF40ED90-3DE8-4A5E-8148-12122FB51081}" srcOrd="3" destOrd="0" parTransId="{C4A3F743-1B37-4906-A911-F529443C836A}" sibTransId="{CB7F6D20-CFD5-4823-9495-66CFAD812438}"/>
    <dgm:cxn modelId="{B540CE76-3315-43AE-9FC4-6171518E361F}" srcId="{587F28AF-938E-4AB2-BE59-9B8FEB743EBE}" destId="{CAC3BF27-D4B5-4C02-8B42-2AB35AF79839}" srcOrd="4" destOrd="0" parTransId="{761DB02F-7666-4B91-8D79-8181D05E614D}" sibTransId="{A7B6D0ED-B620-4E4D-8072-836AD54F82CF}"/>
    <dgm:cxn modelId="{59008D80-0716-4A9E-8D5B-66A670D38FA6}" type="presOf" srcId="{DF40ED90-3DE8-4A5E-8148-12122FB51081}" destId="{9C0711DF-9261-4564-AFC3-163E9BED3EB0}" srcOrd="0" destOrd="4" presId="urn:microsoft.com/office/officeart/2005/8/layout/default"/>
    <dgm:cxn modelId="{E7AB4C82-E44F-4646-BD5E-F6E73BC10BE9}" srcId="{5718A29F-B205-4410-87AC-4CD49B63708B}" destId="{54F93565-52ED-4576-BC7D-0AF92CADD310}" srcOrd="1" destOrd="0" parTransId="{E945A0DC-6443-440E-9015-4C0FC81094BB}" sibTransId="{AADD4544-3179-4875-90F2-9F8969A8563D}"/>
    <dgm:cxn modelId="{DC4F638B-9456-44E1-960F-30C04903458B}" type="presOf" srcId="{ADA60B00-9F24-41D0-A9E3-B9F5E4676AAC}" destId="{197480A1-BFDC-4298-B195-411692E751F5}" srcOrd="0" destOrd="1" presId="urn:microsoft.com/office/officeart/2005/8/layout/default"/>
    <dgm:cxn modelId="{E55F9C8D-67CB-4FE5-878D-201A0F32AE21}" type="presOf" srcId="{FBD60577-C5E2-4CA4-9CD0-0E7CF52B379C}" destId="{197480A1-BFDC-4298-B195-411692E751F5}" srcOrd="0" destOrd="6" presId="urn:microsoft.com/office/officeart/2005/8/layout/default"/>
    <dgm:cxn modelId="{C5297390-0FFA-43E9-8647-883C9633400C}" type="presOf" srcId="{5718A29F-B205-4410-87AC-4CD49B63708B}" destId="{29FB2F4C-61BC-4459-A149-DA1F80C31612}" srcOrd="0" destOrd="0" presId="urn:microsoft.com/office/officeart/2005/8/layout/default"/>
    <dgm:cxn modelId="{E363BE91-F24A-4E18-98D4-A2A46A25F30E}" type="presOf" srcId="{1A282B2D-6614-41D6-A213-80B731E54A83}" destId="{197480A1-BFDC-4298-B195-411692E751F5}" srcOrd="0" destOrd="3" presId="urn:microsoft.com/office/officeart/2005/8/layout/default"/>
    <dgm:cxn modelId="{2D269F95-B9FA-4172-AFFA-70E3F0CF7B82}" type="presOf" srcId="{9E346B8A-465F-426B-AE31-22F0A5741059}" destId="{9C0711DF-9261-4564-AFC3-163E9BED3EB0}" srcOrd="0" destOrd="5" presId="urn:microsoft.com/office/officeart/2005/8/layout/default"/>
    <dgm:cxn modelId="{3B06F1A6-FF19-4A17-A32A-79186945183D}" srcId="{54F93565-52ED-4576-BC7D-0AF92CADD310}" destId="{E8FC284B-5DCB-4308-9A62-38C2B2321EFF}" srcOrd="0" destOrd="0" parTransId="{29C48661-EFBC-4768-90E0-C18D92244C13}" sibTransId="{114CD63A-CADC-41AA-9CF2-F25913C54375}"/>
    <dgm:cxn modelId="{959A0FB5-E3FD-4131-B38C-D3D50C2DC4F6}" srcId="{587F28AF-938E-4AB2-BE59-9B8FEB743EBE}" destId="{1A282B2D-6614-41D6-A213-80B731E54A83}" srcOrd="2" destOrd="0" parTransId="{CAE579C5-51CC-4D52-B9A7-358E2D1F3465}" sibTransId="{1F9724F4-5D3A-4CEB-B143-542B9CE5AA3D}"/>
    <dgm:cxn modelId="{5B7620B9-4D06-4771-BECA-05D087A5A98D}" type="presOf" srcId="{E8FC284B-5DCB-4308-9A62-38C2B2321EFF}" destId="{9C0711DF-9261-4564-AFC3-163E9BED3EB0}" srcOrd="0" destOrd="1" presId="urn:microsoft.com/office/officeart/2005/8/layout/default"/>
    <dgm:cxn modelId="{FA0756C9-DE8D-4224-86CE-25123F9485AB}" srcId="{5718A29F-B205-4410-87AC-4CD49B63708B}" destId="{587F28AF-938E-4AB2-BE59-9B8FEB743EBE}" srcOrd="0" destOrd="0" parTransId="{126C6C3D-D951-40AA-B036-2F2A2A71CB35}" sibTransId="{627E7EDD-C7FE-4931-9065-1D376AC1B13C}"/>
    <dgm:cxn modelId="{55DCCFF3-1F01-4F6C-A786-7825DDA6B57A}" srcId="{54F93565-52ED-4576-BC7D-0AF92CADD310}" destId="{D4295925-4C46-4693-9BE0-4EFD8883C612}" srcOrd="1" destOrd="0" parTransId="{E99B53B6-220C-4ADC-9C9B-4C4CE7E2DFE7}" sibTransId="{C0C971A7-0BAC-4B2F-902B-06B67EEBC22F}"/>
    <dgm:cxn modelId="{95754EFE-55CD-4E6C-8767-8B2D1E6108A7}" srcId="{587F28AF-938E-4AB2-BE59-9B8FEB743EBE}" destId="{FBD60577-C5E2-4CA4-9CD0-0E7CF52B379C}" srcOrd="5" destOrd="0" parTransId="{61FF312E-8C99-4D5A-A7D6-B5769DDFBC21}" sibTransId="{B2A49410-908C-43A2-8FD7-73AAEECEC9D9}"/>
    <dgm:cxn modelId="{35CEDD0C-8AC4-477E-B2EC-C4BE15F495DF}" type="presParOf" srcId="{29FB2F4C-61BC-4459-A149-DA1F80C31612}" destId="{197480A1-BFDC-4298-B195-411692E751F5}" srcOrd="0" destOrd="0" presId="urn:microsoft.com/office/officeart/2005/8/layout/default"/>
    <dgm:cxn modelId="{4142B6CE-C95E-4F3D-8BCA-DE5BA401E776}" type="presParOf" srcId="{29FB2F4C-61BC-4459-A149-DA1F80C31612}" destId="{3A207E7A-261B-47F5-B46A-DA1EB7BC477B}" srcOrd="1" destOrd="0" presId="urn:microsoft.com/office/officeart/2005/8/layout/default"/>
    <dgm:cxn modelId="{AD36FDAC-AAF9-4C74-845A-2F6E6E713C55}" type="presParOf" srcId="{29FB2F4C-61BC-4459-A149-DA1F80C31612}" destId="{9C0711DF-9261-4564-AFC3-163E9BED3EB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8D9DCDC-58B8-4117-A98F-33BDC6E3BB47}"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E168C879-F9CA-4049-822F-F7E925AB7611}">
      <dgm:prSet/>
      <dgm:spPr/>
      <dgm:t>
        <a:bodyPr/>
        <a:lstStyle/>
        <a:p>
          <a:r>
            <a:rPr lang="en-GB" baseline="0">
              <a:solidFill>
                <a:srgbClr val="F2C811"/>
              </a:solidFill>
            </a:rPr>
            <a:t>Consumers</a:t>
          </a:r>
          <a:endParaRPr lang="en-GB">
            <a:solidFill>
              <a:srgbClr val="F2C811"/>
            </a:solidFill>
          </a:endParaRPr>
        </a:p>
      </dgm:t>
    </dgm:pt>
    <dgm:pt modelId="{E7CC3E45-696A-475F-8155-C3D9691E0BED}" type="parTrans" cxnId="{72EED37C-1AB5-4186-A661-5DD15546E325}">
      <dgm:prSet/>
      <dgm:spPr/>
      <dgm:t>
        <a:bodyPr/>
        <a:lstStyle/>
        <a:p>
          <a:endParaRPr lang="en-US"/>
        </a:p>
      </dgm:t>
    </dgm:pt>
    <dgm:pt modelId="{FEA239DC-7CB9-4308-B67C-FC31005687D3}" type="sibTrans" cxnId="{72EED37C-1AB5-4186-A661-5DD15546E325}">
      <dgm:prSet/>
      <dgm:spPr/>
      <dgm:t>
        <a:bodyPr/>
        <a:lstStyle/>
        <a:p>
          <a:endParaRPr lang="en-US"/>
        </a:p>
      </dgm:t>
    </dgm:pt>
    <dgm:pt modelId="{242C4A25-8817-41B4-8076-0C53AAA3B41B}">
      <dgm:prSet/>
      <dgm:spPr/>
      <dgm:t>
        <a:bodyPr/>
        <a:lstStyle/>
        <a:p>
          <a:r>
            <a:rPr lang="en-GB" baseline="0">
              <a:solidFill>
                <a:srgbClr val="F2C811"/>
              </a:solidFill>
            </a:rPr>
            <a:t>Analysts</a:t>
          </a:r>
          <a:endParaRPr lang="en-GB">
            <a:solidFill>
              <a:srgbClr val="F2C811"/>
            </a:solidFill>
          </a:endParaRPr>
        </a:p>
      </dgm:t>
    </dgm:pt>
    <dgm:pt modelId="{F43778F4-9965-428B-A9F2-1E5EF5E5B3AC}" type="parTrans" cxnId="{2E7C0437-2C80-4296-B65E-B708DC0E4293}">
      <dgm:prSet/>
      <dgm:spPr/>
      <dgm:t>
        <a:bodyPr/>
        <a:lstStyle/>
        <a:p>
          <a:endParaRPr lang="en-US"/>
        </a:p>
      </dgm:t>
    </dgm:pt>
    <dgm:pt modelId="{E931034D-2D5B-4E32-8146-A40FD93263E7}" type="sibTrans" cxnId="{2E7C0437-2C80-4296-B65E-B708DC0E4293}">
      <dgm:prSet/>
      <dgm:spPr/>
      <dgm:t>
        <a:bodyPr/>
        <a:lstStyle/>
        <a:p>
          <a:endParaRPr lang="en-US"/>
        </a:p>
      </dgm:t>
    </dgm:pt>
    <dgm:pt modelId="{6D5F11D2-0238-4895-A448-A89F746A81D0}">
      <dgm:prSet/>
      <dgm:spPr/>
      <dgm:t>
        <a:bodyPr/>
        <a:lstStyle/>
        <a:p>
          <a:r>
            <a:rPr lang="en-GB" baseline="0">
              <a:solidFill>
                <a:srgbClr val="F2C811"/>
              </a:solidFill>
            </a:rPr>
            <a:t>Power Users</a:t>
          </a:r>
          <a:endParaRPr lang="en-GB">
            <a:solidFill>
              <a:srgbClr val="F2C811"/>
            </a:solidFill>
          </a:endParaRPr>
        </a:p>
      </dgm:t>
    </dgm:pt>
    <dgm:pt modelId="{DECA485F-36D1-490A-8CEF-E48B952AAB51}" type="parTrans" cxnId="{2B6B6006-FD34-485B-B1E3-6470B6FF8DEA}">
      <dgm:prSet/>
      <dgm:spPr/>
      <dgm:t>
        <a:bodyPr/>
        <a:lstStyle/>
        <a:p>
          <a:endParaRPr lang="en-US"/>
        </a:p>
      </dgm:t>
    </dgm:pt>
    <dgm:pt modelId="{24F99CF3-D76B-4A23-8378-1025972C17FD}" type="sibTrans" cxnId="{2B6B6006-FD34-485B-B1E3-6470B6FF8DEA}">
      <dgm:prSet/>
      <dgm:spPr/>
      <dgm:t>
        <a:bodyPr/>
        <a:lstStyle/>
        <a:p>
          <a:endParaRPr lang="en-US"/>
        </a:p>
      </dgm:t>
    </dgm:pt>
    <dgm:pt modelId="{F78C4A3C-AEF3-47CB-B378-38581852FD10}">
      <dgm:prSet/>
      <dgm:spPr/>
      <dgm:t>
        <a:bodyPr/>
        <a:lstStyle/>
        <a:p>
          <a:r>
            <a:rPr lang="en-GB" baseline="0">
              <a:solidFill>
                <a:srgbClr val="F2C811"/>
              </a:solidFill>
            </a:rPr>
            <a:t>IT Operations</a:t>
          </a:r>
          <a:endParaRPr lang="en-GB">
            <a:solidFill>
              <a:srgbClr val="F2C811"/>
            </a:solidFill>
          </a:endParaRPr>
        </a:p>
      </dgm:t>
    </dgm:pt>
    <dgm:pt modelId="{3A3C7AF7-CE72-4575-9F14-73F85813EC45}" type="parTrans" cxnId="{97033AC3-54D1-465D-A2EC-F6E72C9ED595}">
      <dgm:prSet/>
      <dgm:spPr/>
      <dgm:t>
        <a:bodyPr/>
        <a:lstStyle/>
        <a:p>
          <a:endParaRPr lang="en-US"/>
        </a:p>
      </dgm:t>
    </dgm:pt>
    <dgm:pt modelId="{CA8B0EE2-3E97-41E8-9C82-CD939078B81B}" type="sibTrans" cxnId="{97033AC3-54D1-465D-A2EC-F6E72C9ED595}">
      <dgm:prSet/>
      <dgm:spPr/>
      <dgm:t>
        <a:bodyPr/>
        <a:lstStyle/>
        <a:p>
          <a:endParaRPr lang="en-US"/>
        </a:p>
      </dgm:t>
    </dgm:pt>
    <dgm:pt modelId="{2CCF9BE5-F79C-4A38-BA2D-83CA3FEEC8B3}">
      <dgm:prSet/>
      <dgm:spPr/>
      <dgm:t>
        <a:bodyPr/>
        <a:lstStyle/>
        <a:p>
          <a:r>
            <a:rPr lang="en-GB" baseline="0">
              <a:solidFill>
                <a:srgbClr val="F2C811"/>
              </a:solidFill>
            </a:rPr>
            <a:t>IT Support</a:t>
          </a:r>
          <a:endParaRPr lang="en-GB">
            <a:solidFill>
              <a:srgbClr val="F2C811"/>
            </a:solidFill>
          </a:endParaRPr>
        </a:p>
      </dgm:t>
    </dgm:pt>
    <dgm:pt modelId="{735FBB24-FCCF-4254-BD17-202DCDAFC467}" type="parTrans" cxnId="{F499CDA7-F229-468B-A52A-C1F7B6363287}">
      <dgm:prSet/>
      <dgm:spPr/>
      <dgm:t>
        <a:bodyPr/>
        <a:lstStyle/>
        <a:p>
          <a:endParaRPr lang="en-US"/>
        </a:p>
      </dgm:t>
    </dgm:pt>
    <dgm:pt modelId="{2208C44D-3E44-4F92-92BB-B3DD42D65849}" type="sibTrans" cxnId="{F499CDA7-F229-468B-A52A-C1F7B6363287}">
      <dgm:prSet/>
      <dgm:spPr/>
      <dgm:t>
        <a:bodyPr/>
        <a:lstStyle/>
        <a:p>
          <a:endParaRPr lang="en-US"/>
        </a:p>
      </dgm:t>
    </dgm:pt>
    <dgm:pt modelId="{264F364A-6FC1-4F55-AF60-D1AF44EBAF44}">
      <dgm:prSet/>
      <dgm:spPr/>
      <dgm:t>
        <a:bodyPr/>
        <a:lstStyle/>
        <a:p>
          <a:r>
            <a:rPr lang="en-GB" baseline="0">
              <a:solidFill>
                <a:srgbClr val="F2C811"/>
              </a:solidFill>
            </a:rPr>
            <a:t>BI Development Team</a:t>
          </a:r>
          <a:endParaRPr lang="en-GB">
            <a:solidFill>
              <a:srgbClr val="F2C811"/>
            </a:solidFill>
          </a:endParaRPr>
        </a:p>
      </dgm:t>
    </dgm:pt>
    <dgm:pt modelId="{60936F4E-8784-481B-A40A-0C0A28876BAC}" type="parTrans" cxnId="{DC6C510C-735A-4FB1-9703-BABBDE3F4821}">
      <dgm:prSet/>
      <dgm:spPr/>
    </dgm:pt>
    <dgm:pt modelId="{FF52902E-609F-4E06-BF6F-7D89F089D5CD}" type="sibTrans" cxnId="{DC6C510C-735A-4FB1-9703-BABBDE3F4821}">
      <dgm:prSet/>
      <dgm:spPr/>
    </dgm:pt>
    <dgm:pt modelId="{1DA1114E-1AA5-4F41-A55F-5F570B2C7C17}">
      <dgm:prSet/>
      <dgm:spPr/>
      <dgm:t>
        <a:bodyPr/>
        <a:lstStyle/>
        <a:p>
          <a:r>
            <a:rPr lang="en-GB">
              <a:solidFill>
                <a:srgbClr val="F2C811"/>
              </a:solidFill>
            </a:rPr>
            <a:t>Web Development Team</a:t>
          </a:r>
        </a:p>
      </dgm:t>
    </dgm:pt>
    <dgm:pt modelId="{9E8A6C82-A40F-413E-A084-8A8A386A2A02}" type="parTrans" cxnId="{E28561C2-BCD5-4A73-81EB-C8195FBB27FB}">
      <dgm:prSet/>
      <dgm:spPr/>
    </dgm:pt>
    <dgm:pt modelId="{942D5485-9BCB-48C2-9D96-3C9EF77C4256}" type="sibTrans" cxnId="{E28561C2-BCD5-4A73-81EB-C8195FBB27FB}">
      <dgm:prSet/>
      <dgm:spPr/>
    </dgm:pt>
    <dgm:pt modelId="{44FF7895-7B9F-46AB-AE4E-5CCB0182D889}" type="pres">
      <dgm:prSet presAssocID="{C8D9DCDC-58B8-4117-A98F-33BDC6E3BB47}" presName="diagram" presStyleCnt="0">
        <dgm:presLayoutVars>
          <dgm:dir/>
          <dgm:resizeHandles val="exact"/>
        </dgm:presLayoutVars>
      </dgm:prSet>
      <dgm:spPr/>
    </dgm:pt>
    <dgm:pt modelId="{F5EF0B7E-E84F-4224-977D-79216BA1B39E}" type="pres">
      <dgm:prSet presAssocID="{E168C879-F9CA-4049-822F-F7E925AB7611}" presName="node" presStyleLbl="node1" presStyleIdx="0" presStyleCnt="7">
        <dgm:presLayoutVars>
          <dgm:bulletEnabled val="1"/>
        </dgm:presLayoutVars>
      </dgm:prSet>
      <dgm:spPr/>
    </dgm:pt>
    <dgm:pt modelId="{9731D499-7C92-412A-A55F-996B1D671088}" type="pres">
      <dgm:prSet presAssocID="{FEA239DC-7CB9-4308-B67C-FC31005687D3}" presName="sibTrans" presStyleCnt="0"/>
      <dgm:spPr/>
    </dgm:pt>
    <dgm:pt modelId="{60B5355D-1B85-4E75-BC4B-AE0EE414B046}" type="pres">
      <dgm:prSet presAssocID="{242C4A25-8817-41B4-8076-0C53AAA3B41B}" presName="node" presStyleLbl="node1" presStyleIdx="1" presStyleCnt="7">
        <dgm:presLayoutVars>
          <dgm:bulletEnabled val="1"/>
        </dgm:presLayoutVars>
      </dgm:prSet>
      <dgm:spPr/>
    </dgm:pt>
    <dgm:pt modelId="{0FB9AC9C-424D-49D0-97D7-620E482330E1}" type="pres">
      <dgm:prSet presAssocID="{E931034D-2D5B-4E32-8146-A40FD93263E7}" presName="sibTrans" presStyleCnt="0"/>
      <dgm:spPr/>
    </dgm:pt>
    <dgm:pt modelId="{808AC199-073E-4CE9-8C9C-A7F6C3972209}" type="pres">
      <dgm:prSet presAssocID="{6D5F11D2-0238-4895-A448-A89F746A81D0}" presName="node" presStyleLbl="node1" presStyleIdx="2" presStyleCnt="7">
        <dgm:presLayoutVars>
          <dgm:bulletEnabled val="1"/>
        </dgm:presLayoutVars>
      </dgm:prSet>
      <dgm:spPr/>
    </dgm:pt>
    <dgm:pt modelId="{63856B23-BAA9-431B-A89D-948E5CEB73C9}" type="pres">
      <dgm:prSet presAssocID="{24F99CF3-D76B-4A23-8378-1025972C17FD}" presName="sibTrans" presStyleCnt="0"/>
      <dgm:spPr/>
    </dgm:pt>
    <dgm:pt modelId="{55F4C0ED-F8B6-45D0-B45B-D76A35D5799E}" type="pres">
      <dgm:prSet presAssocID="{264F364A-6FC1-4F55-AF60-D1AF44EBAF44}" presName="node" presStyleLbl="node1" presStyleIdx="3" presStyleCnt="7">
        <dgm:presLayoutVars>
          <dgm:bulletEnabled val="1"/>
        </dgm:presLayoutVars>
      </dgm:prSet>
      <dgm:spPr/>
    </dgm:pt>
    <dgm:pt modelId="{83B1A0E1-A1A5-40DA-8C62-C1FC276E3F5D}" type="pres">
      <dgm:prSet presAssocID="{FF52902E-609F-4E06-BF6F-7D89F089D5CD}" presName="sibTrans" presStyleCnt="0"/>
      <dgm:spPr/>
    </dgm:pt>
    <dgm:pt modelId="{3B917423-5A2A-4FCB-A191-C3AD327B11F5}" type="pres">
      <dgm:prSet presAssocID="{1DA1114E-1AA5-4F41-A55F-5F570B2C7C17}" presName="node" presStyleLbl="node1" presStyleIdx="4" presStyleCnt="7">
        <dgm:presLayoutVars>
          <dgm:bulletEnabled val="1"/>
        </dgm:presLayoutVars>
      </dgm:prSet>
      <dgm:spPr/>
    </dgm:pt>
    <dgm:pt modelId="{07F1FECC-0255-4790-9EDD-ABFD8C2C3CB1}" type="pres">
      <dgm:prSet presAssocID="{942D5485-9BCB-48C2-9D96-3C9EF77C4256}" presName="sibTrans" presStyleCnt="0"/>
      <dgm:spPr/>
    </dgm:pt>
    <dgm:pt modelId="{19A46E4A-93E5-4F2A-9525-7831B175DFD1}" type="pres">
      <dgm:prSet presAssocID="{F78C4A3C-AEF3-47CB-B378-38581852FD10}" presName="node" presStyleLbl="node1" presStyleIdx="5" presStyleCnt="7">
        <dgm:presLayoutVars>
          <dgm:bulletEnabled val="1"/>
        </dgm:presLayoutVars>
      </dgm:prSet>
      <dgm:spPr/>
    </dgm:pt>
    <dgm:pt modelId="{DEF831C8-CF2A-4A6A-BAF8-F506565EA1D8}" type="pres">
      <dgm:prSet presAssocID="{CA8B0EE2-3E97-41E8-9C82-CD939078B81B}" presName="sibTrans" presStyleCnt="0"/>
      <dgm:spPr/>
    </dgm:pt>
    <dgm:pt modelId="{1B22350D-BA24-474E-A4EB-BAD626370158}" type="pres">
      <dgm:prSet presAssocID="{2CCF9BE5-F79C-4A38-BA2D-83CA3FEEC8B3}" presName="node" presStyleLbl="node1" presStyleIdx="6" presStyleCnt="7">
        <dgm:presLayoutVars>
          <dgm:bulletEnabled val="1"/>
        </dgm:presLayoutVars>
      </dgm:prSet>
      <dgm:spPr/>
    </dgm:pt>
  </dgm:ptLst>
  <dgm:cxnLst>
    <dgm:cxn modelId="{2B6B6006-FD34-485B-B1E3-6470B6FF8DEA}" srcId="{C8D9DCDC-58B8-4117-A98F-33BDC6E3BB47}" destId="{6D5F11D2-0238-4895-A448-A89F746A81D0}" srcOrd="2" destOrd="0" parTransId="{DECA485F-36D1-490A-8CEF-E48B952AAB51}" sibTransId="{24F99CF3-D76B-4A23-8378-1025972C17FD}"/>
    <dgm:cxn modelId="{DC6C510C-735A-4FB1-9703-BABBDE3F4821}" srcId="{C8D9DCDC-58B8-4117-A98F-33BDC6E3BB47}" destId="{264F364A-6FC1-4F55-AF60-D1AF44EBAF44}" srcOrd="3" destOrd="0" parTransId="{60936F4E-8784-481B-A40A-0C0A28876BAC}" sibTransId="{FF52902E-609F-4E06-BF6F-7D89F089D5CD}"/>
    <dgm:cxn modelId="{BABD4227-7750-46CF-BF64-B0CF4923EF63}" type="presOf" srcId="{6D5F11D2-0238-4895-A448-A89F746A81D0}" destId="{808AC199-073E-4CE9-8C9C-A7F6C3972209}" srcOrd="0" destOrd="0" presId="urn:microsoft.com/office/officeart/2005/8/layout/default"/>
    <dgm:cxn modelId="{2C2A0C2A-1E40-46AD-816C-F5D4227B64A0}" type="presOf" srcId="{242C4A25-8817-41B4-8076-0C53AAA3B41B}" destId="{60B5355D-1B85-4E75-BC4B-AE0EE414B046}" srcOrd="0" destOrd="0" presId="urn:microsoft.com/office/officeart/2005/8/layout/default"/>
    <dgm:cxn modelId="{2E7C0437-2C80-4296-B65E-B708DC0E4293}" srcId="{C8D9DCDC-58B8-4117-A98F-33BDC6E3BB47}" destId="{242C4A25-8817-41B4-8076-0C53AAA3B41B}" srcOrd="1" destOrd="0" parTransId="{F43778F4-9965-428B-A9F2-1E5EF5E5B3AC}" sibTransId="{E931034D-2D5B-4E32-8146-A40FD93263E7}"/>
    <dgm:cxn modelId="{72EED37C-1AB5-4186-A661-5DD15546E325}" srcId="{C8D9DCDC-58B8-4117-A98F-33BDC6E3BB47}" destId="{E168C879-F9CA-4049-822F-F7E925AB7611}" srcOrd="0" destOrd="0" parTransId="{E7CC3E45-696A-475F-8155-C3D9691E0BED}" sibTransId="{FEA239DC-7CB9-4308-B67C-FC31005687D3}"/>
    <dgm:cxn modelId="{AADB318E-6271-4E8C-8AD2-6F568D9F6873}" type="presOf" srcId="{1DA1114E-1AA5-4F41-A55F-5F570B2C7C17}" destId="{3B917423-5A2A-4FCB-A191-C3AD327B11F5}" srcOrd="0" destOrd="0" presId="urn:microsoft.com/office/officeart/2005/8/layout/default"/>
    <dgm:cxn modelId="{3DABAB98-DA4E-4F66-B9C8-81E94D6DB6F7}" type="presOf" srcId="{E168C879-F9CA-4049-822F-F7E925AB7611}" destId="{F5EF0B7E-E84F-4224-977D-79216BA1B39E}" srcOrd="0" destOrd="0" presId="urn:microsoft.com/office/officeart/2005/8/layout/default"/>
    <dgm:cxn modelId="{5CDAA9A7-81CC-49A5-88F3-4CAB13188C2C}" type="presOf" srcId="{F78C4A3C-AEF3-47CB-B378-38581852FD10}" destId="{19A46E4A-93E5-4F2A-9525-7831B175DFD1}" srcOrd="0" destOrd="0" presId="urn:microsoft.com/office/officeart/2005/8/layout/default"/>
    <dgm:cxn modelId="{F499CDA7-F229-468B-A52A-C1F7B6363287}" srcId="{C8D9DCDC-58B8-4117-A98F-33BDC6E3BB47}" destId="{2CCF9BE5-F79C-4A38-BA2D-83CA3FEEC8B3}" srcOrd="6" destOrd="0" parTransId="{735FBB24-FCCF-4254-BD17-202DCDAFC467}" sibTransId="{2208C44D-3E44-4F92-92BB-B3DD42D65849}"/>
    <dgm:cxn modelId="{C070E2A7-7EAC-42C5-AC00-5804AE546810}" type="presOf" srcId="{264F364A-6FC1-4F55-AF60-D1AF44EBAF44}" destId="{55F4C0ED-F8B6-45D0-B45B-D76A35D5799E}" srcOrd="0" destOrd="0" presId="urn:microsoft.com/office/officeart/2005/8/layout/default"/>
    <dgm:cxn modelId="{58829FB3-7AE4-4F99-8722-86248311003B}" type="presOf" srcId="{C8D9DCDC-58B8-4117-A98F-33BDC6E3BB47}" destId="{44FF7895-7B9F-46AB-AE4E-5CCB0182D889}" srcOrd="0" destOrd="0" presId="urn:microsoft.com/office/officeart/2005/8/layout/default"/>
    <dgm:cxn modelId="{E28561C2-BCD5-4A73-81EB-C8195FBB27FB}" srcId="{C8D9DCDC-58B8-4117-A98F-33BDC6E3BB47}" destId="{1DA1114E-1AA5-4F41-A55F-5F570B2C7C17}" srcOrd="4" destOrd="0" parTransId="{9E8A6C82-A40F-413E-A084-8A8A386A2A02}" sibTransId="{942D5485-9BCB-48C2-9D96-3C9EF77C4256}"/>
    <dgm:cxn modelId="{97033AC3-54D1-465D-A2EC-F6E72C9ED595}" srcId="{C8D9DCDC-58B8-4117-A98F-33BDC6E3BB47}" destId="{F78C4A3C-AEF3-47CB-B378-38581852FD10}" srcOrd="5" destOrd="0" parTransId="{3A3C7AF7-CE72-4575-9F14-73F85813EC45}" sibTransId="{CA8B0EE2-3E97-41E8-9C82-CD939078B81B}"/>
    <dgm:cxn modelId="{0DB8D7DD-40AF-4859-9BE7-B0636E2ACC9D}" type="presOf" srcId="{2CCF9BE5-F79C-4A38-BA2D-83CA3FEEC8B3}" destId="{1B22350D-BA24-474E-A4EB-BAD626370158}" srcOrd="0" destOrd="0" presId="urn:microsoft.com/office/officeart/2005/8/layout/default"/>
    <dgm:cxn modelId="{4833DFAA-22F3-4922-B74D-1AFC47C7F789}" type="presParOf" srcId="{44FF7895-7B9F-46AB-AE4E-5CCB0182D889}" destId="{F5EF0B7E-E84F-4224-977D-79216BA1B39E}" srcOrd="0" destOrd="0" presId="urn:microsoft.com/office/officeart/2005/8/layout/default"/>
    <dgm:cxn modelId="{3220F2F4-8CA6-40E5-86E5-4411F56CFA4A}" type="presParOf" srcId="{44FF7895-7B9F-46AB-AE4E-5CCB0182D889}" destId="{9731D499-7C92-412A-A55F-996B1D671088}" srcOrd="1" destOrd="0" presId="urn:microsoft.com/office/officeart/2005/8/layout/default"/>
    <dgm:cxn modelId="{5A18729E-894A-473A-BD6D-34A54812DE0D}" type="presParOf" srcId="{44FF7895-7B9F-46AB-AE4E-5CCB0182D889}" destId="{60B5355D-1B85-4E75-BC4B-AE0EE414B046}" srcOrd="2" destOrd="0" presId="urn:microsoft.com/office/officeart/2005/8/layout/default"/>
    <dgm:cxn modelId="{099AF372-8F0A-47B5-B78A-BE98013043EF}" type="presParOf" srcId="{44FF7895-7B9F-46AB-AE4E-5CCB0182D889}" destId="{0FB9AC9C-424D-49D0-97D7-620E482330E1}" srcOrd="3" destOrd="0" presId="urn:microsoft.com/office/officeart/2005/8/layout/default"/>
    <dgm:cxn modelId="{7FBAAD99-0D54-4A20-88B6-23B99D283D9F}" type="presParOf" srcId="{44FF7895-7B9F-46AB-AE4E-5CCB0182D889}" destId="{808AC199-073E-4CE9-8C9C-A7F6C3972209}" srcOrd="4" destOrd="0" presId="urn:microsoft.com/office/officeart/2005/8/layout/default"/>
    <dgm:cxn modelId="{93D2485E-A04F-414C-954C-49FD9460EC5D}" type="presParOf" srcId="{44FF7895-7B9F-46AB-AE4E-5CCB0182D889}" destId="{63856B23-BAA9-431B-A89D-948E5CEB73C9}" srcOrd="5" destOrd="0" presId="urn:microsoft.com/office/officeart/2005/8/layout/default"/>
    <dgm:cxn modelId="{0408D33C-DE04-4074-8650-9139CBE1C6AA}" type="presParOf" srcId="{44FF7895-7B9F-46AB-AE4E-5CCB0182D889}" destId="{55F4C0ED-F8B6-45D0-B45B-D76A35D5799E}" srcOrd="6" destOrd="0" presId="urn:microsoft.com/office/officeart/2005/8/layout/default"/>
    <dgm:cxn modelId="{5BC70FC7-5CB0-417B-BC82-AD4A71654D66}" type="presParOf" srcId="{44FF7895-7B9F-46AB-AE4E-5CCB0182D889}" destId="{83B1A0E1-A1A5-40DA-8C62-C1FC276E3F5D}" srcOrd="7" destOrd="0" presId="urn:microsoft.com/office/officeart/2005/8/layout/default"/>
    <dgm:cxn modelId="{95E98C98-0CC0-44C5-ADD1-B188856E9621}" type="presParOf" srcId="{44FF7895-7B9F-46AB-AE4E-5CCB0182D889}" destId="{3B917423-5A2A-4FCB-A191-C3AD327B11F5}" srcOrd="8" destOrd="0" presId="urn:microsoft.com/office/officeart/2005/8/layout/default"/>
    <dgm:cxn modelId="{5F7A0BA1-10A3-4067-BA18-8B01CD3194CF}" type="presParOf" srcId="{44FF7895-7B9F-46AB-AE4E-5CCB0182D889}" destId="{07F1FECC-0255-4790-9EDD-ABFD8C2C3CB1}" srcOrd="9" destOrd="0" presId="urn:microsoft.com/office/officeart/2005/8/layout/default"/>
    <dgm:cxn modelId="{954DBD34-A010-4F88-A8EB-29D83E46F501}" type="presParOf" srcId="{44FF7895-7B9F-46AB-AE4E-5CCB0182D889}" destId="{19A46E4A-93E5-4F2A-9525-7831B175DFD1}" srcOrd="10" destOrd="0" presId="urn:microsoft.com/office/officeart/2005/8/layout/default"/>
    <dgm:cxn modelId="{C910FE2C-4354-488F-9141-8D1DD054DE6C}" type="presParOf" srcId="{44FF7895-7B9F-46AB-AE4E-5CCB0182D889}" destId="{DEF831C8-CF2A-4A6A-BAF8-F506565EA1D8}" srcOrd="11" destOrd="0" presId="urn:microsoft.com/office/officeart/2005/8/layout/default"/>
    <dgm:cxn modelId="{101BA0BB-4054-4A74-8CE5-CC8C9A880269}" type="presParOf" srcId="{44FF7895-7B9F-46AB-AE4E-5CCB0182D889}" destId="{1B22350D-BA24-474E-A4EB-BAD626370158}"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25AB223E-4953-4EF2-BA3C-ECDF95A84747}">
      <dgm:prSet custT="1"/>
      <dgm:spPr/>
      <dgm:t>
        <a:bodyPr/>
        <a:lstStyle/>
        <a:p>
          <a:r>
            <a:rPr lang="en-GB" sz="2400">
              <a:solidFill>
                <a:schemeClr val="bg2"/>
              </a:solidFill>
            </a:rPr>
            <a:t>Structure</a:t>
          </a:r>
          <a:endParaRPr lang="en-US" sz="2400"/>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03FE2C8-697A-44AA-8A58-2AB8CD5FE559}">
      <dgm:prSet custT="1"/>
      <dgm:spPr/>
      <dgm:t>
        <a:bodyPr/>
        <a:lstStyle/>
        <a:p>
          <a:r>
            <a:rPr lang="en-GB" sz="2400">
              <a:solidFill>
                <a:schemeClr val="bg2"/>
              </a:solidFill>
            </a:rPr>
            <a:t>Readiness</a:t>
          </a:r>
        </a:p>
      </dgm:t>
    </dgm:pt>
    <dgm:pt modelId="{0CD534FB-0E5D-4C27-B30B-84F397B9E7CF}" type="parTrans" cxnId="{ED2F2EF3-4A15-422F-BEDB-E78A15BB5F74}">
      <dgm:prSet/>
      <dgm:spPr/>
      <dgm:t>
        <a:bodyPr/>
        <a:lstStyle/>
        <a:p>
          <a:endParaRPr lang="en-GB"/>
        </a:p>
      </dgm:t>
    </dgm:pt>
    <dgm:pt modelId="{FBC92A26-3BB4-4C37-9EC9-6618C9F33F01}" type="sibTrans" cxnId="{ED2F2EF3-4A15-422F-BEDB-E78A15BB5F74}">
      <dgm:prSet/>
      <dgm:spPr/>
      <dgm:t>
        <a:bodyPr/>
        <a:lstStyle/>
        <a:p>
          <a:endParaRPr lang="en-GB"/>
        </a:p>
      </dgm:t>
    </dgm:pt>
    <dgm:pt modelId="{687A608D-795E-4EC2-8ABB-3BF7340EA01C}">
      <dgm:prSet custT="1"/>
      <dgm:spPr/>
      <dgm:t>
        <a:bodyPr/>
        <a:lstStyle/>
        <a:p>
          <a:r>
            <a:rPr lang="en-GB" sz="2400">
              <a:solidFill>
                <a:schemeClr val="bg2"/>
              </a:solidFill>
            </a:rPr>
            <a:t>Learn</a:t>
          </a:r>
        </a:p>
      </dgm:t>
    </dgm:pt>
    <dgm:pt modelId="{58653F12-063B-4863-9D94-2613F9B91618}" type="parTrans" cxnId="{BAD91001-6334-40D4-A4EA-DACD764AE7A6}">
      <dgm:prSet/>
      <dgm:spPr/>
      <dgm:t>
        <a:bodyPr/>
        <a:lstStyle/>
        <a:p>
          <a:endParaRPr lang="en-GB"/>
        </a:p>
      </dgm:t>
    </dgm:pt>
    <dgm:pt modelId="{938E51DF-31AD-464F-BA46-6A38401705D7}" type="sibTrans" cxnId="{BAD91001-6334-40D4-A4EA-DACD764AE7A6}">
      <dgm:prSet/>
      <dgm:spPr/>
      <dgm:t>
        <a:bodyPr/>
        <a:lstStyle/>
        <a:p>
          <a:endParaRPr lang="en-GB"/>
        </a:p>
      </dgm:t>
    </dgm:pt>
    <dgm:pt modelId="{C91F7238-E6F4-47CB-8B38-9A247B34AE3F}">
      <dgm:prSet custT="1"/>
      <dgm:spPr/>
      <dgm:t>
        <a:bodyPr/>
        <a:lstStyle/>
        <a:p>
          <a:r>
            <a:rPr lang="en-GB" sz="2400">
              <a:solidFill>
                <a:schemeClr val="tx2"/>
              </a:solidFill>
            </a:rPr>
            <a:t>Structured approach gives confidence </a:t>
          </a:r>
          <a:endParaRPr lang="en-US" sz="2400">
            <a:solidFill>
              <a:schemeClr val="tx2"/>
            </a:solidFill>
          </a:endParaRPr>
        </a:p>
      </dgm:t>
    </dgm:pt>
    <dgm:pt modelId="{A0ABD75B-9C51-496B-A322-1971B16FA87E}" type="parTrans" cxnId="{1A4335F8-C8B0-4574-AC98-BAD50B380BCA}">
      <dgm:prSet/>
      <dgm:spPr/>
    </dgm:pt>
    <dgm:pt modelId="{AC185D4D-AFCC-4163-887F-1F1020114E7B}" type="sibTrans" cxnId="{1A4335F8-C8B0-4574-AC98-BAD50B380BCA}">
      <dgm:prSet/>
      <dgm:spPr/>
    </dgm:pt>
    <dgm:pt modelId="{6FB36881-CFC1-47D7-8789-68479BEDD734}">
      <dgm:prSet custT="1"/>
      <dgm:spPr/>
      <dgm:t>
        <a:bodyPr/>
        <a:lstStyle/>
        <a:p>
          <a:r>
            <a:rPr lang="en-GB" sz="2400">
              <a:solidFill>
                <a:schemeClr val="tx2"/>
              </a:solidFill>
            </a:rPr>
            <a:t>Prepares for challenges</a:t>
          </a:r>
        </a:p>
      </dgm:t>
    </dgm:pt>
    <dgm:pt modelId="{984D0E61-E76A-4E58-B649-BD26D2C9A6E1}" type="parTrans" cxnId="{983F1F0E-2197-4CFC-93F7-1F222FEDDDA8}">
      <dgm:prSet/>
      <dgm:spPr/>
    </dgm:pt>
    <dgm:pt modelId="{D83893AE-9BB4-40A2-BDF2-D3EB39B1CE0C}" type="sibTrans" cxnId="{983F1F0E-2197-4CFC-93F7-1F222FEDDDA8}">
      <dgm:prSet/>
      <dgm:spPr/>
    </dgm:pt>
    <dgm:pt modelId="{13552C7B-0FB0-4E95-938F-9EF1CD75EFE4}">
      <dgm:prSet custT="1"/>
      <dgm:spPr/>
      <dgm:t>
        <a:bodyPr/>
        <a:lstStyle/>
        <a:p>
          <a:r>
            <a:rPr lang="en-GB" sz="2400">
              <a:solidFill>
                <a:schemeClr val="tx2"/>
              </a:solidFill>
            </a:rPr>
            <a:t>Learn to fish </a:t>
          </a:r>
        </a:p>
      </dgm:t>
    </dgm:pt>
    <dgm:pt modelId="{C59A98E6-70A7-4369-8271-EAFD3A86B2F7}" type="parTrans" cxnId="{7C3C26D1-3E67-4D8C-820C-C5763DBB3A75}">
      <dgm:prSet/>
      <dgm:spPr/>
    </dgm:pt>
    <dgm:pt modelId="{17496FDF-A396-4945-9775-7B7DAE69B831}" type="sibTrans" cxnId="{7C3C26D1-3E67-4D8C-820C-C5763DBB3A75}">
      <dgm:prSet/>
      <dgm:spPr/>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F58D09-1B8C-4008-85CB-34E624827232}" type="pres">
      <dgm:prSet presAssocID="{303FE2C8-697A-44AA-8A58-2AB8CD5FE559}" presName="linNode" presStyleCnt="0"/>
      <dgm:spPr/>
    </dgm:pt>
    <dgm:pt modelId="{0FF1DA46-AF1D-4D22-B9CC-6C2190A5D711}" type="pres">
      <dgm:prSet presAssocID="{303FE2C8-697A-44AA-8A58-2AB8CD5FE559}" presName="parentText" presStyleLbl="alignNode1" presStyleIdx="1" presStyleCnt="3">
        <dgm:presLayoutVars>
          <dgm:chMax val="1"/>
          <dgm:bulletEnabled/>
        </dgm:presLayoutVars>
      </dgm:prSet>
      <dgm:spPr/>
    </dgm:pt>
    <dgm:pt modelId="{875AB7FF-ADF3-4742-9CB9-E84F789DC389}" type="pres">
      <dgm:prSet presAssocID="{303FE2C8-697A-44AA-8A58-2AB8CD5FE559}" presName="descendantText" presStyleLbl="alignAccFollowNode1" presStyleIdx="1" presStyleCnt="3">
        <dgm:presLayoutVars>
          <dgm:bulletEnabled/>
        </dgm:presLayoutVars>
      </dgm:prSet>
      <dgm:spPr/>
    </dgm:pt>
    <dgm:pt modelId="{57EC48A2-A3F8-48F2-8AEA-4056D29E2A2E}" type="pres">
      <dgm:prSet presAssocID="{FBC92A26-3BB4-4C37-9EC9-6618C9F33F01}" presName="sp" presStyleCnt="0"/>
      <dgm:spPr/>
    </dgm:pt>
    <dgm:pt modelId="{FFF2CB33-1628-4A6B-AB61-CB4CFDE08AF6}" type="pres">
      <dgm:prSet presAssocID="{687A608D-795E-4EC2-8ABB-3BF7340EA01C}" presName="linNode" presStyleCnt="0"/>
      <dgm:spPr/>
    </dgm:pt>
    <dgm:pt modelId="{5FA7DB8B-597A-4003-A78F-BE5DFAC45AE0}" type="pres">
      <dgm:prSet presAssocID="{687A608D-795E-4EC2-8ABB-3BF7340EA01C}" presName="parentText" presStyleLbl="alignNode1" presStyleIdx="2" presStyleCnt="3">
        <dgm:presLayoutVars>
          <dgm:chMax val="1"/>
          <dgm:bulletEnabled/>
        </dgm:presLayoutVars>
      </dgm:prSet>
      <dgm:spPr/>
    </dgm:pt>
    <dgm:pt modelId="{9E123CF5-A7F8-4951-AEBF-F17A816F9404}" type="pres">
      <dgm:prSet presAssocID="{687A608D-795E-4EC2-8ABB-3BF7340EA01C}" presName="descendantText" presStyleLbl="alignAccFollowNode1" presStyleIdx="2" presStyleCnt="3">
        <dgm:presLayoutVars>
          <dgm:bulletEnabled/>
        </dgm:presLayoutVars>
      </dgm:prSet>
      <dgm:spPr/>
    </dgm:pt>
  </dgm:ptLst>
  <dgm:cxnLst>
    <dgm:cxn modelId="{BAD91001-6334-40D4-A4EA-DACD764AE7A6}" srcId="{460449F7-7D3A-4340-8264-322BD3A20AB9}" destId="{687A608D-795E-4EC2-8ABB-3BF7340EA01C}" srcOrd="2" destOrd="0" parTransId="{58653F12-063B-4863-9D94-2613F9B91618}" sibTransId="{938E51DF-31AD-464F-BA46-6A38401705D7}"/>
    <dgm:cxn modelId="{983F1F0E-2197-4CFC-93F7-1F222FEDDDA8}" srcId="{303FE2C8-697A-44AA-8A58-2AB8CD5FE559}" destId="{6FB36881-CFC1-47D7-8789-68479BEDD734}" srcOrd="0" destOrd="0" parTransId="{984D0E61-E76A-4E58-B649-BD26D2C9A6E1}" sibTransId="{D83893AE-9BB4-40A2-BDF2-D3EB39B1CE0C}"/>
    <dgm:cxn modelId="{75829915-F8A4-4D21-A5ED-FF6CE6BCAFB4}" type="presOf" srcId="{25AB223E-4953-4EF2-BA3C-ECDF95A84747}" destId="{E9F836B8-166B-45D6-9F84-CEA44AD858A3}" srcOrd="0" destOrd="0" presId="urn:microsoft.com/office/officeart/2016/7/layout/VerticalSolidActionList"/>
    <dgm:cxn modelId="{D11A0A24-A008-46C1-89F8-D2FE78254C1B}" type="presOf" srcId="{687A608D-795E-4EC2-8ABB-3BF7340EA01C}" destId="{5FA7DB8B-597A-4003-A78F-BE5DFAC45AE0}" srcOrd="0" destOrd="0" presId="urn:microsoft.com/office/officeart/2016/7/layout/VerticalSolidActionList"/>
    <dgm:cxn modelId="{62B1B424-0259-4A39-AAE0-C9EF550D6016}" type="presOf" srcId="{13552C7B-0FB0-4E95-938F-9EF1CD75EFE4}" destId="{9E123CF5-A7F8-4951-AEBF-F17A816F9404}" srcOrd="0" destOrd="0" presId="urn:microsoft.com/office/officeart/2016/7/layout/VerticalSolidActionList"/>
    <dgm:cxn modelId="{C78D162B-6FFB-4712-81E4-C23D0DACD3CA}" type="presOf" srcId="{C91F7238-E6F4-47CB-8B38-9A247B34AE3F}" destId="{1D316B12-8CDF-4966-8386-A25B656CCFCB}" srcOrd="0" destOrd="0" presId="urn:microsoft.com/office/officeart/2016/7/layout/VerticalSolidActionList"/>
    <dgm:cxn modelId="{2496FD6B-9D88-4D1A-9B84-F563822B1CF5}" type="presOf" srcId="{460449F7-7D3A-4340-8264-322BD3A20AB9}" destId="{106BB47F-E344-419C-9610-A22E2E783E6F}" srcOrd="0" destOrd="0" presId="urn:microsoft.com/office/officeart/2016/7/layout/VerticalSolidActionList"/>
    <dgm:cxn modelId="{46004351-743B-403A-B576-6E9C4885CC5D}" type="presOf" srcId="{303FE2C8-697A-44AA-8A58-2AB8CD5FE559}" destId="{0FF1DA46-AF1D-4D22-B9CC-6C2190A5D711}" srcOrd="0" destOrd="0" presId="urn:microsoft.com/office/officeart/2016/7/layout/VerticalSolidActionList"/>
    <dgm:cxn modelId="{B25C3080-06BE-4AAF-8319-6AD828390854}" srcId="{460449F7-7D3A-4340-8264-322BD3A20AB9}" destId="{25AB223E-4953-4EF2-BA3C-ECDF95A84747}" srcOrd="0" destOrd="0" parTransId="{296171BF-63AB-4CB5-A379-F0CA2FCF7867}" sibTransId="{7EE13155-3E37-4797-9EAD-C79787B72C15}"/>
    <dgm:cxn modelId="{7C3C26D1-3E67-4D8C-820C-C5763DBB3A75}" srcId="{687A608D-795E-4EC2-8ABB-3BF7340EA01C}" destId="{13552C7B-0FB0-4E95-938F-9EF1CD75EFE4}" srcOrd="0" destOrd="0" parTransId="{C59A98E6-70A7-4369-8271-EAFD3A86B2F7}" sibTransId="{17496FDF-A396-4945-9775-7B7DAE69B831}"/>
    <dgm:cxn modelId="{9E75C2E6-2FAF-451B-B44B-8DA27AD818AB}" type="presOf" srcId="{6FB36881-CFC1-47D7-8789-68479BEDD734}" destId="{875AB7FF-ADF3-4742-9CB9-E84F789DC389}" srcOrd="0" destOrd="0" presId="urn:microsoft.com/office/officeart/2016/7/layout/VerticalSolidActionList"/>
    <dgm:cxn modelId="{ED2F2EF3-4A15-422F-BEDB-E78A15BB5F74}" srcId="{460449F7-7D3A-4340-8264-322BD3A20AB9}" destId="{303FE2C8-697A-44AA-8A58-2AB8CD5FE559}" srcOrd="1" destOrd="0" parTransId="{0CD534FB-0E5D-4C27-B30B-84F397B9E7CF}" sibTransId="{FBC92A26-3BB4-4C37-9EC9-6618C9F33F01}"/>
    <dgm:cxn modelId="{1A4335F8-C8B0-4574-AC98-BAD50B380BCA}" srcId="{25AB223E-4953-4EF2-BA3C-ECDF95A84747}" destId="{C91F7238-E6F4-47CB-8B38-9A247B34AE3F}" srcOrd="0" destOrd="0" parTransId="{A0ABD75B-9C51-496B-A322-1971B16FA87E}" sibTransId="{AC185D4D-AFCC-4163-887F-1F1020114E7B}"/>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CD124735-A4D2-4172-9052-8364FE6E4BD7}" type="presParOf" srcId="{106BB47F-E344-419C-9610-A22E2E783E6F}" destId="{6AF58D09-1B8C-4008-85CB-34E624827232}" srcOrd="2" destOrd="0" presId="urn:microsoft.com/office/officeart/2016/7/layout/VerticalSolidActionList"/>
    <dgm:cxn modelId="{946ED341-DF4D-48FD-9154-BEB4640E8B66}" type="presParOf" srcId="{6AF58D09-1B8C-4008-85CB-34E624827232}" destId="{0FF1DA46-AF1D-4D22-B9CC-6C2190A5D711}" srcOrd="0" destOrd="0" presId="urn:microsoft.com/office/officeart/2016/7/layout/VerticalSolidActionList"/>
    <dgm:cxn modelId="{A03B9171-EB07-438E-ABDE-9B511894F7B0}" type="presParOf" srcId="{6AF58D09-1B8C-4008-85CB-34E624827232}" destId="{875AB7FF-ADF3-4742-9CB9-E84F789DC389}" srcOrd="1" destOrd="0" presId="urn:microsoft.com/office/officeart/2016/7/layout/VerticalSolidActionList"/>
    <dgm:cxn modelId="{92379D4A-725F-4425-BD92-610B0F1E26B9}" type="presParOf" srcId="{106BB47F-E344-419C-9610-A22E2E783E6F}" destId="{57EC48A2-A3F8-48F2-8AEA-4056D29E2A2E}" srcOrd="3" destOrd="0" presId="urn:microsoft.com/office/officeart/2016/7/layout/VerticalSolidActionList"/>
    <dgm:cxn modelId="{D12BC5C1-B3A4-43F3-BF5F-3106A8B7C86A}" type="presParOf" srcId="{106BB47F-E344-419C-9610-A22E2E783E6F}" destId="{FFF2CB33-1628-4A6B-AB61-CB4CFDE08AF6}" srcOrd="4" destOrd="0" presId="urn:microsoft.com/office/officeart/2016/7/layout/VerticalSolidActionList"/>
    <dgm:cxn modelId="{C1F9C1A6-C8E5-4342-A87B-A3A294CA44DA}" type="presParOf" srcId="{FFF2CB33-1628-4A6B-AB61-CB4CFDE08AF6}" destId="{5FA7DB8B-597A-4003-A78F-BE5DFAC45AE0}" srcOrd="0" destOrd="0" presId="urn:microsoft.com/office/officeart/2016/7/layout/VerticalSolidActionList"/>
    <dgm:cxn modelId="{47E4E0F6-FAAA-45E2-B888-420286D651AB}" type="presParOf" srcId="{FFF2CB33-1628-4A6B-AB61-CB4CFDE08AF6}" destId="{9E123CF5-A7F8-4951-AEBF-F17A816F9404}"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kern="1200">
              <a:latin typeface="+mj-lt"/>
              <a:ea typeface="+mn-ea"/>
              <a:cs typeface="+mn-cs"/>
            </a:rPr>
            <a:t>Select</a:t>
          </a:r>
          <a:r>
            <a:rPr lang="en-US" sz="2000" kern="1200">
              <a:latin typeface="+mj-lt"/>
            </a:rPr>
            <a:t> a Project</a:t>
          </a:r>
          <a:endParaRPr lang="en-GB" sz="2000" kern="1200">
            <a:latin typeface="+mj-lt"/>
          </a:endParaRP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351685A1-7CCC-413C-BF4A-DE428F00B31F}">
      <dgm:prSet custT="1"/>
      <dgm:spPr/>
      <dgm:t>
        <a:bodyPr/>
        <a:lstStyle/>
        <a:p>
          <a:r>
            <a:rPr lang="en-US" sz="2000">
              <a:latin typeface="+mj-lt"/>
            </a:rPr>
            <a:t>Adoption workshop</a:t>
          </a:r>
          <a:endParaRPr lang="en-GB" sz="2000">
            <a:latin typeface="+mj-lt"/>
          </a:endParaRPr>
        </a:p>
      </dgm:t>
    </dgm:pt>
    <dgm:pt modelId="{F3B02E05-A27B-4A39-8673-CE2321A47E00}" type="parTrans" cxnId="{88E5E522-0F78-49B3-80D6-806803760FEE}">
      <dgm:prSet/>
      <dgm:spPr/>
      <dgm:t>
        <a:bodyPr/>
        <a:lstStyle/>
        <a:p>
          <a:endParaRPr lang="en-GB"/>
        </a:p>
      </dgm:t>
    </dgm:pt>
    <dgm:pt modelId="{052881C3-23E8-42B6-AE7C-0CF3789CD06E}" type="sibTrans" cxnId="{88E5E522-0F78-49B3-80D6-806803760FEE}">
      <dgm:prSet/>
      <dgm:spPr/>
      <dgm:t>
        <a:bodyPr/>
        <a:lstStyle/>
        <a:p>
          <a:endParaRPr lang="en-GB"/>
        </a:p>
      </dgm:t>
    </dgm:pt>
    <dgm:pt modelId="{766A0285-AAB2-4C5A-9419-39216F8FC59D}">
      <dgm:prSet custT="1"/>
      <dgm:spPr/>
      <dgm:t>
        <a:bodyPr/>
        <a:lstStyle/>
        <a:p>
          <a:r>
            <a:rPr lang="en-US" sz="2000">
              <a:latin typeface="+mj-lt"/>
            </a:rPr>
            <a:t>Address data quality </a:t>
          </a:r>
          <a:endParaRPr lang="en-GB" sz="2000">
            <a:latin typeface="+mj-lt"/>
          </a:endParaRPr>
        </a:p>
      </dgm:t>
    </dgm:pt>
    <dgm:pt modelId="{E3C62953-DC9A-43D1-A1FF-E3C683CE6F39}" type="parTrans" cxnId="{67AD044D-06E0-4DFF-8DCD-0B883C9F680F}">
      <dgm:prSet/>
      <dgm:spPr/>
      <dgm:t>
        <a:bodyPr/>
        <a:lstStyle/>
        <a:p>
          <a:endParaRPr lang="en-GB"/>
        </a:p>
      </dgm:t>
    </dgm:pt>
    <dgm:pt modelId="{FBC0A3B5-F580-40D6-AB74-F3B531A08C8B}" type="sibTrans" cxnId="{67AD044D-06E0-4DFF-8DCD-0B883C9F680F}">
      <dgm:prSet/>
      <dgm:spPr/>
      <dgm:t>
        <a:bodyPr/>
        <a:lstStyle/>
        <a:p>
          <a:endParaRPr lang="en-GB"/>
        </a:p>
      </dgm:t>
    </dgm:pt>
    <dgm:pt modelId="{E82AA0E8-0879-4680-86E2-CD48AE303C2B}">
      <dgm:prSet custT="1"/>
      <dgm:spPr/>
      <dgm:t>
        <a:bodyPr/>
        <a:lstStyle/>
        <a:p>
          <a:r>
            <a:rPr lang="en-US" sz="2000">
              <a:latin typeface="+mj-lt"/>
            </a:rPr>
            <a:t>Implement Project</a:t>
          </a:r>
          <a:endParaRPr lang="en-GB" sz="2000">
            <a:latin typeface="+mj-lt"/>
          </a:endParaRPr>
        </a:p>
      </dgm:t>
    </dgm:pt>
    <dgm:pt modelId="{C42A3F8B-F41C-407C-B7AF-901AD867A0EC}" type="parTrans" cxnId="{00A87E88-282A-4061-88EE-06ACCEFFE62A}">
      <dgm:prSet/>
      <dgm:spPr/>
      <dgm:t>
        <a:bodyPr/>
        <a:lstStyle/>
        <a:p>
          <a:endParaRPr lang="en-GB"/>
        </a:p>
      </dgm:t>
    </dgm:pt>
    <dgm:pt modelId="{50097FF9-21C5-47BF-9A40-BDB777645148}" type="sibTrans" cxnId="{00A87E88-282A-4061-88EE-06ACCEFFE62A}">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0F3C6A10-43E4-4BC1-849F-716A9D7D7064}" type="pres">
      <dgm:prSet presAssocID="{351685A1-7CCC-413C-BF4A-DE428F00B31F}" presName="hierRoot1" presStyleCnt="0">
        <dgm:presLayoutVars>
          <dgm:hierBranch val="init"/>
        </dgm:presLayoutVars>
      </dgm:prSet>
      <dgm:spPr/>
    </dgm:pt>
    <dgm:pt modelId="{26D78FE9-689F-4663-AD3F-63D4D8B6C0C5}" type="pres">
      <dgm:prSet presAssocID="{351685A1-7CCC-413C-BF4A-DE428F00B31F}" presName="rootComposite1" presStyleCnt="0"/>
      <dgm:spPr/>
    </dgm:pt>
    <dgm:pt modelId="{5DB35AF2-9F99-41D1-8632-C9180952D400}" type="pres">
      <dgm:prSet presAssocID="{351685A1-7CCC-413C-BF4A-DE428F00B31F}" presName="rootText1" presStyleLbl="node0" presStyleIdx="1" presStyleCnt="4">
        <dgm:presLayoutVars>
          <dgm:chPref val="3"/>
        </dgm:presLayoutVars>
      </dgm:prSet>
      <dgm:spPr/>
    </dgm:pt>
    <dgm:pt modelId="{0C3F6E97-B6A1-4AB0-999E-809A2DD9458F}" type="pres">
      <dgm:prSet presAssocID="{351685A1-7CCC-413C-BF4A-DE428F00B31F}" presName="rootConnector1" presStyleLbl="node1" presStyleIdx="0" presStyleCnt="0"/>
      <dgm:spPr/>
    </dgm:pt>
    <dgm:pt modelId="{638A00AB-86A0-4F47-8A78-404B5D8F73B4}" type="pres">
      <dgm:prSet presAssocID="{351685A1-7CCC-413C-BF4A-DE428F00B31F}" presName="hierChild2" presStyleCnt="0"/>
      <dgm:spPr/>
    </dgm:pt>
    <dgm:pt modelId="{31CCB16D-1F93-4A39-AABB-69C977B297B1}" type="pres">
      <dgm:prSet presAssocID="{351685A1-7CCC-413C-BF4A-DE428F00B31F}" presName="hierChild3" presStyleCnt="0"/>
      <dgm:spPr/>
    </dgm:pt>
    <dgm:pt modelId="{01339B95-88B7-4F4F-A457-9F4D8AE543CB}" type="pres">
      <dgm:prSet presAssocID="{766A0285-AAB2-4C5A-9419-39216F8FC59D}" presName="hierRoot1" presStyleCnt="0">
        <dgm:presLayoutVars>
          <dgm:hierBranch val="init"/>
        </dgm:presLayoutVars>
      </dgm:prSet>
      <dgm:spPr/>
    </dgm:pt>
    <dgm:pt modelId="{FC539C55-36ED-4A1F-B51A-730B064D091F}" type="pres">
      <dgm:prSet presAssocID="{766A0285-AAB2-4C5A-9419-39216F8FC59D}" presName="rootComposite1" presStyleCnt="0"/>
      <dgm:spPr/>
    </dgm:pt>
    <dgm:pt modelId="{CEF4917A-2583-498A-ACAC-CF0D58E8F0A6}" type="pres">
      <dgm:prSet presAssocID="{766A0285-AAB2-4C5A-9419-39216F8FC59D}" presName="rootText1" presStyleLbl="node0" presStyleIdx="2" presStyleCnt="4">
        <dgm:presLayoutVars>
          <dgm:chPref val="3"/>
        </dgm:presLayoutVars>
      </dgm:prSet>
      <dgm:spPr/>
    </dgm:pt>
    <dgm:pt modelId="{76A1B028-0264-4306-B668-81F10E56A238}" type="pres">
      <dgm:prSet presAssocID="{766A0285-AAB2-4C5A-9419-39216F8FC59D}" presName="rootConnector1" presStyleLbl="node1" presStyleIdx="0" presStyleCnt="0"/>
      <dgm:spPr/>
    </dgm:pt>
    <dgm:pt modelId="{5E3F62F6-1369-43F7-BBED-E61685CA3D5A}" type="pres">
      <dgm:prSet presAssocID="{766A0285-AAB2-4C5A-9419-39216F8FC59D}" presName="hierChild2" presStyleCnt="0"/>
      <dgm:spPr/>
    </dgm:pt>
    <dgm:pt modelId="{DCD935AD-C0AE-407B-8CCD-5F7F163AEAE0}" type="pres">
      <dgm:prSet presAssocID="{766A0285-AAB2-4C5A-9419-39216F8FC59D}" presName="hierChild3" presStyleCnt="0"/>
      <dgm:spPr/>
    </dgm:pt>
    <dgm:pt modelId="{E4966682-1B60-46A0-9CCF-0D5AF3EC0080}" type="pres">
      <dgm:prSet presAssocID="{E82AA0E8-0879-4680-86E2-CD48AE303C2B}" presName="hierRoot1" presStyleCnt="0">
        <dgm:presLayoutVars>
          <dgm:hierBranch val="init"/>
        </dgm:presLayoutVars>
      </dgm:prSet>
      <dgm:spPr/>
    </dgm:pt>
    <dgm:pt modelId="{64B0E16F-C4F4-4A55-9E9B-6C8A8C37FC29}" type="pres">
      <dgm:prSet presAssocID="{E82AA0E8-0879-4680-86E2-CD48AE303C2B}" presName="rootComposite1" presStyleCnt="0"/>
      <dgm:spPr/>
    </dgm:pt>
    <dgm:pt modelId="{477157D4-E55E-4D4B-941F-24801F1D36AC}" type="pres">
      <dgm:prSet presAssocID="{E82AA0E8-0879-4680-86E2-CD48AE303C2B}" presName="rootText1" presStyleLbl="node0" presStyleIdx="3" presStyleCnt="4">
        <dgm:presLayoutVars>
          <dgm:chPref val="3"/>
        </dgm:presLayoutVars>
      </dgm:prSet>
      <dgm:spPr/>
    </dgm:pt>
    <dgm:pt modelId="{593BDACD-F4D9-4D1C-8240-97878CE4C00F}" type="pres">
      <dgm:prSet presAssocID="{E82AA0E8-0879-4680-86E2-CD48AE303C2B}" presName="rootConnector1" presStyleLbl="node1" presStyleIdx="0" presStyleCnt="0"/>
      <dgm:spPr/>
    </dgm:pt>
    <dgm:pt modelId="{DDE6D04B-90BD-4DA5-AFA7-464662047F49}" type="pres">
      <dgm:prSet presAssocID="{E82AA0E8-0879-4680-86E2-CD48AE303C2B}" presName="hierChild2" presStyleCnt="0"/>
      <dgm:spPr/>
    </dgm:pt>
    <dgm:pt modelId="{85371274-E265-48D9-8050-B0806DE30CCE}" type="pres">
      <dgm:prSet presAssocID="{E82AA0E8-0879-4680-86E2-CD48AE303C2B}" presName="hierChild3" presStyleCnt="0"/>
      <dgm:spPr/>
    </dgm:pt>
  </dgm:ptLst>
  <dgm:cxnLst>
    <dgm:cxn modelId="{88E5E522-0F78-49B3-80D6-806803760FEE}" srcId="{708AF9BC-243E-4B3A-9C1B-BC1BA44B4E55}" destId="{351685A1-7CCC-413C-BF4A-DE428F00B31F}" srcOrd="1" destOrd="0" parTransId="{F3B02E05-A27B-4A39-8673-CE2321A47E00}" sibTransId="{052881C3-23E8-42B6-AE7C-0CF3789CD06E}"/>
    <dgm:cxn modelId="{ACBC8439-A3BD-49D4-9F6B-CFC48A87F6AB}" type="presOf" srcId="{E82AA0E8-0879-4680-86E2-CD48AE303C2B}" destId="{477157D4-E55E-4D4B-941F-24801F1D36AC}" srcOrd="0" destOrd="0" presId="urn:microsoft.com/office/officeart/2005/8/layout/orgChart1"/>
    <dgm:cxn modelId="{20775B4B-A4B3-4869-BE8B-7D496CA7FB0E}" type="presOf" srcId="{351685A1-7CCC-413C-BF4A-DE428F00B31F}" destId="{0C3F6E97-B6A1-4AB0-999E-809A2DD9458F}" srcOrd="1" destOrd="0" presId="urn:microsoft.com/office/officeart/2005/8/layout/orgChart1"/>
    <dgm:cxn modelId="{67AD044D-06E0-4DFF-8DCD-0B883C9F680F}" srcId="{708AF9BC-243E-4B3A-9C1B-BC1BA44B4E55}" destId="{766A0285-AAB2-4C5A-9419-39216F8FC59D}" srcOrd="2" destOrd="0" parTransId="{E3C62953-DC9A-43D1-A1FF-E3C683CE6F39}" sibTransId="{FBC0A3B5-F580-40D6-AB74-F3B531A08C8B}"/>
    <dgm:cxn modelId="{1F5DEF6E-47F1-4129-808B-05777FCB67FC}" type="presOf" srcId="{708AF9BC-243E-4B3A-9C1B-BC1BA44B4E55}" destId="{882847BB-1BFC-4BB3-8D09-D08D54568650}" srcOrd="0" destOrd="0" presId="urn:microsoft.com/office/officeart/2005/8/layout/orgChart1"/>
    <dgm:cxn modelId="{00A87E88-282A-4061-88EE-06ACCEFFE62A}" srcId="{708AF9BC-243E-4B3A-9C1B-BC1BA44B4E55}" destId="{E82AA0E8-0879-4680-86E2-CD48AE303C2B}" srcOrd="3" destOrd="0" parTransId="{C42A3F8B-F41C-407C-B7AF-901AD867A0EC}" sibTransId="{50097FF9-21C5-47BF-9A40-BDB777645148}"/>
    <dgm:cxn modelId="{ED7B5991-E9B3-4DBC-AECA-36A771E1C211}" type="presOf" srcId="{4172ACCF-6BB7-459A-817E-82DBD49B6C73}" destId="{76AAF56F-D4D7-4577-94A9-CDD5DC0599FE}" srcOrd="0" destOrd="0" presId="urn:microsoft.com/office/officeart/2005/8/layout/orgChart1"/>
    <dgm:cxn modelId="{0F9BD7AE-41BE-4A64-8867-5EFCBBB58282}" type="presOf" srcId="{E82AA0E8-0879-4680-86E2-CD48AE303C2B}" destId="{593BDACD-F4D9-4D1C-8240-97878CE4C00F}" srcOrd="1" destOrd="0" presId="urn:microsoft.com/office/officeart/2005/8/layout/orgChart1"/>
    <dgm:cxn modelId="{70FADBC1-74A3-41AF-B5F6-E353EF3F9F16}" type="presOf" srcId="{351685A1-7CCC-413C-BF4A-DE428F00B31F}" destId="{5DB35AF2-9F99-41D1-8632-C9180952D400}" srcOrd="0"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DEE994E3-0851-4B26-AB03-32F16DFE4211}" type="presOf" srcId="{766A0285-AAB2-4C5A-9419-39216F8FC59D}" destId="{CEF4917A-2583-498A-ACAC-CF0D58E8F0A6}" srcOrd="0" destOrd="0" presId="urn:microsoft.com/office/officeart/2005/8/layout/orgChart1"/>
    <dgm:cxn modelId="{1FD014F8-488A-4288-8A06-A811840DECD4}" type="presOf" srcId="{766A0285-AAB2-4C5A-9419-39216F8FC59D}" destId="{76A1B028-0264-4306-B668-81F10E56A238}"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FE3ABFB8-2C5B-40AE-B97E-DBC78E913292}" type="presParOf" srcId="{882847BB-1BFC-4BB3-8D09-D08D54568650}" destId="{0F3C6A10-43E4-4BC1-849F-716A9D7D7064}" srcOrd="1" destOrd="0" presId="urn:microsoft.com/office/officeart/2005/8/layout/orgChart1"/>
    <dgm:cxn modelId="{C3AD5BA0-F4C6-4166-A3A4-3702765263B2}" type="presParOf" srcId="{0F3C6A10-43E4-4BC1-849F-716A9D7D7064}" destId="{26D78FE9-689F-4663-AD3F-63D4D8B6C0C5}" srcOrd="0" destOrd="0" presId="urn:microsoft.com/office/officeart/2005/8/layout/orgChart1"/>
    <dgm:cxn modelId="{191C6091-E91D-4720-BB7E-22542D68C327}" type="presParOf" srcId="{26D78FE9-689F-4663-AD3F-63D4D8B6C0C5}" destId="{5DB35AF2-9F99-41D1-8632-C9180952D400}" srcOrd="0" destOrd="0" presId="urn:microsoft.com/office/officeart/2005/8/layout/orgChart1"/>
    <dgm:cxn modelId="{4747F219-D5BA-44BD-B2DE-7A4AC76DAAF8}" type="presParOf" srcId="{26D78FE9-689F-4663-AD3F-63D4D8B6C0C5}" destId="{0C3F6E97-B6A1-4AB0-999E-809A2DD9458F}" srcOrd="1" destOrd="0" presId="urn:microsoft.com/office/officeart/2005/8/layout/orgChart1"/>
    <dgm:cxn modelId="{CFAD5394-6DEF-4940-A2D1-884CE641C395}" type="presParOf" srcId="{0F3C6A10-43E4-4BC1-849F-716A9D7D7064}" destId="{638A00AB-86A0-4F47-8A78-404B5D8F73B4}" srcOrd="1" destOrd="0" presId="urn:microsoft.com/office/officeart/2005/8/layout/orgChart1"/>
    <dgm:cxn modelId="{E3C82ED2-9E72-4B14-B9E0-368644BB6C9E}" type="presParOf" srcId="{0F3C6A10-43E4-4BC1-849F-716A9D7D7064}" destId="{31CCB16D-1F93-4A39-AABB-69C977B297B1}" srcOrd="2" destOrd="0" presId="urn:microsoft.com/office/officeart/2005/8/layout/orgChart1"/>
    <dgm:cxn modelId="{D3C48997-0900-4DAB-93A4-64F0F6EF7CBD}" type="presParOf" srcId="{882847BB-1BFC-4BB3-8D09-D08D54568650}" destId="{01339B95-88B7-4F4F-A457-9F4D8AE543CB}" srcOrd="2" destOrd="0" presId="urn:microsoft.com/office/officeart/2005/8/layout/orgChart1"/>
    <dgm:cxn modelId="{80D53BDA-7CAB-4B14-A3D0-5CFE6CC15C65}" type="presParOf" srcId="{01339B95-88B7-4F4F-A457-9F4D8AE543CB}" destId="{FC539C55-36ED-4A1F-B51A-730B064D091F}" srcOrd="0" destOrd="0" presId="urn:microsoft.com/office/officeart/2005/8/layout/orgChart1"/>
    <dgm:cxn modelId="{E25C9AD0-8613-4C36-B97B-2EF37B066B4D}" type="presParOf" srcId="{FC539C55-36ED-4A1F-B51A-730B064D091F}" destId="{CEF4917A-2583-498A-ACAC-CF0D58E8F0A6}" srcOrd="0" destOrd="0" presId="urn:microsoft.com/office/officeart/2005/8/layout/orgChart1"/>
    <dgm:cxn modelId="{F80BDB69-8DD8-4952-91C7-6B542CB47D6F}" type="presParOf" srcId="{FC539C55-36ED-4A1F-B51A-730B064D091F}" destId="{76A1B028-0264-4306-B668-81F10E56A238}" srcOrd="1" destOrd="0" presId="urn:microsoft.com/office/officeart/2005/8/layout/orgChart1"/>
    <dgm:cxn modelId="{ABF00C4A-2017-408E-B398-31F68A513DD4}" type="presParOf" srcId="{01339B95-88B7-4F4F-A457-9F4D8AE543CB}" destId="{5E3F62F6-1369-43F7-BBED-E61685CA3D5A}" srcOrd="1" destOrd="0" presId="urn:microsoft.com/office/officeart/2005/8/layout/orgChart1"/>
    <dgm:cxn modelId="{0C1795C1-990F-4FD1-BF17-70534EB441E0}" type="presParOf" srcId="{01339B95-88B7-4F4F-A457-9F4D8AE543CB}" destId="{DCD935AD-C0AE-407B-8CCD-5F7F163AEAE0}" srcOrd="2" destOrd="0" presId="urn:microsoft.com/office/officeart/2005/8/layout/orgChart1"/>
    <dgm:cxn modelId="{5B18BF82-CEBC-4044-BC48-C9AEF2755484}" type="presParOf" srcId="{882847BB-1BFC-4BB3-8D09-D08D54568650}" destId="{E4966682-1B60-46A0-9CCF-0D5AF3EC0080}" srcOrd="3" destOrd="0" presId="urn:microsoft.com/office/officeart/2005/8/layout/orgChart1"/>
    <dgm:cxn modelId="{A3DD2D88-12EB-435C-837A-3715A626AB80}" type="presParOf" srcId="{E4966682-1B60-46A0-9CCF-0D5AF3EC0080}" destId="{64B0E16F-C4F4-4A55-9E9B-6C8A8C37FC29}" srcOrd="0" destOrd="0" presId="urn:microsoft.com/office/officeart/2005/8/layout/orgChart1"/>
    <dgm:cxn modelId="{6AE40C4E-F6C0-4DEE-B5C9-7D07759CE298}" type="presParOf" srcId="{64B0E16F-C4F4-4A55-9E9B-6C8A8C37FC29}" destId="{477157D4-E55E-4D4B-941F-24801F1D36AC}" srcOrd="0" destOrd="0" presId="urn:microsoft.com/office/officeart/2005/8/layout/orgChart1"/>
    <dgm:cxn modelId="{24161196-EB85-4A79-B4C5-EC9E0B53CB49}" type="presParOf" srcId="{64B0E16F-C4F4-4A55-9E9B-6C8A8C37FC29}" destId="{593BDACD-F4D9-4D1C-8240-97878CE4C00F}" srcOrd="1" destOrd="0" presId="urn:microsoft.com/office/officeart/2005/8/layout/orgChart1"/>
    <dgm:cxn modelId="{12ECEE69-A5E5-4250-8751-A5500275CABB}" type="presParOf" srcId="{E4966682-1B60-46A0-9CCF-0D5AF3EC0080}" destId="{DDE6D04B-90BD-4DA5-AFA7-464662047F49}" srcOrd="1" destOrd="0" presId="urn:microsoft.com/office/officeart/2005/8/layout/orgChart1"/>
    <dgm:cxn modelId="{158FA6AF-00A3-41D1-9A83-AAF3A779DD52}" type="presParOf" srcId="{E4966682-1B60-46A0-9CCF-0D5AF3EC0080}" destId="{85371274-E265-48D9-8050-B0806DE30CCE}" srcOrd="2" destOrd="0" presId="urn:microsoft.com/office/officeart/2005/8/layout/orgChar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a:latin typeface="+mj-lt"/>
            </a:rPr>
            <a:t>Educate Exec Sponsor</a:t>
          </a:r>
          <a:endParaRPr lang="en-GB" sz="2000"/>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A4FAF82A-0A28-41EA-A5C1-452D21F72953}">
      <dgm:prSet custT="1"/>
      <dgm:spPr/>
      <dgm:t>
        <a:bodyPr/>
        <a:lstStyle/>
        <a:p>
          <a:r>
            <a:rPr lang="en-US" sz="2000">
              <a:latin typeface="+mj-lt"/>
            </a:rPr>
            <a:t>Identify Champions</a:t>
          </a:r>
          <a:endParaRPr lang="en-GB" sz="2000">
            <a:latin typeface="+mj-lt"/>
          </a:endParaRPr>
        </a:p>
      </dgm:t>
    </dgm:pt>
    <dgm:pt modelId="{2AA3B0AC-E6CD-48E1-B115-BD46D6FCD9A4}" type="parTrans" cxnId="{C1F06FF3-50B9-4D73-BD36-5BEAC32C1AEA}">
      <dgm:prSet/>
      <dgm:spPr/>
      <dgm:t>
        <a:bodyPr/>
        <a:lstStyle/>
        <a:p>
          <a:endParaRPr lang="en-GB"/>
        </a:p>
      </dgm:t>
    </dgm:pt>
    <dgm:pt modelId="{BEEF255E-5166-4806-B609-21F0503CB9EA}" type="sibTrans" cxnId="{C1F06FF3-50B9-4D73-BD36-5BEAC32C1AEA}">
      <dgm:prSet/>
      <dgm:spPr/>
      <dgm:t>
        <a:bodyPr/>
        <a:lstStyle/>
        <a:p>
          <a:endParaRPr lang="en-GB"/>
        </a:p>
      </dgm:t>
    </dgm:pt>
    <dgm:pt modelId="{61E4E6B0-D330-4D95-B65B-7ED8BE386EC7}">
      <dgm:prSet custT="1"/>
      <dgm:spPr/>
      <dgm:t>
        <a:bodyPr/>
        <a:lstStyle/>
        <a:p>
          <a:r>
            <a:rPr lang="en-US" sz="2000">
              <a:latin typeface="+mj-lt"/>
            </a:rPr>
            <a:t>Train pilot team</a:t>
          </a:r>
          <a:endParaRPr lang="en-GB" sz="2000">
            <a:latin typeface="+mj-lt"/>
          </a:endParaRPr>
        </a:p>
      </dgm:t>
    </dgm:pt>
    <dgm:pt modelId="{5DEF2E41-43BF-43F6-993E-7D939C65B20A}" type="parTrans" cxnId="{81EB3818-38F7-4EF5-A301-8D3DA5667D9E}">
      <dgm:prSet/>
      <dgm:spPr/>
      <dgm:t>
        <a:bodyPr/>
        <a:lstStyle/>
        <a:p>
          <a:endParaRPr lang="en-GB"/>
        </a:p>
      </dgm:t>
    </dgm:pt>
    <dgm:pt modelId="{1B45C903-9C8B-406C-876E-31B301CE6881}" type="sibTrans" cxnId="{81EB3818-38F7-4EF5-A301-8D3DA5667D9E}">
      <dgm:prSet/>
      <dgm:spPr/>
      <dgm:t>
        <a:bodyPr/>
        <a:lstStyle/>
        <a:p>
          <a:endParaRPr lang="en-GB"/>
        </a:p>
      </dgm:t>
    </dgm:pt>
    <dgm:pt modelId="{8C6A422A-1240-4232-AAD7-07244886B70A}">
      <dgm:prSet custT="1"/>
      <dgm:spPr/>
      <dgm:t>
        <a:bodyPr/>
        <a:lstStyle/>
        <a:p>
          <a:r>
            <a:rPr lang="en-US" sz="2000">
              <a:latin typeface="+mj-lt"/>
            </a:rPr>
            <a:t>Prove value</a:t>
          </a:r>
          <a:endParaRPr lang="en-GB" sz="2000">
            <a:latin typeface="+mj-lt"/>
          </a:endParaRPr>
        </a:p>
      </dgm:t>
    </dgm:pt>
    <dgm:pt modelId="{2FA06949-3CF5-494F-ABE9-7F442175E529}" type="parTrans" cxnId="{0BA7B8EF-FBAF-4710-98C5-AE5760700EB0}">
      <dgm:prSet/>
      <dgm:spPr/>
      <dgm:t>
        <a:bodyPr/>
        <a:lstStyle/>
        <a:p>
          <a:endParaRPr lang="en-GB"/>
        </a:p>
      </dgm:t>
    </dgm:pt>
    <dgm:pt modelId="{B0EF37C9-6E27-444E-914D-6029F478F7F1}" type="sibTrans" cxnId="{0BA7B8EF-FBAF-4710-98C5-AE5760700EB0}">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65F37335-44BA-4DF7-BD7D-072641F71DC1}" type="pres">
      <dgm:prSet presAssocID="{A4FAF82A-0A28-41EA-A5C1-452D21F72953}" presName="hierRoot1" presStyleCnt="0">
        <dgm:presLayoutVars>
          <dgm:hierBranch val="init"/>
        </dgm:presLayoutVars>
      </dgm:prSet>
      <dgm:spPr/>
    </dgm:pt>
    <dgm:pt modelId="{2709BF4A-A1DB-4727-AD1C-666FE70278E5}" type="pres">
      <dgm:prSet presAssocID="{A4FAF82A-0A28-41EA-A5C1-452D21F72953}" presName="rootComposite1" presStyleCnt="0"/>
      <dgm:spPr/>
    </dgm:pt>
    <dgm:pt modelId="{D850B575-8268-47C9-BA65-19D4C41AF72F}" type="pres">
      <dgm:prSet presAssocID="{A4FAF82A-0A28-41EA-A5C1-452D21F72953}" presName="rootText1" presStyleLbl="node0" presStyleIdx="1" presStyleCnt="4">
        <dgm:presLayoutVars>
          <dgm:chPref val="3"/>
        </dgm:presLayoutVars>
      </dgm:prSet>
      <dgm:spPr/>
    </dgm:pt>
    <dgm:pt modelId="{3E9D21D4-DE74-44D5-91AE-BC592200A72E}" type="pres">
      <dgm:prSet presAssocID="{A4FAF82A-0A28-41EA-A5C1-452D21F72953}" presName="rootConnector1" presStyleLbl="node1" presStyleIdx="0" presStyleCnt="0"/>
      <dgm:spPr/>
    </dgm:pt>
    <dgm:pt modelId="{B82C1572-0818-4976-8414-84EB49C2AC19}" type="pres">
      <dgm:prSet presAssocID="{A4FAF82A-0A28-41EA-A5C1-452D21F72953}" presName="hierChild2" presStyleCnt="0"/>
      <dgm:spPr/>
    </dgm:pt>
    <dgm:pt modelId="{D99BB491-E184-40BE-9B98-AA7899AB15F7}" type="pres">
      <dgm:prSet presAssocID="{A4FAF82A-0A28-41EA-A5C1-452D21F72953}" presName="hierChild3" presStyleCnt="0"/>
      <dgm:spPr/>
    </dgm:pt>
    <dgm:pt modelId="{A0877DAA-F396-4A26-9E32-1B3701247E71}" type="pres">
      <dgm:prSet presAssocID="{61E4E6B0-D330-4D95-B65B-7ED8BE386EC7}" presName="hierRoot1" presStyleCnt="0">
        <dgm:presLayoutVars>
          <dgm:hierBranch val="init"/>
        </dgm:presLayoutVars>
      </dgm:prSet>
      <dgm:spPr/>
    </dgm:pt>
    <dgm:pt modelId="{DF8EF3D2-979A-4BF7-8445-E6E742506F19}" type="pres">
      <dgm:prSet presAssocID="{61E4E6B0-D330-4D95-B65B-7ED8BE386EC7}" presName="rootComposite1" presStyleCnt="0"/>
      <dgm:spPr/>
    </dgm:pt>
    <dgm:pt modelId="{4D714C27-05B4-4ED3-A13F-C6955017C71B}" type="pres">
      <dgm:prSet presAssocID="{61E4E6B0-D330-4D95-B65B-7ED8BE386EC7}" presName="rootText1" presStyleLbl="node0" presStyleIdx="2" presStyleCnt="4">
        <dgm:presLayoutVars>
          <dgm:chPref val="3"/>
        </dgm:presLayoutVars>
      </dgm:prSet>
      <dgm:spPr/>
    </dgm:pt>
    <dgm:pt modelId="{A43C8D30-A465-407F-B7DD-669C6AEF4CAF}" type="pres">
      <dgm:prSet presAssocID="{61E4E6B0-D330-4D95-B65B-7ED8BE386EC7}" presName="rootConnector1" presStyleLbl="node1" presStyleIdx="0" presStyleCnt="0"/>
      <dgm:spPr/>
    </dgm:pt>
    <dgm:pt modelId="{064BEF2A-F8FA-4DB7-8D0F-EDCC9E63348A}" type="pres">
      <dgm:prSet presAssocID="{61E4E6B0-D330-4D95-B65B-7ED8BE386EC7}" presName="hierChild2" presStyleCnt="0"/>
      <dgm:spPr/>
    </dgm:pt>
    <dgm:pt modelId="{DECD5475-11E4-4177-B713-0269AE0B80AA}" type="pres">
      <dgm:prSet presAssocID="{61E4E6B0-D330-4D95-B65B-7ED8BE386EC7}" presName="hierChild3" presStyleCnt="0"/>
      <dgm:spPr/>
    </dgm:pt>
    <dgm:pt modelId="{DFA896E4-7E3D-43BD-8601-E98BC269D98E}" type="pres">
      <dgm:prSet presAssocID="{8C6A422A-1240-4232-AAD7-07244886B70A}" presName="hierRoot1" presStyleCnt="0">
        <dgm:presLayoutVars>
          <dgm:hierBranch val="init"/>
        </dgm:presLayoutVars>
      </dgm:prSet>
      <dgm:spPr/>
    </dgm:pt>
    <dgm:pt modelId="{AE473816-940B-4D4A-826A-E5672438AB48}" type="pres">
      <dgm:prSet presAssocID="{8C6A422A-1240-4232-AAD7-07244886B70A}" presName="rootComposite1" presStyleCnt="0"/>
      <dgm:spPr/>
    </dgm:pt>
    <dgm:pt modelId="{319A0EE5-FAE2-47D1-9B8C-2CB650E731B7}" type="pres">
      <dgm:prSet presAssocID="{8C6A422A-1240-4232-AAD7-07244886B70A}" presName="rootText1" presStyleLbl="node0" presStyleIdx="3" presStyleCnt="4">
        <dgm:presLayoutVars>
          <dgm:chPref val="3"/>
        </dgm:presLayoutVars>
      </dgm:prSet>
      <dgm:spPr/>
    </dgm:pt>
    <dgm:pt modelId="{30E024D0-F6E4-4F60-B39F-14C88CFB4B43}" type="pres">
      <dgm:prSet presAssocID="{8C6A422A-1240-4232-AAD7-07244886B70A}" presName="rootConnector1" presStyleLbl="node1" presStyleIdx="0" presStyleCnt="0"/>
      <dgm:spPr/>
    </dgm:pt>
    <dgm:pt modelId="{1C30DEC0-E55C-4274-9224-46E548ABD322}" type="pres">
      <dgm:prSet presAssocID="{8C6A422A-1240-4232-AAD7-07244886B70A}" presName="hierChild2" presStyleCnt="0"/>
      <dgm:spPr/>
    </dgm:pt>
    <dgm:pt modelId="{A8F86259-881B-46F0-96AC-D7272228E88F}" type="pres">
      <dgm:prSet presAssocID="{8C6A422A-1240-4232-AAD7-07244886B70A}" presName="hierChild3" presStyleCnt="0"/>
      <dgm:spPr/>
    </dgm:pt>
  </dgm:ptLst>
  <dgm:cxnLst>
    <dgm:cxn modelId="{81EB3818-38F7-4EF5-A301-8D3DA5667D9E}" srcId="{708AF9BC-243E-4B3A-9C1B-BC1BA44B4E55}" destId="{61E4E6B0-D330-4D95-B65B-7ED8BE386EC7}" srcOrd="2" destOrd="0" parTransId="{5DEF2E41-43BF-43F6-993E-7D939C65B20A}" sibTransId="{1B45C903-9C8B-406C-876E-31B301CE6881}"/>
    <dgm:cxn modelId="{70BC5E1B-4F64-4953-A671-211C61D1B78B}" type="presOf" srcId="{61E4E6B0-D330-4D95-B65B-7ED8BE386EC7}" destId="{A43C8D30-A465-407F-B7DD-669C6AEF4CAF}" srcOrd="1" destOrd="0" presId="urn:microsoft.com/office/officeart/2005/8/layout/orgChart1"/>
    <dgm:cxn modelId="{84379D6A-C95D-421B-9C27-F354211A1228}" type="presOf" srcId="{A4FAF82A-0A28-41EA-A5C1-452D21F72953}" destId="{D850B575-8268-47C9-BA65-19D4C41AF72F}" srcOrd="0" destOrd="0" presId="urn:microsoft.com/office/officeart/2005/8/layout/orgChart1"/>
    <dgm:cxn modelId="{925DBC6D-1108-4B62-822A-32170FFC7160}" type="presOf" srcId="{8C6A422A-1240-4232-AAD7-07244886B70A}" destId="{30E024D0-F6E4-4F60-B39F-14C88CFB4B43}" srcOrd="1" destOrd="0" presId="urn:microsoft.com/office/officeart/2005/8/layout/orgChart1"/>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8D7CCE9C-E370-4D7D-BB2B-9755267E3B22}" type="presOf" srcId="{A4FAF82A-0A28-41EA-A5C1-452D21F72953}" destId="{3E9D21D4-DE74-44D5-91AE-BC592200A72E}"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B1861BE0-3BE9-4283-B8C5-2671D70ABC55}" type="presOf" srcId="{8C6A422A-1240-4232-AAD7-07244886B70A}" destId="{319A0EE5-FAE2-47D1-9B8C-2CB650E731B7}" srcOrd="0" destOrd="0" presId="urn:microsoft.com/office/officeart/2005/8/layout/orgChart1"/>
    <dgm:cxn modelId="{0BA7B8EF-FBAF-4710-98C5-AE5760700EB0}" srcId="{708AF9BC-243E-4B3A-9C1B-BC1BA44B4E55}" destId="{8C6A422A-1240-4232-AAD7-07244886B70A}" srcOrd="3" destOrd="0" parTransId="{2FA06949-3CF5-494F-ABE9-7F442175E529}" sibTransId="{B0EF37C9-6E27-444E-914D-6029F478F7F1}"/>
    <dgm:cxn modelId="{C1F06FF3-50B9-4D73-BD36-5BEAC32C1AEA}" srcId="{708AF9BC-243E-4B3A-9C1B-BC1BA44B4E55}" destId="{A4FAF82A-0A28-41EA-A5C1-452D21F72953}" srcOrd="1" destOrd="0" parTransId="{2AA3B0AC-E6CD-48E1-B115-BD46D6FCD9A4}" sibTransId="{BEEF255E-5166-4806-B609-21F0503CB9EA}"/>
    <dgm:cxn modelId="{B755A9F7-628F-4EF4-AD34-0D5DFDA12E9D}" type="presOf" srcId="{61E4E6B0-D330-4D95-B65B-7ED8BE386EC7}" destId="{4D714C27-05B4-4ED3-A13F-C6955017C71B}" srcOrd="0"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DADD5A35-5B41-40D1-8E9E-5D09C5E4A9D4}" type="presParOf" srcId="{882847BB-1BFC-4BB3-8D09-D08D54568650}" destId="{65F37335-44BA-4DF7-BD7D-072641F71DC1}" srcOrd="1" destOrd="0" presId="urn:microsoft.com/office/officeart/2005/8/layout/orgChart1"/>
    <dgm:cxn modelId="{3DF11374-0875-4653-BA8D-0ADE6B5B13D3}" type="presParOf" srcId="{65F37335-44BA-4DF7-BD7D-072641F71DC1}" destId="{2709BF4A-A1DB-4727-AD1C-666FE70278E5}" srcOrd="0" destOrd="0" presId="urn:microsoft.com/office/officeart/2005/8/layout/orgChart1"/>
    <dgm:cxn modelId="{DA110F63-DBFD-4641-BE58-B7F99148A56B}" type="presParOf" srcId="{2709BF4A-A1DB-4727-AD1C-666FE70278E5}" destId="{D850B575-8268-47C9-BA65-19D4C41AF72F}" srcOrd="0" destOrd="0" presId="urn:microsoft.com/office/officeart/2005/8/layout/orgChart1"/>
    <dgm:cxn modelId="{89D39635-5A78-4ACE-A29D-9913B286E9B4}" type="presParOf" srcId="{2709BF4A-A1DB-4727-AD1C-666FE70278E5}" destId="{3E9D21D4-DE74-44D5-91AE-BC592200A72E}" srcOrd="1" destOrd="0" presId="urn:microsoft.com/office/officeart/2005/8/layout/orgChart1"/>
    <dgm:cxn modelId="{786CAC66-885E-4782-A9F2-5CFC16DAFA7B}" type="presParOf" srcId="{65F37335-44BA-4DF7-BD7D-072641F71DC1}" destId="{B82C1572-0818-4976-8414-84EB49C2AC19}" srcOrd="1" destOrd="0" presId="urn:microsoft.com/office/officeart/2005/8/layout/orgChart1"/>
    <dgm:cxn modelId="{D6F3C186-8CD7-4DFD-85B9-7AAC07016DEE}" type="presParOf" srcId="{65F37335-44BA-4DF7-BD7D-072641F71DC1}" destId="{D99BB491-E184-40BE-9B98-AA7899AB15F7}" srcOrd="2" destOrd="0" presId="urn:microsoft.com/office/officeart/2005/8/layout/orgChart1"/>
    <dgm:cxn modelId="{07124CFA-80D6-4911-B1D1-71639C07C996}" type="presParOf" srcId="{882847BB-1BFC-4BB3-8D09-D08D54568650}" destId="{A0877DAA-F396-4A26-9E32-1B3701247E71}" srcOrd="2" destOrd="0" presId="urn:microsoft.com/office/officeart/2005/8/layout/orgChart1"/>
    <dgm:cxn modelId="{53BF42D2-6380-4BEB-B56F-C3A12C6E9CFA}" type="presParOf" srcId="{A0877DAA-F396-4A26-9E32-1B3701247E71}" destId="{DF8EF3D2-979A-4BF7-8445-E6E742506F19}" srcOrd="0" destOrd="0" presId="urn:microsoft.com/office/officeart/2005/8/layout/orgChart1"/>
    <dgm:cxn modelId="{0E84D4B5-2A06-409A-B596-2775AF273DDF}" type="presParOf" srcId="{DF8EF3D2-979A-4BF7-8445-E6E742506F19}" destId="{4D714C27-05B4-4ED3-A13F-C6955017C71B}" srcOrd="0" destOrd="0" presId="urn:microsoft.com/office/officeart/2005/8/layout/orgChart1"/>
    <dgm:cxn modelId="{61E08058-40B4-4E25-9D5C-21020B61686E}" type="presParOf" srcId="{DF8EF3D2-979A-4BF7-8445-E6E742506F19}" destId="{A43C8D30-A465-407F-B7DD-669C6AEF4CAF}" srcOrd="1" destOrd="0" presId="urn:microsoft.com/office/officeart/2005/8/layout/orgChart1"/>
    <dgm:cxn modelId="{46716B62-A245-442D-A5A6-EA4B06812BD7}" type="presParOf" srcId="{A0877DAA-F396-4A26-9E32-1B3701247E71}" destId="{064BEF2A-F8FA-4DB7-8D0F-EDCC9E63348A}" srcOrd="1" destOrd="0" presId="urn:microsoft.com/office/officeart/2005/8/layout/orgChart1"/>
    <dgm:cxn modelId="{331AF5C5-8015-465E-AAFC-CB02D2716A45}" type="presParOf" srcId="{A0877DAA-F396-4A26-9E32-1B3701247E71}" destId="{DECD5475-11E4-4177-B713-0269AE0B80AA}" srcOrd="2" destOrd="0" presId="urn:microsoft.com/office/officeart/2005/8/layout/orgChart1"/>
    <dgm:cxn modelId="{4ECE3F28-A465-4708-BC25-8C4489DC327F}" type="presParOf" srcId="{882847BB-1BFC-4BB3-8D09-D08D54568650}" destId="{DFA896E4-7E3D-43BD-8601-E98BC269D98E}" srcOrd="3" destOrd="0" presId="urn:microsoft.com/office/officeart/2005/8/layout/orgChart1"/>
    <dgm:cxn modelId="{449533E9-B4DB-45BB-AA3A-AB219B2A8DC0}" type="presParOf" srcId="{DFA896E4-7E3D-43BD-8601-E98BC269D98E}" destId="{AE473816-940B-4D4A-826A-E5672438AB48}" srcOrd="0" destOrd="0" presId="urn:microsoft.com/office/officeart/2005/8/layout/orgChart1"/>
    <dgm:cxn modelId="{7C3DB490-669B-414D-B11D-2A894723A3DE}" type="presParOf" srcId="{AE473816-940B-4D4A-826A-E5672438AB48}" destId="{319A0EE5-FAE2-47D1-9B8C-2CB650E731B7}" srcOrd="0" destOrd="0" presId="urn:microsoft.com/office/officeart/2005/8/layout/orgChart1"/>
    <dgm:cxn modelId="{0224A283-CB9C-4EF6-9B97-7DAFB0E29F5A}" type="presParOf" srcId="{AE473816-940B-4D4A-826A-E5672438AB48}" destId="{30E024D0-F6E4-4F60-B39F-14C88CFB4B43}" srcOrd="1" destOrd="0" presId="urn:microsoft.com/office/officeart/2005/8/layout/orgChart1"/>
    <dgm:cxn modelId="{9CAD8C97-0177-4261-81BF-81AB832D190B}" type="presParOf" srcId="{DFA896E4-7E3D-43BD-8601-E98BC269D98E}" destId="{1C30DEC0-E55C-4274-9224-46E548ABD322}" srcOrd="1" destOrd="0" presId="urn:microsoft.com/office/officeart/2005/8/layout/orgChart1"/>
    <dgm:cxn modelId="{7F3F6CA1-9D23-4898-A52D-1022B5DBA14D}" type="presParOf" srcId="{DFA896E4-7E3D-43BD-8601-E98BC269D98E}" destId="{A8F86259-881B-46F0-96AC-D7272228E88F}" srcOrd="2" destOrd="0" presId="urn:microsoft.com/office/officeart/2005/8/layout/orgChar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GB" sz="2000" kern="1200">
              <a:latin typeface="+mj-lt"/>
            </a:rPr>
            <a:t>Centre of Excellence</a:t>
          </a: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8A3434D6-0B54-465D-8C39-B373F9F1915D}">
      <dgm:prSet custT="1"/>
      <dgm:spPr/>
      <dgm:t>
        <a:bodyPr/>
        <a:lstStyle/>
        <a:p>
          <a:r>
            <a:rPr lang="en-GB" sz="2000">
              <a:latin typeface="+mj-lt"/>
            </a:rPr>
            <a:t>End user training </a:t>
          </a:r>
        </a:p>
      </dgm:t>
    </dgm:pt>
    <dgm:pt modelId="{687680E3-61FB-424F-9E4E-66B472B25968}" type="parTrans" cxnId="{F79FC844-3274-40F2-8F2E-2E7F13168163}">
      <dgm:prSet/>
      <dgm:spPr/>
      <dgm:t>
        <a:bodyPr/>
        <a:lstStyle/>
        <a:p>
          <a:endParaRPr lang="en-GB"/>
        </a:p>
      </dgm:t>
    </dgm:pt>
    <dgm:pt modelId="{384F4A1C-2831-46F3-80E5-143E80421983}" type="sibTrans" cxnId="{F79FC844-3274-40F2-8F2E-2E7F13168163}">
      <dgm:prSet/>
      <dgm:spPr/>
      <dgm:t>
        <a:bodyPr/>
        <a:lstStyle/>
        <a:p>
          <a:endParaRPr lang="en-GB"/>
        </a:p>
      </dgm:t>
    </dgm:pt>
    <dgm:pt modelId="{A5317DE7-7E34-4077-9721-E9A2A8C72316}">
      <dgm:prSet custT="1"/>
      <dgm:spPr/>
      <dgm:t>
        <a:bodyPr/>
        <a:lstStyle/>
        <a:p>
          <a:r>
            <a:rPr lang="en-GB" sz="2000">
              <a:latin typeface="+mj-lt"/>
            </a:rPr>
            <a:t>Internal community</a:t>
          </a:r>
        </a:p>
      </dgm:t>
    </dgm:pt>
    <dgm:pt modelId="{A3E2BAD5-748F-4750-9E73-6BDAC44922E9}" type="parTrans" cxnId="{0E80F1B9-F0CA-493F-9749-1A6644AB17C6}">
      <dgm:prSet/>
      <dgm:spPr/>
      <dgm:t>
        <a:bodyPr/>
        <a:lstStyle/>
        <a:p>
          <a:endParaRPr lang="en-GB"/>
        </a:p>
      </dgm:t>
    </dgm:pt>
    <dgm:pt modelId="{02523A9A-2C13-459E-816F-CBE852D7B536}" type="sibTrans" cxnId="{0E80F1B9-F0CA-493F-9749-1A6644AB17C6}">
      <dgm:prSet/>
      <dgm:spPr/>
      <dgm:t>
        <a:bodyPr/>
        <a:lstStyle/>
        <a:p>
          <a:endParaRPr lang="en-GB"/>
        </a:p>
      </dgm:t>
    </dgm:pt>
    <dgm:pt modelId="{BA7105E4-1B1B-4050-9E12-CB4E682F79B0}">
      <dgm:prSet custT="1"/>
      <dgm:spPr/>
      <dgm:t>
        <a:bodyPr/>
        <a:lstStyle/>
        <a:p>
          <a:r>
            <a:rPr lang="en-GB" sz="2000" kern="1200">
              <a:latin typeface="+mj-lt"/>
            </a:rPr>
            <a:t>Internal marketing</a:t>
          </a:r>
        </a:p>
      </dgm:t>
    </dgm:pt>
    <dgm:pt modelId="{4FE4E52D-1F53-41A6-9A61-FFA6FE95CC1D}" type="parTrans" cxnId="{2B6E250D-3D86-48A7-ACEC-1BE016FC4F33}">
      <dgm:prSet/>
      <dgm:spPr/>
      <dgm:t>
        <a:bodyPr/>
        <a:lstStyle/>
        <a:p>
          <a:endParaRPr lang="en-GB"/>
        </a:p>
      </dgm:t>
    </dgm:pt>
    <dgm:pt modelId="{985B0C8E-BEA9-46E6-9DE7-D5CE3E45649C}" type="sibTrans" cxnId="{2B6E250D-3D86-48A7-ACEC-1BE016FC4F33}">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A6D45C24-3FE1-40B1-ACD2-B9B53DC356A1}" type="pres">
      <dgm:prSet presAssocID="{BA7105E4-1B1B-4050-9E12-CB4E682F79B0}" presName="hierRoot1" presStyleCnt="0">
        <dgm:presLayoutVars>
          <dgm:hierBranch val="init"/>
        </dgm:presLayoutVars>
      </dgm:prSet>
      <dgm:spPr/>
    </dgm:pt>
    <dgm:pt modelId="{D6EAE264-5556-45E3-A4FC-9B1A47D633B5}" type="pres">
      <dgm:prSet presAssocID="{BA7105E4-1B1B-4050-9E12-CB4E682F79B0}" presName="rootComposite1" presStyleCnt="0"/>
      <dgm:spPr/>
    </dgm:pt>
    <dgm:pt modelId="{44A7D895-1910-4068-8F24-1EC9C16B09C5}" type="pres">
      <dgm:prSet presAssocID="{BA7105E4-1B1B-4050-9E12-CB4E682F79B0}" presName="rootText1" presStyleLbl="node0" presStyleIdx="1" presStyleCnt="4">
        <dgm:presLayoutVars>
          <dgm:chPref val="3"/>
        </dgm:presLayoutVars>
      </dgm:prSet>
      <dgm:spPr/>
    </dgm:pt>
    <dgm:pt modelId="{81034CB8-3BD7-4E16-8F61-304A6CCE31D0}" type="pres">
      <dgm:prSet presAssocID="{BA7105E4-1B1B-4050-9E12-CB4E682F79B0}" presName="rootConnector1" presStyleLbl="node1" presStyleIdx="0" presStyleCnt="0"/>
      <dgm:spPr/>
    </dgm:pt>
    <dgm:pt modelId="{05918EBC-E6F2-41DE-80FA-5359F8BD02D7}" type="pres">
      <dgm:prSet presAssocID="{BA7105E4-1B1B-4050-9E12-CB4E682F79B0}" presName="hierChild2" presStyleCnt="0"/>
      <dgm:spPr/>
    </dgm:pt>
    <dgm:pt modelId="{44C5AD00-F70C-4AFC-9953-5EEDDABB9EC5}" type="pres">
      <dgm:prSet presAssocID="{BA7105E4-1B1B-4050-9E12-CB4E682F79B0}" presName="hierChild3" presStyleCnt="0"/>
      <dgm:spPr/>
    </dgm:pt>
    <dgm:pt modelId="{3B008B0A-68DF-4629-BD6A-89D302FF7FD5}" type="pres">
      <dgm:prSet presAssocID="{8A3434D6-0B54-465D-8C39-B373F9F1915D}" presName="hierRoot1" presStyleCnt="0">
        <dgm:presLayoutVars>
          <dgm:hierBranch val="init"/>
        </dgm:presLayoutVars>
      </dgm:prSet>
      <dgm:spPr/>
    </dgm:pt>
    <dgm:pt modelId="{DF3D44BC-921B-4080-B6C3-EC30BE428598}" type="pres">
      <dgm:prSet presAssocID="{8A3434D6-0B54-465D-8C39-B373F9F1915D}" presName="rootComposite1" presStyleCnt="0"/>
      <dgm:spPr/>
    </dgm:pt>
    <dgm:pt modelId="{7E62F2A4-EBAB-4D1C-AFFC-123B159E248A}" type="pres">
      <dgm:prSet presAssocID="{8A3434D6-0B54-465D-8C39-B373F9F1915D}" presName="rootText1" presStyleLbl="node0" presStyleIdx="2" presStyleCnt="4">
        <dgm:presLayoutVars>
          <dgm:chPref val="3"/>
        </dgm:presLayoutVars>
      </dgm:prSet>
      <dgm:spPr/>
    </dgm:pt>
    <dgm:pt modelId="{41F870AA-ABC2-4E65-9D35-17DE8BC09D69}" type="pres">
      <dgm:prSet presAssocID="{8A3434D6-0B54-465D-8C39-B373F9F1915D}" presName="rootConnector1" presStyleLbl="node1" presStyleIdx="0" presStyleCnt="0"/>
      <dgm:spPr/>
    </dgm:pt>
    <dgm:pt modelId="{EE34A903-DD41-4D76-AA83-8F0D2BD45549}" type="pres">
      <dgm:prSet presAssocID="{8A3434D6-0B54-465D-8C39-B373F9F1915D}" presName="hierChild2" presStyleCnt="0"/>
      <dgm:spPr/>
    </dgm:pt>
    <dgm:pt modelId="{6236136E-4850-4CE1-8C6A-AF319FF1BBD6}" type="pres">
      <dgm:prSet presAssocID="{8A3434D6-0B54-465D-8C39-B373F9F1915D}" presName="hierChild3" presStyleCnt="0"/>
      <dgm:spPr/>
    </dgm:pt>
    <dgm:pt modelId="{03767371-AA06-41B0-BFAF-438D610A5D80}" type="pres">
      <dgm:prSet presAssocID="{A5317DE7-7E34-4077-9721-E9A2A8C72316}" presName="hierRoot1" presStyleCnt="0">
        <dgm:presLayoutVars>
          <dgm:hierBranch val="init"/>
        </dgm:presLayoutVars>
      </dgm:prSet>
      <dgm:spPr/>
    </dgm:pt>
    <dgm:pt modelId="{56E03BB2-0ED4-4ABF-866E-80C66BBC478E}" type="pres">
      <dgm:prSet presAssocID="{A5317DE7-7E34-4077-9721-E9A2A8C72316}" presName="rootComposite1" presStyleCnt="0"/>
      <dgm:spPr/>
    </dgm:pt>
    <dgm:pt modelId="{B41BF3A0-5F9B-4C4A-AFF8-07F25F44D473}" type="pres">
      <dgm:prSet presAssocID="{A5317DE7-7E34-4077-9721-E9A2A8C72316}" presName="rootText1" presStyleLbl="node0" presStyleIdx="3" presStyleCnt="4">
        <dgm:presLayoutVars>
          <dgm:chPref val="3"/>
        </dgm:presLayoutVars>
      </dgm:prSet>
      <dgm:spPr/>
    </dgm:pt>
    <dgm:pt modelId="{91A78620-C02A-4214-B6CA-E93FCC058642}" type="pres">
      <dgm:prSet presAssocID="{A5317DE7-7E34-4077-9721-E9A2A8C72316}" presName="rootConnector1" presStyleLbl="node1" presStyleIdx="0" presStyleCnt="0"/>
      <dgm:spPr/>
    </dgm:pt>
    <dgm:pt modelId="{47DB68B3-BD63-40D1-8150-55077DD89A68}" type="pres">
      <dgm:prSet presAssocID="{A5317DE7-7E34-4077-9721-E9A2A8C72316}" presName="hierChild2" presStyleCnt="0"/>
      <dgm:spPr/>
    </dgm:pt>
    <dgm:pt modelId="{0DDE9F1C-A367-4726-9315-E8C31524DD36}" type="pres">
      <dgm:prSet presAssocID="{A5317DE7-7E34-4077-9721-E9A2A8C72316}" presName="hierChild3" presStyleCnt="0"/>
      <dgm:spPr/>
    </dgm:pt>
  </dgm:ptLst>
  <dgm:cxnLst>
    <dgm:cxn modelId="{74DF7605-CBAF-40AD-870B-C394F689CF16}" type="presOf" srcId="{BA7105E4-1B1B-4050-9E12-CB4E682F79B0}" destId="{81034CB8-3BD7-4E16-8F61-304A6CCE31D0}" srcOrd="1" destOrd="0" presId="urn:microsoft.com/office/officeart/2005/8/layout/orgChart1"/>
    <dgm:cxn modelId="{2B6E250D-3D86-48A7-ACEC-1BE016FC4F33}" srcId="{708AF9BC-243E-4B3A-9C1B-BC1BA44B4E55}" destId="{BA7105E4-1B1B-4050-9E12-CB4E682F79B0}" srcOrd="1" destOrd="0" parTransId="{4FE4E52D-1F53-41A6-9A61-FFA6FE95CC1D}" sibTransId="{985B0C8E-BEA9-46E6-9DE7-D5CE3E45649C}"/>
    <dgm:cxn modelId="{956C8E12-BF85-4E27-9440-612925DC03E8}" type="presOf" srcId="{8A3434D6-0B54-465D-8C39-B373F9F1915D}" destId="{7E62F2A4-EBAB-4D1C-AFFC-123B159E248A}" srcOrd="0" destOrd="0" presId="urn:microsoft.com/office/officeart/2005/8/layout/orgChart1"/>
    <dgm:cxn modelId="{C7459321-B38B-4D43-978E-47A957A5A26A}" type="presOf" srcId="{A5317DE7-7E34-4077-9721-E9A2A8C72316}" destId="{B41BF3A0-5F9B-4C4A-AFF8-07F25F44D473}" srcOrd="0" destOrd="0" presId="urn:microsoft.com/office/officeart/2005/8/layout/orgChart1"/>
    <dgm:cxn modelId="{7D65C924-2129-4E74-A53F-E205826B120E}" type="presOf" srcId="{8A3434D6-0B54-465D-8C39-B373F9F1915D}" destId="{41F870AA-ABC2-4E65-9D35-17DE8BC09D69}" srcOrd="1" destOrd="0" presId="urn:microsoft.com/office/officeart/2005/8/layout/orgChart1"/>
    <dgm:cxn modelId="{F79FC844-3274-40F2-8F2E-2E7F13168163}" srcId="{708AF9BC-243E-4B3A-9C1B-BC1BA44B4E55}" destId="{8A3434D6-0B54-465D-8C39-B373F9F1915D}" srcOrd="2" destOrd="0" parTransId="{687680E3-61FB-424F-9E4E-66B472B25968}" sibTransId="{384F4A1C-2831-46F3-80E5-143E80421983}"/>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0E80F1B9-F0CA-493F-9749-1A6644AB17C6}" srcId="{708AF9BC-243E-4B3A-9C1B-BC1BA44B4E55}" destId="{A5317DE7-7E34-4077-9721-E9A2A8C72316}" srcOrd="3" destOrd="0" parTransId="{A3E2BAD5-748F-4750-9E73-6BDAC44922E9}" sibTransId="{02523A9A-2C13-459E-816F-CBE852D7B536}"/>
    <dgm:cxn modelId="{B81A38BB-53FC-4272-9AD4-C1B1DB891058}" type="presOf" srcId="{A5317DE7-7E34-4077-9721-E9A2A8C72316}" destId="{91A78620-C02A-4214-B6CA-E93FCC058642}"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BEE1EBDE-D573-4B36-AD18-F8FA67512D73}" type="presOf" srcId="{BA7105E4-1B1B-4050-9E12-CB4E682F79B0}" destId="{44A7D895-1910-4068-8F24-1EC9C16B09C5}" srcOrd="0" destOrd="0" presId="urn:microsoft.com/office/officeart/2005/8/layout/orgChart1"/>
    <dgm:cxn modelId="{A8B3F2DF-02BB-4432-AA67-3809AA2BC868}" type="presOf" srcId="{4172ACCF-6BB7-459A-817E-82DBD49B6C73}" destId="{F97B187D-AEF7-4D1A-B074-D0C88C75C5C9}"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EDA07657-69D3-4D20-9881-39CB3E27788F}" type="presParOf" srcId="{882847BB-1BFC-4BB3-8D09-D08D54568650}" destId="{A6D45C24-3FE1-40B1-ACD2-B9B53DC356A1}" srcOrd="1" destOrd="0" presId="urn:microsoft.com/office/officeart/2005/8/layout/orgChart1"/>
    <dgm:cxn modelId="{919D44EB-FB78-4F52-BD63-6E1F2A2D1674}" type="presParOf" srcId="{A6D45C24-3FE1-40B1-ACD2-B9B53DC356A1}" destId="{D6EAE264-5556-45E3-A4FC-9B1A47D633B5}" srcOrd="0" destOrd="0" presId="urn:microsoft.com/office/officeart/2005/8/layout/orgChart1"/>
    <dgm:cxn modelId="{77A8DE24-E533-44F2-B97D-DFCE164AC1CF}" type="presParOf" srcId="{D6EAE264-5556-45E3-A4FC-9B1A47D633B5}" destId="{44A7D895-1910-4068-8F24-1EC9C16B09C5}" srcOrd="0" destOrd="0" presId="urn:microsoft.com/office/officeart/2005/8/layout/orgChart1"/>
    <dgm:cxn modelId="{622BD874-AE9C-4754-B945-8DE38BC615FB}" type="presParOf" srcId="{D6EAE264-5556-45E3-A4FC-9B1A47D633B5}" destId="{81034CB8-3BD7-4E16-8F61-304A6CCE31D0}" srcOrd="1" destOrd="0" presId="urn:microsoft.com/office/officeart/2005/8/layout/orgChart1"/>
    <dgm:cxn modelId="{74E2FF08-5512-405E-92B6-31E988C034D4}" type="presParOf" srcId="{A6D45C24-3FE1-40B1-ACD2-B9B53DC356A1}" destId="{05918EBC-E6F2-41DE-80FA-5359F8BD02D7}" srcOrd="1" destOrd="0" presId="urn:microsoft.com/office/officeart/2005/8/layout/orgChart1"/>
    <dgm:cxn modelId="{9C561137-21DC-4609-A6CF-875B8E07C25C}" type="presParOf" srcId="{A6D45C24-3FE1-40B1-ACD2-B9B53DC356A1}" destId="{44C5AD00-F70C-4AFC-9953-5EEDDABB9EC5}" srcOrd="2" destOrd="0" presId="urn:microsoft.com/office/officeart/2005/8/layout/orgChart1"/>
    <dgm:cxn modelId="{43703072-169B-4CCF-89F3-C5B45EBA8EEE}" type="presParOf" srcId="{882847BB-1BFC-4BB3-8D09-D08D54568650}" destId="{3B008B0A-68DF-4629-BD6A-89D302FF7FD5}" srcOrd="2" destOrd="0" presId="urn:microsoft.com/office/officeart/2005/8/layout/orgChart1"/>
    <dgm:cxn modelId="{12682C60-2374-4EE7-835E-ECAA133ED79B}" type="presParOf" srcId="{3B008B0A-68DF-4629-BD6A-89D302FF7FD5}" destId="{DF3D44BC-921B-4080-B6C3-EC30BE428598}" srcOrd="0" destOrd="0" presId="urn:microsoft.com/office/officeart/2005/8/layout/orgChart1"/>
    <dgm:cxn modelId="{9C24914B-C9FD-4E47-8E04-8224AF090E95}" type="presParOf" srcId="{DF3D44BC-921B-4080-B6C3-EC30BE428598}" destId="{7E62F2A4-EBAB-4D1C-AFFC-123B159E248A}" srcOrd="0" destOrd="0" presId="urn:microsoft.com/office/officeart/2005/8/layout/orgChart1"/>
    <dgm:cxn modelId="{4EF7B005-2EB0-494C-B28F-9201ED102C6A}" type="presParOf" srcId="{DF3D44BC-921B-4080-B6C3-EC30BE428598}" destId="{41F870AA-ABC2-4E65-9D35-17DE8BC09D69}" srcOrd="1" destOrd="0" presId="urn:microsoft.com/office/officeart/2005/8/layout/orgChart1"/>
    <dgm:cxn modelId="{C6B1F5C7-2A41-4F80-82C3-25171DA4A485}" type="presParOf" srcId="{3B008B0A-68DF-4629-BD6A-89D302FF7FD5}" destId="{EE34A903-DD41-4D76-AA83-8F0D2BD45549}" srcOrd="1" destOrd="0" presId="urn:microsoft.com/office/officeart/2005/8/layout/orgChart1"/>
    <dgm:cxn modelId="{E47A71FB-A2E2-4BB6-AAF2-91BBD892E814}" type="presParOf" srcId="{3B008B0A-68DF-4629-BD6A-89D302FF7FD5}" destId="{6236136E-4850-4CE1-8C6A-AF319FF1BBD6}" srcOrd="2" destOrd="0" presId="urn:microsoft.com/office/officeart/2005/8/layout/orgChart1"/>
    <dgm:cxn modelId="{28F5128B-01B0-451E-B184-4768F3BBE46E}" type="presParOf" srcId="{882847BB-1BFC-4BB3-8D09-D08D54568650}" destId="{03767371-AA06-41B0-BFAF-438D610A5D80}" srcOrd="3" destOrd="0" presId="urn:microsoft.com/office/officeart/2005/8/layout/orgChart1"/>
    <dgm:cxn modelId="{869B131C-DABA-41E1-BD45-B65B2BF0A2BB}" type="presParOf" srcId="{03767371-AA06-41B0-BFAF-438D610A5D80}" destId="{56E03BB2-0ED4-4ABF-866E-80C66BBC478E}" srcOrd="0" destOrd="0" presId="urn:microsoft.com/office/officeart/2005/8/layout/orgChart1"/>
    <dgm:cxn modelId="{F5FF8DE6-6F43-49A0-B846-514EF53CCA42}" type="presParOf" srcId="{56E03BB2-0ED4-4ABF-866E-80C66BBC478E}" destId="{B41BF3A0-5F9B-4C4A-AFF8-07F25F44D473}" srcOrd="0" destOrd="0" presId="urn:microsoft.com/office/officeart/2005/8/layout/orgChart1"/>
    <dgm:cxn modelId="{BDB7C6FD-A40B-4F00-8EB0-4E94B201BF02}" type="presParOf" srcId="{56E03BB2-0ED4-4ABF-866E-80C66BBC478E}" destId="{91A78620-C02A-4214-B6CA-E93FCC058642}" srcOrd="1" destOrd="0" presId="urn:microsoft.com/office/officeart/2005/8/layout/orgChart1"/>
    <dgm:cxn modelId="{639B28DE-BC09-4069-8D8E-B177E134BE10}" type="presParOf" srcId="{03767371-AA06-41B0-BFAF-438D610A5D80}" destId="{47DB68B3-BD63-40D1-8150-55077DD89A68}" srcOrd="1" destOrd="0" presId="urn:microsoft.com/office/officeart/2005/8/layout/orgChart1"/>
    <dgm:cxn modelId="{9DA07CD5-7C17-46DF-8138-B66215896B4C}" type="presParOf" srcId="{03767371-AA06-41B0-BFAF-438D610A5D80}" destId="{0DDE9F1C-A367-4726-9315-E8C31524DD36}" srcOrd="2" destOrd="0" presId="urn:microsoft.com/office/officeart/2005/8/layout/orgChart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4B00135-BDCD-4403-AFB1-7365945E6E3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53B78706-3517-4662-99A3-EA5BD2EB742C}">
      <dgm:prSet/>
      <dgm:spPr/>
      <dgm:t>
        <a:bodyPr/>
        <a:lstStyle/>
        <a:p>
          <a:r>
            <a:rPr lang="en-GB">
              <a:solidFill>
                <a:schemeClr val="bg1"/>
              </a:solidFill>
            </a:rPr>
            <a:t>IT/Partner teaches business</a:t>
          </a:r>
        </a:p>
      </dgm:t>
    </dgm:pt>
    <dgm:pt modelId="{09B91481-FAEF-45F3-A4AB-E427B65DFBA2}" type="parTrans" cxnId="{6074595F-6C8E-4D13-97BA-6E9B239858B9}">
      <dgm:prSet/>
      <dgm:spPr/>
      <dgm:t>
        <a:bodyPr/>
        <a:lstStyle/>
        <a:p>
          <a:endParaRPr lang="en-US"/>
        </a:p>
      </dgm:t>
    </dgm:pt>
    <dgm:pt modelId="{B81DF0A8-8F26-4743-B089-16C298ED93FE}" type="sibTrans" cxnId="{6074595F-6C8E-4D13-97BA-6E9B239858B9}">
      <dgm:prSet/>
      <dgm:spPr/>
      <dgm:t>
        <a:bodyPr/>
        <a:lstStyle/>
        <a:p>
          <a:endParaRPr lang="en-US"/>
        </a:p>
      </dgm:t>
    </dgm:pt>
    <dgm:pt modelId="{79AD0B45-2383-4249-8231-4C3A525B27AD}" type="pres">
      <dgm:prSet presAssocID="{24B00135-BDCD-4403-AFB1-7365945E6E3E}" presName="Name0" presStyleCnt="0">
        <dgm:presLayoutVars>
          <dgm:dir/>
          <dgm:animLvl val="lvl"/>
          <dgm:resizeHandles val="exact"/>
        </dgm:presLayoutVars>
      </dgm:prSet>
      <dgm:spPr/>
    </dgm:pt>
    <dgm:pt modelId="{4BCCEBA1-9A5D-4AE5-8A69-CF65713083B7}" type="pres">
      <dgm:prSet presAssocID="{24B00135-BDCD-4403-AFB1-7365945E6E3E}" presName="dummy" presStyleCnt="0"/>
      <dgm:spPr/>
    </dgm:pt>
    <dgm:pt modelId="{DC0EC77E-3282-4811-8280-A3412AC956D6}" type="pres">
      <dgm:prSet presAssocID="{24B00135-BDCD-4403-AFB1-7365945E6E3E}" presName="linH" presStyleCnt="0"/>
      <dgm:spPr/>
    </dgm:pt>
    <dgm:pt modelId="{97DA7FBB-CD49-4AAE-85CD-5D3CECE0C1C9}" type="pres">
      <dgm:prSet presAssocID="{24B00135-BDCD-4403-AFB1-7365945E6E3E}" presName="padding1" presStyleCnt="0"/>
      <dgm:spPr/>
    </dgm:pt>
    <dgm:pt modelId="{BFEC7827-2974-4686-ABAC-89E3C437BB19}" type="pres">
      <dgm:prSet presAssocID="{53B78706-3517-4662-99A3-EA5BD2EB742C}" presName="linV" presStyleCnt="0"/>
      <dgm:spPr/>
    </dgm:pt>
    <dgm:pt modelId="{AD64F6B9-FB80-43D3-84AE-91B74D0C199D}" type="pres">
      <dgm:prSet presAssocID="{53B78706-3517-4662-99A3-EA5BD2EB742C}" presName="spVertical1" presStyleCnt="0"/>
      <dgm:spPr/>
    </dgm:pt>
    <dgm:pt modelId="{73BD4549-126E-41F1-96FF-945EE352FD3D}" type="pres">
      <dgm:prSet presAssocID="{53B78706-3517-4662-99A3-EA5BD2EB742C}" presName="parTx" presStyleLbl="revTx" presStyleIdx="0" presStyleCnt="1">
        <dgm:presLayoutVars>
          <dgm:chMax val="0"/>
          <dgm:chPref val="0"/>
          <dgm:bulletEnabled val="1"/>
        </dgm:presLayoutVars>
      </dgm:prSet>
      <dgm:spPr/>
    </dgm:pt>
    <dgm:pt modelId="{589B2568-C99B-4A40-90E6-47210E539A71}" type="pres">
      <dgm:prSet presAssocID="{53B78706-3517-4662-99A3-EA5BD2EB742C}" presName="spVertical2" presStyleCnt="0"/>
      <dgm:spPr/>
    </dgm:pt>
    <dgm:pt modelId="{95B06942-62D3-4D51-AEBF-C1F55F518128}" type="pres">
      <dgm:prSet presAssocID="{53B78706-3517-4662-99A3-EA5BD2EB742C}" presName="spVertical3" presStyleCnt="0"/>
      <dgm:spPr/>
    </dgm:pt>
    <dgm:pt modelId="{92A85783-D8C9-4F79-A51E-2C31F55034F3}" type="pres">
      <dgm:prSet presAssocID="{24B00135-BDCD-4403-AFB1-7365945E6E3E}" presName="padding2" presStyleCnt="0"/>
      <dgm:spPr/>
    </dgm:pt>
    <dgm:pt modelId="{017546B4-20ED-4BA5-A16F-793C9F4AB54C}" type="pres">
      <dgm:prSet presAssocID="{24B00135-BDCD-4403-AFB1-7365945E6E3E}" presName="negArrow" presStyleCnt="0"/>
      <dgm:spPr/>
    </dgm:pt>
    <dgm:pt modelId="{BD5BA69B-3BFF-4752-B657-90B44E71EC67}" type="pres">
      <dgm:prSet presAssocID="{24B00135-BDCD-4403-AFB1-7365945E6E3E}" presName="backgroundArrow" presStyleLbl="node1" presStyleIdx="0" presStyleCnt="1" custLinFactNeighborX="-231" custLinFactNeighborY="-60"/>
      <dgm:spPr>
        <a:solidFill>
          <a:schemeClr val="tx1"/>
        </a:solidFill>
      </dgm:spPr>
    </dgm:pt>
  </dgm:ptLst>
  <dgm:cxnLst>
    <dgm:cxn modelId="{6074595F-6C8E-4D13-97BA-6E9B239858B9}" srcId="{24B00135-BDCD-4403-AFB1-7365945E6E3E}" destId="{53B78706-3517-4662-99A3-EA5BD2EB742C}" srcOrd="0" destOrd="0" parTransId="{09B91481-FAEF-45F3-A4AB-E427B65DFBA2}" sibTransId="{B81DF0A8-8F26-4743-B089-16C298ED93FE}"/>
    <dgm:cxn modelId="{5B4A6BB2-43A6-4268-A1EA-16673DF27D47}" type="presOf" srcId="{53B78706-3517-4662-99A3-EA5BD2EB742C}" destId="{73BD4549-126E-41F1-96FF-945EE352FD3D}" srcOrd="0" destOrd="0" presId="urn:microsoft.com/office/officeart/2005/8/layout/hProcess3"/>
    <dgm:cxn modelId="{E0F5A5D4-2631-4F65-9EE5-71B39026FCB0}" type="presOf" srcId="{24B00135-BDCD-4403-AFB1-7365945E6E3E}" destId="{79AD0B45-2383-4249-8231-4C3A525B27AD}" srcOrd="0" destOrd="0" presId="urn:microsoft.com/office/officeart/2005/8/layout/hProcess3"/>
    <dgm:cxn modelId="{C9F9635A-C1EC-4633-92BF-B9090110C01E}" type="presParOf" srcId="{79AD0B45-2383-4249-8231-4C3A525B27AD}" destId="{4BCCEBA1-9A5D-4AE5-8A69-CF65713083B7}" srcOrd="0" destOrd="0" presId="urn:microsoft.com/office/officeart/2005/8/layout/hProcess3"/>
    <dgm:cxn modelId="{E27A1D35-3334-42D4-9456-EF0C3B56C0AA}" type="presParOf" srcId="{79AD0B45-2383-4249-8231-4C3A525B27AD}" destId="{DC0EC77E-3282-4811-8280-A3412AC956D6}" srcOrd="1" destOrd="0" presId="urn:microsoft.com/office/officeart/2005/8/layout/hProcess3"/>
    <dgm:cxn modelId="{AF4E3CEE-49B9-4C21-BABD-F024CE97EFEB}" type="presParOf" srcId="{DC0EC77E-3282-4811-8280-A3412AC956D6}" destId="{97DA7FBB-CD49-4AAE-85CD-5D3CECE0C1C9}" srcOrd="0" destOrd="0" presId="urn:microsoft.com/office/officeart/2005/8/layout/hProcess3"/>
    <dgm:cxn modelId="{0FC56C85-C95F-441C-BE0E-3E6C5AE11709}" type="presParOf" srcId="{DC0EC77E-3282-4811-8280-A3412AC956D6}" destId="{BFEC7827-2974-4686-ABAC-89E3C437BB19}" srcOrd="1" destOrd="0" presId="urn:microsoft.com/office/officeart/2005/8/layout/hProcess3"/>
    <dgm:cxn modelId="{7650E9ED-0EEB-4810-9A67-2B25C9BB90E7}" type="presParOf" srcId="{BFEC7827-2974-4686-ABAC-89E3C437BB19}" destId="{AD64F6B9-FB80-43D3-84AE-91B74D0C199D}" srcOrd="0" destOrd="0" presId="urn:microsoft.com/office/officeart/2005/8/layout/hProcess3"/>
    <dgm:cxn modelId="{9799D0FD-2495-4404-860A-DA67428F152D}" type="presParOf" srcId="{BFEC7827-2974-4686-ABAC-89E3C437BB19}" destId="{73BD4549-126E-41F1-96FF-945EE352FD3D}" srcOrd="1" destOrd="0" presId="urn:microsoft.com/office/officeart/2005/8/layout/hProcess3"/>
    <dgm:cxn modelId="{7A4E48CF-56A6-429E-95DE-5FAB194D349C}" type="presParOf" srcId="{BFEC7827-2974-4686-ABAC-89E3C437BB19}" destId="{589B2568-C99B-4A40-90E6-47210E539A71}" srcOrd="2" destOrd="0" presId="urn:microsoft.com/office/officeart/2005/8/layout/hProcess3"/>
    <dgm:cxn modelId="{9165013E-4C75-4FED-B117-304E2EAC6945}" type="presParOf" srcId="{BFEC7827-2974-4686-ABAC-89E3C437BB19}" destId="{95B06942-62D3-4D51-AEBF-C1F55F518128}" srcOrd="3" destOrd="0" presId="urn:microsoft.com/office/officeart/2005/8/layout/hProcess3"/>
    <dgm:cxn modelId="{28C76B12-C0E3-4653-8423-880E06F49148}" type="presParOf" srcId="{DC0EC77E-3282-4811-8280-A3412AC956D6}" destId="{92A85783-D8C9-4F79-A51E-2C31F55034F3}" srcOrd="2" destOrd="0" presId="urn:microsoft.com/office/officeart/2005/8/layout/hProcess3"/>
    <dgm:cxn modelId="{5F8047A5-887A-4A73-8E90-4A249B2C121D}" type="presParOf" srcId="{DC0EC77E-3282-4811-8280-A3412AC956D6}" destId="{017546B4-20ED-4BA5-A16F-793C9F4AB54C}" srcOrd="3" destOrd="0" presId="urn:microsoft.com/office/officeart/2005/8/layout/hProcess3"/>
    <dgm:cxn modelId="{AC4F491D-2079-4972-B919-D06673057741}" type="presParOf" srcId="{DC0EC77E-3282-4811-8280-A3412AC956D6}" destId="{BD5BA69B-3BFF-4752-B657-90B44E71EC67}" srcOrd="4" destOrd="0" presId="urn:microsoft.com/office/officeart/2005/8/layout/h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33CDF30-5425-4E0B-BCCF-D8E2CDB3C8D0}"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GB"/>
        </a:p>
      </dgm:t>
    </dgm:pt>
    <dgm:pt modelId="{AEA7BDD1-52D3-4D0B-AB47-C7A3843EA572}">
      <dgm:prSet custT="1"/>
      <dgm:spPr/>
      <dgm:t>
        <a:bodyPr/>
        <a:lstStyle/>
        <a:p>
          <a:r>
            <a:rPr lang="en-GB" sz="2000" baseline="0"/>
            <a:t>Customer Need</a:t>
          </a:r>
          <a:endParaRPr lang="en-GB" sz="2000"/>
        </a:p>
      </dgm:t>
    </dgm:pt>
    <dgm:pt modelId="{B6AF35AB-42DB-40B4-997C-ECAE2127EB41}" type="parTrans" cxnId="{866725A0-A987-46FA-872B-B2ED57BB16DF}">
      <dgm:prSet/>
      <dgm:spPr/>
      <dgm:t>
        <a:bodyPr/>
        <a:lstStyle/>
        <a:p>
          <a:endParaRPr lang="en-GB"/>
        </a:p>
      </dgm:t>
    </dgm:pt>
    <dgm:pt modelId="{18140DEB-D559-488E-82A4-A6933BFB949B}" type="sibTrans" cxnId="{866725A0-A987-46FA-872B-B2ED57BB16DF}">
      <dgm:prSet/>
      <dgm:spPr/>
      <dgm:t>
        <a:bodyPr/>
        <a:lstStyle/>
        <a:p>
          <a:endParaRPr lang="en-GB"/>
        </a:p>
      </dgm:t>
    </dgm:pt>
    <dgm:pt modelId="{E9CE4648-F54B-46B3-A05D-BF88BEB8CB4B}">
      <dgm:prSet custT="1"/>
      <dgm:spPr/>
      <dgm:t>
        <a:bodyPr/>
        <a:lstStyle/>
        <a:p>
          <a:r>
            <a:rPr lang="en-GB" sz="2000" baseline="0"/>
            <a:t>BI Champs</a:t>
          </a:r>
          <a:endParaRPr lang="en-GB" sz="2000"/>
        </a:p>
      </dgm:t>
    </dgm:pt>
    <dgm:pt modelId="{C8CA2947-3DDC-4ACC-B55D-75B929425DB4}" type="parTrans" cxnId="{D763D79F-3B6D-47BF-8ED6-14CB72C59326}">
      <dgm:prSet/>
      <dgm:spPr/>
      <dgm:t>
        <a:bodyPr/>
        <a:lstStyle/>
        <a:p>
          <a:endParaRPr lang="en-GB"/>
        </a:p>
      </dgm:t>
    </dgm:pt>
    <dgm:pt modelId="{D2F36CC4-DC76-4870-97E3-588C9289DFC1}" type="sibTrans" cxnId="{D763D79F-3B6D-47BF-8ED6-14CB72C59326}">
      <dgm:prSet/>
      <dgm:spPr/>
      <dgm:t>
        <a:bodyPr/>
        <a:lstStyle/>
        <a:p>
          <a:endParaRPr lang="en-GB"/>
        </a:p>
      </dgm:t>
    </dgm:pt>
    <dgm:pt modelId="{4FFDD82C-DDB9-448B-9560-B56EAD97DFCC}">
      <dgm:prSet custT="1"/>
      <dgm:spPr/>
      <dgm:t>
        <a:bodyPr/>
        <a:lstStyle/>
        <a:p>
          <a:r>
            <a:rPr lang="en-GB" sz="2000"/>
            <a:t>Customer &amp; Partner Feedback</a:t>
          </a:r>
        </a:p>
      </dgm:t>
    </dgm:pt>
    <dgm:pt modelId="{3F416D44-96F9-41F2-83EE-A15595491EC4}" type="parTrans" cxnId="{E681BD69-5109-4595-9728-19D1E6759C10}">
      <dgm:prSet/>
      <dgm:spPr/>
      <dgm:t>
        <a:bodyPr/>
        <a:lstStyle/>
        <a:p>
          <a:endParaRPr lang="en-GB"/>
        </a:p>
      </dgm:t>
    </dgm:pt>
    <dgm:pt modelId="{50A90C15-5257-47B8-8F2A-D1707014284D}" type="sibTrans" cxnId="{E681BD69-5109-4595-9728-19D1E6759C10}">
      <dgm:prSet/>
      <dgm:spPr/>
      <dgm:t>
        <a:bodyPr/>
        <a:lstStyle/>
        <a:p>
          <a:endParaRPr lang="en-GB"/>
        </a:p>
      </dgm:t>
    </dgm:pt>
    <dgm:pt modelId="{A1009D32-8288-4DDF-A3BB-01E69E5F3A30}">
      <dgm:prSet custT="1"/>
      <dgm:spPr/>
      <dgm:t>
        <a:bodyPr/>
        <a:lstStyle/>
        <a:p>
          <a:r>
            <a:rPr lang="en-GB" sz="2000" baseline="0"/>
            <a:t>Power BI Whitepapers</a:t>
          </a:r>
          <a:endParaRPr lang="en-GB" sz="2000"/>
        </a:p>
      </dgm:t>
    </dgm:pt>
    <dgm:pt modelId="{41A9AB67-2922-4CED-B36B-81FAC30D053D}" type="parTrans" cxnId="{D3FAC19D-DE3F-4ED8-8872-25FFB7595164}">
      <dgm:prSet/>
      <dgm:spPr/>
      <dgm:t>
        <a:bodyPr/>
        <a:lstStyle/>
        <a:p>
          <a:endParaRPr lang="en-GB"/>
        </a:p>
      </dgm:t>
    </dgm:pt>
    <dgm:pt modelId="{484BF296-4272-4E8C-8949-4FD069688474}" type="sibTrans" cxnId="{D3FAC19D-DE3F-4ED8-8872-25FFB7595164}">
      <dgm:prSet/>
      <dgm:spPr/>
      <dgm:t>
        <a:bodyPr/>
        <a:lstStyle/>
        <a:p>
          <a:endParaRPr lang="en-GB"/>
        </a:p>
      </dgm:t>
    </dgm:pt>
    <dgm:pt modelId="{A9AD7C3E-54C6-4B6E-AE63-09FD7DF8E29C}">
      <dgm:prSet custT="1"/>
      <dgm:spPr/>
      <dgm:t>
        <a:bodyPr/>
        <a:lstStyle/>
        <a:p>
          <a:r>
            <a:rPr lang="en-GB" sz="2000"/>
            <a:t>Power BI Product Group</a:t>
          </a:r>
        </a:p>
      </dgm:t>
    </dgm:pt>
    <dgm:pt modelId="{E4E8BC7A-F5CD-41C7-8775-5AA6EB2AA62B}" type="parTrans" cxnId="{74B986A1-B5AF-4CE8-9134-4731FB5A3561}">
      <dgm:prSet/>
      <dgm:spPr/>
      <dgm:t>
        <a:bodyPr/>
        <a:lstStyle/>
        <a:p>
          <a:endParaRPr lang="en-GB"/>
        </a:p>
      </dgm:t>
    </dgm:pt>
    <dgm:pt modelId="{E4457E0B-7168-4048-BE4C-9F1D7AE9F4A6}" type="sibTrans" cxnId="{74B986A1-B5AF-4CE8-9134-4731FB5A3561}">
      <dgm:prSet/>
      <dgm:spPr/>
      <dgm:t>
        <a:bodyPr/>
        <a:lstStyle/>
        <a:p>
          <a:endParaRPr lang="en-GB"/>
        </a:p>
      </dgm:t>
    </dgm:pt>
    <dgm:pt modelId="{C6668AB2-7831-4CC4-B25A-AA8DA5BD80FF}">
      <dgm:prSet custT="1"/>
      <dgm:spPr/>
      <dgm:t>
        <a:bodyPr/>
        <a:lstStyle/>
        <a:p>
          <a:r>
            <a:rPr lang="en-GB" sz="2000" baseline="0"/>
            <a:t>BI @ Microsoft</a:t>
          </a:r>
          <a:endParaRPr lang="en-GB" sz="2000"/>
        </a:p>
      </dgm:t>
    </dgm:pt>
    <dgm:pt modelId="{0928A6F2-3B70-4A34-A2C2-A8B155072E10}" type="parTrans" cxnId="{CCDC5CCF-7D9F-4CDE-A100-2A98B04F5432}">
      <dgm:prSet/>
      <dgm:spPr/>
      <dgm:t>
        <a:bodyPr/>
        <a:lstStyle/>
        <a:p>
          <a:endParaRPr lang="en-GB"/>
        </a:p>
      </dgm:t>
    </dgm:pt>
    <dgm:pt modelId="{2B794E89-40B2-4F64-8F86-BC58B6553559}" type="sibTrans" cxnId="{CCDC5CCF-7D9F-4CDE-A100-2A98B04F5432}">
      <dgm:prSet/>
      <dgm:spPr/>
      <dgm:t>
        <a:bodyPr/>
        <a:lstStyle/>
        <a:p>
          <a:endParaRPr lang="en-GB"/>
        </a:p>
      </dgm:t>
    </dgm:pt>
    <dgm:pt modelId="{5947C614-F619-4B91-8922-ACF7C0389E08}" type="pres">
      <dgm:prSet presAssocID="{733CDF30-5425-4E0B-BCCF-D8E2CDB3C8D0}" presName="diagram" presStyleCnt="0">
        <dgm:presLayoutVars>
          <dgm:dir/>
          <dgm:resizeHandles val="exact"/>
        </dgm:presLayoutVars>
      </dgm:prSet>
      <dgm:spPr/>
    </dgm:pt>
    <dgm:pt modelId="{E5DB8780-D17C-47A7-BFE5-A859BFC90A92}" type="pres">
      <dgm:prSet presAssocID="{AEA7BDD1-52D3-4D0B-AB47-C7A3843EA572}" presName="node" presStyleLbl="node1" presStyleIdx="0" presStyleCnt="6">
        <dgm:presLayoutVars>
          <dgm:bulletEnabled val="1"/>
        </dgm:presLayoutVars>
      </dgm:prSet>
      <dgm:spPr/>
    </dgm:pt>
    <dgm:pt modelId="{57DBF1A2-0F5F-4602-B65E-56BF4D882072}" type="pres">
      <dgm:prSet presAssocID="{18140DEB-D559-488E-82A4-A6933BFB949B}" presName="sibTrans" presStyleCnt="0"/>
      <dgm:spPr/>
    </dgm:pt>
    <dgm:pt modelId="{321E2A76-903A-49F9-8AD7-9C8DCAC8DC0F}" type="pres">
      <dgm:prSet presAssocID="{A1009D32-8288-4DDF-A3BB-01E69E5F3A30}" presName="node" presStyleLbl="node1" presStyleIdx="1" presStyleCnt="6">
        <dgm:presLayoutVars>
          <dgm:bulletEnabled val="1"/>
        </dgm:presLayoutVars>
      </dgm:prSet>
      <dgm:spPr/>
    </dgm:pt>
    <dgm:pt modelId="{96FAC505-284B-43E2-A00C-71B8558421ED}" type="pres">
      <dgm:prSet presAssocID="{484BF296-4272-4E8C-8949-4FD069688474}" presName="sibTrans" presStyleCnt="0"/>
      <dgm:spPr/>
    </dgm:pt>
    <dgm:pt modelId="{0EB88D22-9476-489B-94B3-4A9139D99A7E}" type="pres">
      <dgm:prSet presAssocID="{A9AD7C3E-54C6-4B6E-AE63-09FD7DF8E29C}" presName="node" presStyleLbl="node1" presStyleIdx="2" presStyleCnt="6">
        <dgm:presLayoutVars>
          <dgm:bulletEnabled val="1"/>
        </dgm:presLayoutVars>
      </dgm:prSet>
      <dgm:spPr/>
    </dgm:pt>
    <dgm:pt modelId="{4E5CCDCB-7243-458C-BF49-3F4723CAB189}" type="pres">
      <dgm:prSet presAssocID="{E4457E0B-7168-4048-BE4C-9F1D7AE9F4A6}" presName="sibTrans" presStyleCnt="0"/>
      <dgm:spPr/>
    </dgm:pt>
    <dgm:pt modelId="{5B96E3A4-F3F2-45A8-9730-FC402A2A87C8}" type="pres">
      <dgm:prSet presAssocID="{E9CE4648-F54B-46B3-A05D-BF88BEB8CB4B}" presName="node" presStyleLbl="node1" presStyleIdx="3" presStyleCnt="6">
        <dgm:presLayoutVars>
          <dgm:bulletEnabled val="1"/>
        </dgm:presLayoutVars>
      </dgm:prSet>
      <dgm:spPr/>
    </dgm:pt>
    <dgm:pt modelId="{F9A59062-F820-44E3-BA7F-62E38CF66A59}" type="pres">
      <dgm:prSet presAssocID="{D2F36CC4-DC76-4870-97E3-588C9289DFC1}" presName="sibTrans" presStyleCnt="0"/>
      <dgm:spPr/>
    </dgm:pt>
    <dgm:pt modelId="{1E93BFFE-632C-406D-A7EB-B2A7ED8EE135}" type="pres">
      <dgm:prSet presAssocID="{C6668AB2-7831-4CC4-B25A-AA8DA5BD80FF}" presName="node" presStyleLbl="node1" presStyleIdx="4" presStyleCnt="6">
        <dgm:presLayoutVars>
          <dgm:bulletEnabled val="1"/>
        </dgm:presLayoutVars>
      </dgm:prSet>
      <dgm:spPr/>
    </dgm:pt>
    <dgm:pt modelId="{B3426BC5-9A4C-4FAD-91FE-E40507FC9832}" type="pres">
      <dgm:prSet presAssocID="{2B794E89-40B2-4F64-8F86-BC58B6553559}" presName="sibTrans" presStyleCnt="0"/>
      <dgm:spPr/>
    </dgm:pt>
    <dgm:pt modelId="{79D869E6-DB54-4DE4-947C-09BA4B769405}" type="pres">
      <dgm:prSet presAssocID="{4FFDD82C-DDB9-448B-9560-B56EAD97DFCC}" presName="node" presStyleLbl="node1" presStyleIdx="5" presStyleCnt="6">
        <dgm:presLayoutVars>
          <dgm:bulletEnabled val="1"/>
        </dgm:presLayoutVars>
      </dgm:prSet>
      <dgm:spPr/>
    </dgm:pt>
  </dgm:ptLst>
  <dgm:cxnLst>
    <dgm:cxn modelId="{02FA7429-4EE8-4922-8F7B-1C9481B89102}" type="presOf" srcId="{A9AD7C3E-54C6-4B6E-AE63-09FD7DF8E29C}" destId="{0EB88D22-9476-489B-94B3-4A9139D99A7E}" srcOrd="0" destOrd="0" presId="urn:microsoft.com/office/officeart/2005/8/layout/default"/>
    <dgm:cxn modelId="{4454B962-88EF-4957-8682-7938BFE192A2}" type="presOf" srcId="{C6668AB2-7831-4CC4-B25A-AA8DA5BD80FF}" destId="{1E93BFFE-632C-406D-A7EB-B2A7ED8EE135}" srcOrd="0" destOrd="0" presId="urn:microsoft.com/office/officeart/2005/8/layout/default"/>
    <dgm:cxn modelId="{E681BD69-5109-4595-9728-19D1E6759C10}" srcId="{733CDF30-5425-4E0B-BCCF-D8E2CDB3C8D0}" destId="{4FFDD82C-DDB9-448B-9560-B56EAD97DFCC}" srcOrd="5" destOrd="0" parTransId="{3F416D44-96F9-41F2-83EE-A15595491EC4}" sibTransId="{50A90C15-5257-47B8-8F2A-D1707014284D}"/>
    <dgm:cxn modelId="{2473A84E-B0C6-4D86-81F9-480E76414D27}" type="presOf" srcId="{AEA7BDD1-52D3-4D0B-AB47-C7A3843EA572}" destId="{E5DB8780-D17C-47A7-BFE5-A859BFC90A92}" srcOrd="0" destOrd="0" presId="urn:microsoft.com/office/officeart/2005/8/layout/default"/>
    <dgm:cxn modelId="{A97B0F55-5538-430C-8AAE-E9CC97E08EE2}" type="presOf" srcId="{E9CE4648-F54B-46B3-A05D-BF88BEB8CB4B}" destId="{5B96E3A4-F3F2-45A8-9730-FC402A2A87C8}" srcOrd="0" destOrd="0" presId="urn:microsoft.com/office/officeart/2005/8/layout/default"/>
    <dgm:cxn modelId="{EBC80A82-98CA-4B5A-BDAD-A26B13567B0F}" type="presOf" srcId="{733CDF30-5425-4E0B-BCCF-D8E2CDB3C8D0}" destId="{5947C614-F619-4B91-8922-ACF7C0389E08}" srcOrd="0" destOrd="0" presId="urn:microsoft.com/office/officeart/2005/8/layout/default"/>
    <dgm:cxn modelId="{D3FAC19D-DE3F-4ED8-8872-25FFB7595164}" srcId="{733CDF30-5425-4E0B-BCCF-D8E2CDB3C8D0}" destId="{A1009D32-8288-4DDF-A3BB-01E69E5F3A30}" srcOrd="1" destOrd="0" parTransId="{41A9AB67-2922-4CED-B36B-81FAC30D053D}" sibTransId="{484BF296-4272-4E8C-8949-4FD069688474}"/>
    <dgm:cxn modelId="{D763D79F-3B6D-47BF-8ED6-14CB72C59326}" srcId="{733CDF30-5425-4E0B-BCCF-D8E2CDB3C8D0}" destId="{E9CE4648-F54B-46B3-A05D-BF88BEB8CB4B}" srcOrd="3" destOrd="0" parTransId="{C8CA2947-3DDC-4ACC-B55D-75B929425DB4}" sibTransId="{D2F36CC4-DC76-4870-97E3-588C9289DFC1}"/>
    <dgm:cxn modelId="{866725A0-A987-46FA-872B-B2ED57BB16DF}" srcId="{733CDF30-5425-4E0B-BCCF-D8E2CDB3C8D0}" destId="{AEA7BDD1-52D3-4D0B-AB47-C7A3843EA572}" srcOrd="0" destOrd="0" parTransId="{B6AF35AB-42DB-40B4-997C-ECAE2127EB41}" sibTransId="{18140DEB-D559-488E-82A4-A6933BFB949B}"/>
    <dgm:cxn modelId="{74B986A1-B5AF-4CE8-9134-4731FB5A3561}" srcId="{733CDF30-5425-4E0B-BCCF-D8E2CDB3C8D0}" destId="{A9AD7C3E-54C6-4B6E-AE63-09FD7DF8E29C}" srcOrd="2" destOrd="0" parTransId="{E4E8BC7A-F5CD-41C7-8775-5AA6EB2AA62B}" sibTransId="{E4457E0B-7168-4048-BE4C-9F1D7AE9F4A6}"/>
    <dgm:cxn modelId="{CCDC5CCF-7D9F-4CDE-A100-2A98B04F5432}" srcId="{733CDF30-5425-4E0B-BCCF-D8E2CDB3C8D0}" destId="{C6668AB2-7831-4CC4-B25A-AA8DA5BD80FF}" srcOrd="4" destOrd="0" parTransId="{0928A6F2-3B70-4A34-A2C2-A8B155072E10}" sibTransId="{2B794E89-40B2-4F64-8F86-BC58B6553559}"/>
    <dgm:cxn modelId="{FF0700EA-3AB2-4A0B-8B09-1EA2F0F51B93}" type="presOf" srcId="{4FFDD82C-DDB9-448B-9560-B56EAD97DFCC}" destId="{79D869E6-DB54-4DE4-947C-09BA4B769405}" srcOrd="0" destOrd="0" presId="urn:microsoft.com/office/officeart/2005/8/layout/default"/>
    <dgm:cxn modelId="{26658AEC-C8D1-4EBA-B276-FC82B6FE74E9}" type="presOf" srcId="{A1009D32-8288-4DDF-A3BB-01E69E5F3A30}" destId="{321E2A76-903A-49F9-8AD7-9C8DCAC8DC0F}" srcOrd="0" destOrd="0" presId="urn:microsoft.com/office/officeart/2005/8/layout/default"/>
    <dgm:cxn modelId="{29516C90-97D6-4099-9CB2-99DB2F80EF93}" type="presParOf" srcId="{5947C614-F619-4B91-8922-ACF7C0389E08}" destId="{E5DB8780-D17C-47A7-BFE5-A859BFC90A92}" srcOrd="0" destOrd="0" presId="urn:microsoft.com/office/officeart/2005/8/layout/default"/>
    <dgm:cxn modelId="{27AF78BE-2CBE-421F-8EF3-C69D09E5B591}" type="presParOf" srcId="{5947C614-F619-4B91-8922-ACF7C0389E08}" destId="{57DBF1A2-0F5F-4602-B65E-56BF4D882072}" srcOrd="1" destOrd="0" presId="urn:microsoft.com/office/officeart/2005/8/layout/default"/>
    <dgm:cxn modelId="{C2D7302D-AB8F-495C-A1AC-CA5A75E5BBF4}" type="presParOf" srcId="{5947C614-F619-4B91-8922-ACF7C0389E08}" destId="{321E2A76-903A-49F9-8AD7-9C8DCAC8DC0F}" srcOrd="2" destOrd="0" presId="urn:microsoft.com/office/officeart/2005/8/layout/default"/>
    <dgm:cxn modelId="{147F0115-FDB2-4C4F-89CA-3F17DC45D4F4}" type="presParOf" srcId="{5947C614-F619-4B91-8922-ACF7C0389E08}" destId="{96FAC505-284B-43E2-A00C-71B8558421ED}" srcOrd="3" destOrd="0" presId="urn:microsoft.com/office/officeart/2005/8/layout/default"/>
    <dgm:cxn modelId="{4F2E3C60-D5CB-4E17-8280-D259FCD65B44}" type="presParOf" srcId="{5947C614-F619-4B91-8922-ACF7C0389E08}" destId="{0EB88D22-9476-489B-94B3-4A9139D99A7E}" srcOrd="4" destOrd="0" presId="urn:microsoft.com/office/officeart/2005/8/layout/default"/>
    <dgm:cxn modelId="{FEEA356A-BB4C-4852-9E14-B3282975DA7F}" type="presParOf" srcId="{5947C614-F619-4B91-8922-ACF7C0389E08}" destId="{4E5CCDCB-7243-458C-BF49-3F4723CAB189}" srcOrd="5" destOrd="0" presId="urn:microsoft.com/office/officeart/2005/8/layout/default"/>
    <dgm:cxn modelId="{997D2689-C51C-4146-9B63-AEF00546B901}" type="presParOf" srcId="{5947C614-F619-4B91-8922-ACF7C0389E08}" destId="{5B96E3A4-F3F2-45A8-9730-FC402A2A87C8}" srcOrd="6" destOrd="0" presId="urn:microsoft.com/office/officeart/2005/8/layout/default"/>
    <dgm:cxn modelId="{B86727CD-A037-403E-80A8-D3EF29F19E8F}" type="presParOf" srcId="{5947C614-F619-4B91-8922-ACF7C0389E08}" destId="{F9A59062-F820-44E3-BA7F-62E38CF66A59}" srcOrd="7" destOrd="0" presId="urn:microsoft.com/office/officeart/2005/8/layout/default"/>
    <dgm:cxn modelId="{99BE69F3-79FB-4172-9F70-05402D23550B}" type="presParOf" srcId="{5947C614-F619-4B91-8922-ACF7C0389E08}" destId="{1E93BFFE-632C-406D-A7EB-B2A7ED8EE135}" srcOrd="8" destOrd="0" presId="urn:microsoft.com/office/officeart/2005/8/layout/default"/>
    <dgm:cxn modelId="{92FC60D5-8073-41B4-ACF2-F4213E7D4C64}" type="presParOf" srcId="{5947C614-F619-4B91-8922-ACF7C0389E08}" destId="{B3426BC5-9A4C-4FAD-91FE-E40507FC9832}" srcOrd="9" destOrd="0" presId="urn:microsoft.com/office/officeart/2005/8/layout/default"/>
    <dgm:cxn modelId="{B5B36636-A506-4629-AB17-EF287031A12F}" type="presParOf" srcId="{5947C614-F619-4B91-8922-ACF7C0389E08}" destId="{79D869E6-DB54-4DE4-947C-09BA4B76940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Power BI can foster a data-driven culture</a:t>
          </a:r>
          <a:endParaRPr lang="en-US" sz="24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US" sz="2400" kern="1200"/>
            <a:t>Opportunity</a:t>
          </a:r>
        </a:p>
      </dsp:txBody>
      <dsp:txXfrm>
        <a:off x="0" y="1405"/>
        <a:ext cx="1963618" cy="1440619"/>
      </dsp:txXfrm>
    </dsp:sp>
    <dsp:sp modelId="{DF963225-B69D-4A74-A4C8-54F6919AC7F8}">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Self-Service BI adoption can be challenging</a:t>
          </a:r>
          <a:endParaRPr lang="en-GB" sz="2400" kern="1200">
            <a:solidFill>
              <a:schemeClr val="bg2"/>
            </a:solidFill>
          </a:endParaRPr>
        </a:p>
      </dsp:txBody>
      <dsp:txXfrm>
        <a:off x="1963618" y="1528462"/>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b="0" i="0" u="none" kern="1200">
              <a:solidFill>
                <a:schemeClr val="bg2"/>
              </a:solidFill>
            </a:rPr>
            <a:t>Challenge</a:t>
          </a:r>
          <a:endParaRPr lang="en-GB" sz="2400" kern="1200">
            <a:solidFill>
              <a:schemeClr val="bg2"/>
            </a:solidFill>
          </a:endParaRPr>
        </a:p>
      </dsp:txBody>
      <dsp:txXfrm>
        <a:off x="0" y="1528462"/>
        <a:ext cx="1963618" cy="1440619"/>
      </dsp:txXfrm>
    </dsp:sp>
    <dsp:sp modelId="{42C6F561-9A42-4F35-A953-44EBD3F69FDE}">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Framework that acts as a wrapper around Power BI to drive a Data Driven Culture</a:t>
          </a:r>
          <a:endParaRPr lang="en-GB" sz="2400" kern="1200">
            <a:solidFill>
              <a:schemeClr val="tx2"/>
            </a:solidFill>
          </a:endParaRPr>
        </a:p>
      </dsp:txBody>
      <dsp:txXfrm>
        <a:off x="1963618" y="3055519"/>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Proposal</a:t>
          </a:r>
        </a:p>
      </dsp:txBody>
      <dsp:txXfrm>
        <a:off x="0" y="3055519"/>
        <a:ext cx="1963618" cy="14406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960692-88E2-4F1E-8B0D-E3245F812F19}">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642A3F-CD30-4862-9676-1B5A1DE169E6}">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6E92-FF1B-4AB0-B443-65D128C9DCE1}">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Feasible and impactful</a:t>
          </a:r>
          <a:endParaRPr lang="en-GB" sz="2800" kern="1200">
            <a:solidFill>
              <a:schemeClr val="tx2"/>
            </a:solidFill>
          </a:endParaRPr>
        </a:p>
      </dsp:txBody>
      <dsp:txXfrm>
        <a:off x="411449" y="441643"/>
        <a:ext cx="4899986" cy="1567995"/>
      </dsp:txXfrm>
    </dsp:sp>
    <dsp:sp modelId="{EFBCECC8-CA55-4092-A1A4-48009678FB80}">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F042FE-5A8E-4D45-8938-06486985E68B}">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4CD67E7-208D-46C4-AF0E-E35A6F865705}">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Permission/approvals</a:t>
          </a:r>
        </a:p>
      </dsp:txBody>
      <dsp:txXfrm>
        <a:off x="6340433" y="441643"/>
        <a:ext cx="4899986" cy="156799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634C02-4855-4AD1-AAD1-1EA3418B8F0E}">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FDE28F-AC5D-4145-AA52-F41BF12E4EFA}">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D3068B-D09B-4BE0-A02D-392F4ED9D523}">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Non-sensitive data</a:t>
          </a:r>
        </a:p>
      </dsp:txBody>
      <dsp:txXfrm>
        <a:off x="411449" y="441643"/>
        <a:ext cx="4899986" cy="1567995"/>
      </dsp:txXfrm>
    </dsp:sp>
    <dsp:sp modelId="{4364D7B0-DF44-4ED5-9346-488877CA773E}">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209DBE-9E58-4C16-AF70-D35331A374CB}">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5FE2AA-9340-4FF3-BB8B-A844B89298FD}">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Business shadowing</a:t>
          </a:r>
          <a:endParaRPr lang="en-GB" sz="2800" kern="1200">
            <a:solidFill>
              <a:schemeClr val="tx2"/>
            </a:solidFill>
          </a:endParaRPr>
        </a:p>
      </dsp:txBody>
      <dsp:txXfrm>
        <a:off x="6340433" y="441643"/>
        <a:ext cx="4899986" cy="156799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960692-88E2-4F1E-8B0D-E3245F812F19}">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642A3F-CD30-4862-9676-1B5A1DE169E6}">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6E92-FF1B-4AB0-B443-65D128C9DCE1}">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baseline="0">
              <a:solidFill>
                <a:schemeClr val="tx2"/>
              </a:solidFill>
            </a:rPr>
            <a:t>Involve IT, Business &amp; Security</a:t>
          </a:r>
          <a:endParaRPr lang="en-GB" sz="2800" kern="1200">
            <a:solidFill>
              <a:schemeClr val="tx2"/>
            </a:solidFill>
          </a:endParaRPr>
        </a:p>
      </dsp:txBody>
      <dsp:txXfrm>
        <a:off x="411449" y="441643"/>
        <a:ext cx="4899986" cy="1567995"/>
      </dsp:txXfrm>
    </dsp:sp>
    <dsp:sp modelId="{8081E4B8-1EEE-4DE6-AC6D-9833C48E8249}">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DDBD0A-721F-41A3-9E5C-F9636709EBD3}">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DACB5A-7A81-4FF7-A070-354FA6DD0E6F}">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Leverage existing relationships</a:t>
          </a:r>
        </a:p>
      </dsp:txBody>
      <dsp:txXfrm>
        <a:off x="6340433" y="441643"/>
        <a:ext cx="4899986" cy="156799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BDE07B-7138-4809-91D7-B2EE84BE9312}">
      <dsp:nvSpPr>
        <dsp:cNvPr id="0" name=""/>
        <dsp:cNvSpPr/>
      </dsp:nvSpPr>
      <dsp:spPr>
        <a:xfrm>
          <a:off x="1636446"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B642E5-FDBC-4A7F-8826-BE1C0AE0E379}">
      <dsp:nvSpPr>
        <dsp:cNvPr id="0" name=""/>
        <dsp:cNvSpPr/>
      </dsp:nvSpPr>
      <dsp:spPr>
        <a:xfrm>
          <a:off x="1636446"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9129E4-DC45-4D15-AA12-27E376B7EAB8}">
      <dsp:nvSpPr>
        <dsp:cNvPr id="0" name=""/>
        <dsp:cNvSpPr/>
      </dsp:nvSpPr>
      <dsp:spPr>
        <a:xfrm>
          <a:off x="411449"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Propose options &amp; recommend</a:t>
          </a:r>
        </a:p>
      </dsp:txBody>
      <dsp:txXfrm>
        <a:off x="411449" y="441643"/>
        <a:ext cx="4899986" cy="1567995"/>
      </dsp:txXfrm>
    </dsp:sp>
    <dsp:sp modelId="{100E1FC2-D2D6-4E81-AFB2-6BD82CA202B7}">
      <dsp:nvSpPr>
        <dsp:cNvPr id="0" name=""/>
        <dsp:cNvSpPr/>
      </dsp:nvSpPr>
      <dsp:spPr>
        <a:xfrm>
          <a:off x="7565430" y="644"/>
          <a:ext cx="2449993" cy="2449993"/>
        </a:xfrm>
        <a:prstGeom prst="arc">
          <a:avLst>
            <a:gd name="adj1" fmla="val 13200000"/>
            <a:gd name="adj2" fmla="val 192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FF2323-7D7A-4C0D-B719-41A49B6F3C4E}">
      <dsp:nvSpPr>
        <dsp:cNvPr id="0" name=""/>
        <dsp:cNvSpPr/>
      </dsp:nvSpPr>
      <dsp:spPr>
        <a:xfrm>
          <a:off x="7565430" y="644"/>
          <a:ext cx="2449993" cy="2449993"/>
        </a:xfrm>
        <a:prstGeom prst="arc">
          <a:avLst>
            <a:gd name="adj1" fmla="val 2400000"/>
            <a:gd name="adj2" fmla="val 8400000"/>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BC1007-3C93-4E64-AE77-0DB155200ED4}">
      <dsp:nvSpPr>
        <dsp:cNvPr id="0" name=""/>
        <dsp:cNvSpPr/>
      </dsp:nvSpPr>
      <dsp:spPr>
        <a:xfrm>
          <a:off x="6340433" y="441643"/>
          <a:ext cx="4899986" cy="156799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rtl="0">
            <a:lnSpc>
              <a:spcPct val="90000"/>
            </a:lnSpc>
            <a:spcBef>
              <a:spcPct val="0"/>
            </a:spcBef>
            <a:spcAft>
              <a:spcPct val="35000"/>
            </a:spcAft>
            <a:buNone/>
          </a:pPr>
          <a:r>
            <a:rPr lang="en-GB" sz="2800" kern="1200">
              <a:solidFill>
                <a:schemeClr val="tx2"/>
              </a:solidFill>
            </a:rPr>
            <a:t>Environment &amp; culture</a:t>
          </a:r>
        </a:p>
      </dsp:txBody>
      <dsp:txXfrm>
        <a:off x="6340433" y="441643"/>
        <a:ext cx="4899986" cy="156799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1323C-45AD-40FD-93EE-BF050C387DDB}">
      <dsp:nvSpPr>
        <dsp:cNvPr id="0" name=""/>
        <dsp:cNvSpPr/>
      </dsp:nvSpPr>
      <dsp:spPr>
        <a:xfrm>
          <a:off x="1286210" y="919599"/>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2083E3-90ED-4570-A2F5-8BFA526453E4}">
      <dsp:nvSpPr>
        <dsp:cNvPr id="0" name=""/>
        <dsp:cNvSpPr/>
      </dsp:nvSpPr>
      <dsp:spPr>
        <a:xfrm>
          <a:off x="559800" y="247472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GB" sz="3600" kern="1200"/>
            <a:t>Centrally Funded</a:t>
          </a:r>
          <a:endParaRPr lang="en-US" sz="3600" kern="1200"/>
        </a:p>
      </dsp:txBody>
      <dsp:txXfrm>
        <a:off x="559800" y="2474724"/>
        <a:ext cx="4320000" cy="648000"/>
      </dsp:txXfrm>
    </dsp:sp>
    <dsp:sp modelId="{B01729F6-1759-407A-8032-00613FB16AC1}">
      <dsp:nvSpPr>
        <dsp:cNvPr id="0" name=""/>
        <dsp:cNvSpPr/>
      </dsp:nvSpPr>
      <dsp:spPr>
        <a:xfrm>
          <a:off x="559800" y="3175807"/>
          <a:ext cx="4320000" cy="326934"/>
        </a:xfrm>
        <a:prstGeom prst="rect">
          <a:avLst/>
        </a:prstGeom>
        <a:noFill/>
        <a:ln>
          <a:noFill/>
        </a:ln>
        <a:effectLst/>
      </dsp:spPr>
      <dsp:style>
        <a:lnRef idx="0">
          <a:scrgbClr r="0" g="0" b="0"/>
        </a:lnRef>
        <a:fillRef idx="0">
          <a:scrgbClr r="0" g="0" b="0"/>
        </a:fillRef>
        <a:effectRef idx="0">
          <a:scrgbClr r="0" g="0" b="0"/>
        </a:effectRef>
        <a:fontRef idx="minor"/>
      </dsp:style>
    </dsp:sp>
    <dsp:sp modelId="{B13B3AF4-A71A-410C-8391-BE7869ED3FDA}">
      <dsp:nvSpPr>
        <dsp:cNvPr id="0" name=""/>
        <dsp:cNvSpPr/>
      </dsp:nvSpPr>
      <dsp:spPr>
        <a:xfrm>
          <a:off x="6551981" y="880151"/>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9A9805-FE37-4829-8C54-2BC43D2669A6}">
      <dsp:nvSpPr>
        <dsp:cNvPr id="0" name=""/>
        <dsp:cNvSpPr/>
      </dsp:nvSpPr>
      <dsp:spPr>
        <a:xfrm>
          <a:off x="5635800" y="247472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GB" sz="3600" kern="1200"/>
            <a:t>Business Funded</a:t>
          </a:r>
          <a:endParaRPr lang="en-US" sz="3600" kern="1200"/>
        </a:p>
      </dsp:txBody>
      <dsp:txXfrm>
        <a:off x="5635800" y="2474724"/>
        <a:ext cx="4320000" cy="648000"/>
      </dsp:txXfrm>
    </dsp:sp>
    <dsp:sp modelId="{E27261A6-B131-4200-968B-527C91F1837C}">
      <dsp:nvSpPr>
        <dsp:cNvPr id="0" name=""/>
        <dsp:cNvSpPr/>
      </dsp:nvSpPr>
      <dsp:spPr>
        <a:xfrm>
          <a:off x="5635800" y="3175807"/>
          <a:ext cx="4320000" cy="326934"/>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Obtaining executive sponsorship and communicating it</a:t>
          </a:r>
          <a:endParaRPr lang="en-GB" sz="2400" kern="1200"/>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Sponsorship</a:t>
          </a:r>
          <a:endParaRPr lang="en-US" sz="2400" kern="1200"/>
        </a:p>
      </dsp:txBody>
      <dsp:txXfrm>
        <a:off x="0" y="1405"/>
        <a:ext cx="1963618" cy="1440619"/>
      </dsp:txXfrm>
    </dsp:sp>
    <dsp:sp modelId="{2114C062-4588-40FE-96A8-5F5F1E9EA85C}">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Aligning program goals to corporate goals</a:t>
          </a:r>
          <a:endParaRPr lang="en-GB" sz="2400" kern="1200"/>
        </a:p>
      </dsp:txBody>
      <dsp:txXfrm>
        <a:off x="1963618" y="1528462"/>
        <a:ext cx="7854474" cy="1440619"/>
      </dsp:txXfrm>
    </dsp:sp>
    <dsp:sp modelId="{16443801-5F57-4607-8761-13ED407B51E9}">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Goals</a:t>
          </a:r>
          <a:endParaRPr lang="en-GB" sz="2400" kern="1200"/>
        </a:p>
      </dsp:txBody>
      <dsp:txXfrm>
        <a:off x="0" y="1528462"/>
        <a:ext cx="1963618" cy="1440619"/>
      </dsp:txXfrm>
    </dsp:sp>
    <dsp:sp modelId="{5E408A61-7D69-4156-A89B-5845F220B35C}">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t>Planning strategy and execution, and measuring the program</a:t>
          </a:r>
          <a:endParaRPr lang="en-GB" sz="2400" kern="1200"/>
        </a:p>
      </dsp:txBody>
      <dsp:txXfrm>
        <a:off x="1963618" y="3055519"/>
        <a:ext cx="7854474" cy="1440619"/>
      </dsp:txXfrm>
    </dsp:sp>
    <dsp:sp modelId="{59E90048-F00B-4299-A3BE-EA32C92CD91A}">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baseline="0"/>
            <a:t>Planning</a:t>
          </a:r>
          <a:endParaRPr lang="en-GB" sz="2400" kern="1200"/>
        </a:p>
      </dsp:txBody>
      <dsp:txXfrm>
        <a:off x="0" y="3055519"/>
        <a:ext cx="1963618" cy="144061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A2EDE-993A-4893-826D-AF4E7107BFF0}">
      <dsp:nvSpPr>
        <dsp:cNvPr id="0" name=""/>
        <dsp:cNvSpPr/>
      </dsp:nvSpPr>
      <dsp:spPr>
        <a:xfrm>
          <a:off x="2928420" y="4397189"/>
          <a:ext cx="585055" cy="1257868"/>
        </a:xfrm>
        <a:custGeom>
          <a:avLst/>
          <a:gdLst/>
          <a:ahLst/>
          <a:cxnLst/>
          <a:rect l="0" t="0" r="0" b="0"/>
          <a:pathLst>
            <a:path>
              <a:moveTo>
                <a:pt x="0" y="0"/>
              </a:moveTo>
              <a:lnTo>
                <a:pt x="292527" y="0"/>
              </a:lnTo>
              <a:lnTo>
                <a:pt x="292527" y="1257868"/>
              </a:lnTo>
              <a:lnTo>
                <a:pt x="585055" y="1257868"/>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03AE5D-C23A-46B8-B964-A46B90DA0053}">
      <dsp:nvSpPr>
        <dsp:cNvPr id="0" name=""/>
        <dsp:cNvSpPr/>
      </dsp:nvSpPr>
      <dsp:spPr>
        <a:xfrm>
          <a:off x="2928420" y="4351469"/>
          <a:ext cx="585055" cy="91440"/>
        </a:xfrm>
        <a:custGeom>
          <a:avLst/>
          <a:gdLst/>
          <a:ahLst/>
          <a:cxnLst/>
          <a:rect l="0" t="0" r="0" b="0"/>
          <a:pathLst>
            <a:path>
              <a:moveTo>
                <a:pt x="0" y="45720"/>
              </a:moveTo>
              <a:lnTo>
                <a:pt x="585055"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CAB2FC-CDD3-4A35-A221-9A549B4B8A33}">
      <dsp:nvSpPr>
        <dsp:cNvPr id="0" name=""/>
        <dsp:cNvSpPr/>
      </dsp:nvSpPr>
      <dsp:spPr>
        <a:xfrm>
          <a:off x="2928420" y="3139320"/>
          <a:ext cx="585055" cy="1257868"/>
        </a:xfrm>
        <a:custGeom>
          <a:avLst/>
          <a:gdLst/>
          <a:ahLst/>
          <a:cxnLst/>
          <a:rect l="0" t="0" r="0" b="0"/>
          <a:pathLst>
            <a:path>
              <a:moveTo>
                <a:pt x="0" y="1257868"/>
              </a:moveTo>
              <a:lnTo>
                <a:pt x="292527" y="1257868"/>
              </a:lnTo>
              <a:lnTo>
                <a:pt x="292527" y="0"/>
              </a:lnTo>
              <a:lnTo>
                <a:pt x="585055"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1FCC22-A997-4163-86D1-18CF96D2C847}">
      <dsp:nvSpPr>
        <dsp:cNvPr id="0" name=""/>
        <dsp:cNvSpPr/>
      </dsp:nvSpPr>
      <dsp:spPr>
        <a:xfrm>
          <a:off x="2928420" y="1252518"/>
          <a:ext cx="585055" cy="628934"/>
        </a:xfrm>
        <a:custGeom>
          <a:avLst/>
          <a:gdLst/>
          <a:ahLst/>
          <a:cxnLst/>
          <a:rect l="0" t="0" r="0" b="0"/>
          <a:pathLst>
            <a:path>
              <a:moveTo>
                <a:pt x="0" y="0"/>
              </a:moveTo>
              <a:lnTo>
                <a:pt x="292527" y="0"/>
              </a:lnTo>
              <a:lnTo>
                <a:pt x="292527" y="628934"/>
              </a:lnTo>
              <a:lnTo>
                <a:pt x="585055" y="628934"/>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3BB0EA-F195-438F-8A00-24E5C8226EA3}">
      <dsp:nvSpPr>
        <dsp:cNvPr id="0" name=""/>
        <dsp:cNvSpPr/>
      </dsp:nvSpPr>
      <dsp:spPr>
        <a:xfrm>
          <a:off x="2928420" y="623584"/>
          <a:ext cx="585055" cy="628934"/>
        </a:xfrm>
        <a:custGeom>
          <a:avLst/>
          <a:gdLst/>
          <a:ahLst/>
          <a:cxnLst/>
          <a:rect l="0" t="0" r="0" b="0"/>
          <a:pathLst>
            <a:path>
              <a:moveTo>
                <a:pt x="0" y="628934"/>
              </a:moveTo>
              <a:lnTo>
                <a:pt x="292527" y="628934"/>
              </a:lnTo>
              <a:lnTo>
                <a:pt x="292527" y="0"/>
              </a:lnTo>
              <a:lnTo>
                <a:pt x="585055"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B685FD-79F8-49D8-B895-E2380080227F}">
      <dsp:nvSpPr>
        <dsp:cNvPr id="0" name=""/>
        <dsp:cNvSpPr/>
      </dsp:nvSpPr>
      <dsp:spPr>
        <a:xfrm>
          <a:off x="3145" y="806414"/>
          <a:ext cx="2925275" cy="892208"/>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Plan ahead for self-service BI success</a:t>
          </a:r>
          <a:endParaRPr lang="en-GB" sz="2200" kern="1200">
            <a:solidFill>
              <a:schemeClr val="tx1"/>
            </a:solidFill>
          </a:endParaRPr>
        </a:p>
      </dsp:txBody>
      <dsp:txXfrm>
        <a:off x="3145" y="806414"/>
        <a:ext cx="2925275" cy="892208"/>
      </dsp:txXfrm>
    </dsp:sp>
    <dsp:sp modelId="{83A068E7-16B4-4313-9BD7-86F2CC6ED717}">
      <dsp:nvSpPr>
        <dsp:cNvPr id="0" name=""/>
        <dsp:cNvSpPr/>
      </dsp:nvSpPr>
      <dsp:spPr>
        <a:xfrm>
          <a:off x="3513475" y="177480"/>
          <a:ext cx="2925275" cy="892208"/>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Avoid uncontrolled proliferation of BI apps</a:t>
          </a:r>
          <a:endParaRPr lang="en-GB" sz="2200" kern="1200">
            <a:solidFill>
              <a:schemeClr val="tx1"/>
            </a:solidFill>
          </a:endParaRPr>
        </a:p>
      </dsp:txBody>
      <dsp:txXfrm>
        <a:off x="3513475" y="177480"/>
        <a:ext cx="2925275" cy="892208"/>
      </dsp:txXfrm>
    </dsp:sp>
    <dsp:sp modelId="{808B666D-E5F6-46A6-9724-A881F7C0FFFF}">
      <dsp:nvSpPr>
        <dsp:cNvPr id="0" name=""/>
        <dsp:cNvSpPr/>
      </dsp:nvSpPr>
      <dsp:spPr>
        <a:xfrm>
          <a:off x="3513475" y="1435348"/>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Implement processes</a:t>
          </a:r>
          <a:endParaRPr lang="en-GB" sz="2200" kern="1200">
            <a:solidFill>
              <a:schemeClr val="tx1"/>
            </a:solidFill>
          </a:endParaRPr>
        </a:p>
      </dsp:txBody>
      <dsp:txXfrm>
        <a:off x="3513475" y="1435348"/>
        <a:ext cx="2925275" cy="892208"/>
      </dsp:txXfrm>
    </dsp:sp>
    <dsp:sp modelId="{16BDD1B1-6573-49A9-B5D7-5900380DA9FE}">
      <dsp:nvSpPr>
        <dsp:cNvPr id="0" name=""/>
        <dsp:cNvSpPr/>
      </dsp:nvSpPr>
      <dsp:spPr>
        <a:xfrm>
          <a:off x="3145" y="3951084"/>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Proper governance processes </a:t>
          </a:r>
          <a:endParaRPr lang="en-GB" sz="2200" kern="1200">
            <a:solidFill>
              <a:schemeClr val="tx1"/>
            </a:solidFill>
          </a:endParaRPr>
        </a:p>
      </dsp:txBody>
      <dsp:txXfrm>
        <a:off x="3145" y="3951084"/>
        <a:ext cx="2925275" cy="892208"/>
      </dsp:txXfrm>
    </dsp:sp>
    <dsp:sp modelId="{1EADD7DE-598F-474D-8DE1-B38E166EFCE4}">
      <dsp:nvSpPr>
        <dsp:cNvPr id="0" name=""/>
        <dsp:cNvSpPr/>
      </dsp:nvSpPr>
      <dsp:spPr>
        <a:xfrm>
          <a:off x="3513475" y="2693216"/>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Drive Decisions</a:t>
          </a:r>
          <a:endParaRPr lang="en-GB" sz="2200" kern="1200">
            <a:solidFill>
              <a:schemeClr val="tx1"/>
            </a:solidFill>
          </a:endParaRPr>
        </a:p>
      </dsp:txBody>
      <dsp:txXfrm>
        <a:off x="3513475" y="2693216"/>
        <a:ext cx="2925275" cy="892208"/>
      </dsp:txXfrm>
    </dsp:sp>
    <dsp:sp modelId="{0340B2DA-10AB-4A2C-B5B3-1D09FB4689EE}">
      <dsp:nvSpPr>
        <dsp:cNvPr id="0" name=""/>
        <dsp:cNvSpPr/>
      </dsp:nvSpPr>
      <dsp:spPr>
        <a:xfrm>
          <a:off x="3513475" y="3951084"/>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Reduce Risks</a:t>
          </a:r>
          <a:endParaRPr lang="en-GB" sz="2200" kern="1200">
            <a:solidFill>
              <a:schemeClr val="tx1"/>
            </a:solidFill>
          </a:endParaRPr>
        </a:p>
      </dsp:txBody>
      <dsp:txXfrm>
        <a:off x="3513475" y="3951084"/>
        <a:ext cx="2925275" cy="892208"/>
      </dsp:txXfrm>
    </dsp:sp>
    <dsp:sp modelId="{74BE0ADB-6336-415F-9DCE-A816E2F16C27}">
      <dsp:nvSpPr>
        <dsp:cNvPr id="0" name=""/>
        <dsp:cNvSpPr/>
      </dsp:nvSpPr>
      <dsp:spPr>
        <a:xfrm>
          <a:off x="3513475" y="5208953"/>
          <a:ext cx="2925275" cy="892208"/>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solidFill>
                <a:schemeClr val="tx1"/>
              </a:solidFill>
            </a:rPr>
            <a:t>Increase user adoption</a:t>
          </a:r>
          <a:endParaRPr lang="en-GB" sz="2200" kern="1200">
            <a:solidFill>
              <a:schemeClr val="tx1"/>
            </a:solidFill>
          </a:endParaRPr>
        </a:p>
      </dsp:txBody>
      <dsp:txXfrm>
        <a:off x="3513475" y="5208953"/>
        <a:ext cx="2925275" cy="89220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8980E8-6B95-4F97-867B-3D500730670E}">
      <dsp:nvSpPr>
        <dsp:cNvPr id="0" name=""/>
        <dsp:cNvSpPr/>
      </dsp:nvSpPr>
      <dsp:spPr>
        <a:xfrm>
          <a:off x="1886134" y="1532712"/>
          <a:ext cx="2104861" cy="1792216"/>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GB" sz="3800" kern="1200"/>
            <a:t>Power BI</a:t>
          </a:r>
          <a:endParaRPr lang="en-US" sz="3800" kern="1200"/>
        </a:p>
      </dsp:txBody>
      <dsp:txXfrm>
        <a:off x="2194384" y="1795176"/>
        <a:ext cx="1488361" cy="1267288"/>
      </dsp:txXfrm>
    </dsp:sp>
    <dsp:sp modelId="{25EC0CBC-AEB8-48BC-8912-E438DB6B94FD}">
      <dsp:nvSpPr>
        <dsp:cNvPr id="0" name=""/>
        <dsp:cNvSpPr/>
      </dsp:nvSpPr>
      <dsp:spPr>
        <a:xfrm>
          <a:off x="2124642" y="372725"/>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Machine Learning</a:t>
          </a:r>
          <a:endParaRPr lang="en-US" sz="1500" kern="1200"/>
        </a:p>
      </dsp:txBody>
      <dsp:txXfrm>
        <a:off x="2363034" y="566939"/>
        <a:ext cx="1151060" cy="937750"/>
      </dsp:txXfrm>
    </dsp:sp>
    <dsp:sp modelId="{4FE94B90-8E7E-473A-8096-192EEA081E9A}">
      <dsp:nvSpPr>
        <dsp:cNvPr id="0" name=""/>
        <dsp:cNvSpPr/>
      </dsp:nvSpPr>
      <dsp:spPr>
        <a:xfrm>
          <a:off x="3690380" y="1277537"/>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Big Data Analytics</a:t>
          </a:r>
          <a:endParaRPr lang="en-US" sz="1500" kern="1200"/>
        </a:p>
      </dsp:txBody>
      <dsp:txXfrm>
        <a:off x="3928772" y="1471751"/>
        <a:ext cx="1151060" cy="937750"/>
      </dsp:txXfrm>
    </dsp:sp>
    <dsp:sp modelId="{C0536A2B-DBCF-458C-9A36-2F54E664766A}">
      <dsp:nvSpPr>
        <dsp:cNvPr id="0" name=""/>
        <dsp:cNvSpPr/>
      </dsp:nvSpPr>
      <dsp:spPr>
        <a:xfrm>
          <a:off x="3070213" y="2941590"/>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Visualisation</a:t>
          </a:r>
          <a:endParaRPr lang="en-US" sz="1500" kern="1200"/>
        </a:p>
      </dsp:txBody>
      <dsp:txXfrm>
        <a:off x="3308605" y="3135804"/>
        <a:ext cx="1151060" cy="937750"/>
      </dsp:txXfrm>
    </dsp:sp>
    <dsp:sp modelId="{DF0EA2C6-9D37-42FE-B1C3-53C1B573078D}">
      <dsp:nvSpPr>
        <dsp:cNvPr id="0" name=""/>
        <dsp:cNvSpPr/>
      </dsp:nvSpPr>
      <dsp:spPr>
        <a:xfrm>
          <a:off x="1179072" y="2941590"/>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Operational Reporting</a:t>
          </a:r>
          <a:endParaRPr lang="en-US" sz="1500" kern="1200"/>
        </a:p>
      </dsp:txBody>
      <dsp:txXfrm>
        <a:off x="1417464" y="3135804"/>
        <a:ext cx="1151060" cy="937750"/>
      </dsp:txXfrm>
    </dsp:sp>
    <dsp:sp modelId="{F82D3312-316D-46F0-ADEA-9650AFB59293}">
      <dsp:nvSpPr>
        <dsp:cNvPr id="0" name=""/>
        <dsp:cNvSpPr/>
      </dsp:nvSpPr>
      <dsp:spPr>
        <a:xfrm>
          <a:off x="567282" y="1143006"/>
          <a:ext cx="1627844" cy="1326178"/>
        </a:xfrm>
        <a:prstGeom prst="ellipse">
          <a:avLst/>
        </a:prstGeom>
        <a:solidFill>
          <a:schemeClr val="accent1">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GB" sz="1500" kern="1200"/>
            <a:t>Ad hoc Reporting</a:t>
          </a:r>
          <a:endParaRPr lang="en-US" sz="1500" kern="1200"/>
        </a:p>
      </dsp:txBody>
      <dsp:txXfrm>
        <a:off x="805674" y="1337220"/>
        <a:ext cx="1151060" cy="93775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67FF9-97BE-4898-BB09-4698EAFFAE64}">
      <dsp:nvSpPr>
        <dsp:cNvPr id="0" name=""/>
        <dsp:cNvSpPr/>
      </dsp:nvSpPr>
      <dsp:spPr>
        <a:xfrm>
          <a:off x="317699"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615D12-DB38-448D-A179-9A1ECE394CFC}">
      <dsp:nvSpPr>
        <dsp:cNvPr id="0" name=""/>
        <dsp:cNvSpPr/>
      </dsp:nvSpPr>
      <dsp:spPr>
        <a:xfrm>
          <a:off x="527704" y="331914"/>
          <a:ext cx="565400" cy="5654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357E8E-6063-4DEC-A786-E5D238ADEFEB}">
      <dsp:nvSpPr>
        <dsp:cNvPr id="0" name=""/>
        <dsp:cNvSpPr/>
      </dsp:nvSpPr>
      <dsp:spPr>
        <a:xfrm>
          <a:off x="269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The Team</a:t>
          </a:r>
          <a:endParaRPr lang="en-US" sz="1100" kern="1200"/>
        </a:p>
      </dsp:txBody>
      <dsp:txXfrm>
        <a:off x="2690" y="1414252"/>
        <a:ext cx="1615429" cy="646171"/>
      </dsp:txXfrm>
    </dsp:sp>
    <dsp:sp modelId="{D4A631C9-9C15-4D39-9814-3109ED621C87}">
      <dsp:nvSpPr>
        <dsp:cNvPr id="0" name=""/>
        <dsp:cNvSpPr/>
      </dsp:nvSpPr>
      <dsp:spPr>
        <a:xfrm>
          <a:off x="2215829"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2BE457-D353-4FFF-8AD2-8BF9D55C67D0}">
      <dsp:nvSpPr>
        <dsp:cNvPr id="0" name=""/>
        <dsp:cNvSpPr/>
      </dsp:nvSpPr>
      <dsp:spPr>
        <a:xfrm>
          <a:off x="2425834" y="331914"/>
          <a:ext cx="565400" cy="5654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47E1716-EB0B-4931-AED2-1DD48F9A99E4}">
      <dsp:nvSpPr>
        <dsp:cNvPr id="0" name=""/>
        <dsp:cNvSpPr/>
      </dsp:nvSpPr>
      <dsp:spPr>
        <a:xfrm>
          <a:off x="190082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nitial Strategy, partnerships</a:t>
          </a:r>
          <a:endParaRPr lang="en-US" sz="1100" kern="1200"/>
        </a:p>
      </dsp:txBody>
      <dsp:txXfrm>
        <a:off x="1900820" y="1414252"/>
        <a:ext cx="1615429" cy="646171"/>
      </dsp:txXfrm>
    </dsp:sp>
    <dsp:sp modelId="{50D1FF38-0114-4DE5-8C48-52F9073EFF2A}">
      <dsp:nvSpPr>
        <dsp:cNvPr id="0" name=""/>
        <dsp:cNvSpPr/>
      </dsp:nvSpPr>
      <dsp:spPr>
        <a:xfrm>
          <a:off x="4113958"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D2460-AD66-40E9-B4CD-4B6058CBB77B}">
      <dsp:nvSpPr>
        <dsp:cNvPr id="0" name=""/>
        <dsp:cNvSpPr/>
      </dsp:nvSpPr>
      <dsp:spPr>
        <a:xfrm>
          <a:off x="4323964" y="331914"/>
          <a:ext cx="565400" cy="5654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558585-EEDB-4AAA-83FC-B0E19803EBF7}">
      <dsp:nvSpPr>
        <dsp:cNvPr id="0" name=""/>
        <dsp:cNvSpPr/>
      </dsp:nvSpPr>
      <dsp:spPr>
        <a:xfrm>
          <a:off x="3798950"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nitial Setup</a:t>
          </a:r>
          <a:endParaRPr lang="en-US" sz="1100" kern="1200"/>
        </a:p>
      </dsp:txBody>
      <dsp:txXfrm>
        <a:off x="3798950" y="1414252"/>
        <a:ext cx="1615429" cy="646171"/>
      </dsp:txXfrm>
    </dsp:sp>
    <dsp:sp modelId="{2241E776-EF51-485D-A54B-BD8DFE4BB441}">
      <dsp:nvSpPr>
        <dsp:cNvPr id="0" name=""/>
        <dsp:cNvSpPr/>
      </dsp:nvSpPr>
      <dsp:spPr>
        <a:xfrm>
          <a:off x="6012088" y="121908"/>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733EA8-E812-481F-AA5A-87D2EA791950}">
      <dsp:nvSpPr>
        <dsp:cNvPr id="0" name=""/>
        <dsp:cNvSpPr/>
      </dsp:nvSpPr>
      <dsp:spPr>
        <a:xfrm>
          <a:off x="6222094" y="331914"/>
          <a:ext cx="565400" cy="5654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F810AC-4359-4160-8564-076A829D6FDD}">
      <dsp:nvSpPr>
        <dsp:cNvPr id="0" name=""/>
        <dsp:cNvSpPr/>
      </dsp:nvSpPr>
      <dsp:spPr>
        <a:xfrm>
          <a:off x="5697079" y="1414252"/>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guidance, best practice, governance</a:t>
          </a:r>
          <a:endParaRPr lang="en-US" sz="1100" kern="1200"/>
        </a:p>
      </dsp:txBody>
      <dsp:txXfrm>
        <a:off x="5697079" y="1414252"/>
        <a:ext cx="1615429" cy="646171"/>
      </dsp:txXfrm>
    </dsp:sp>
    <dsp:sp modelId="{0897814F-7661-445D-8848-BADA1C853A8F}">
      <dsp:nvSpPr>
        <dsp:cNvPr id="0" name=""/>
        <dsp:cNvSpPr/>
      </dsp:nvSpPr>
      <dsp:spPr>
        <a:xfrm>
          <a:off x="1266764"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B6846D-C5E9-44AD-9206-AD5EF52BE6F9}">
      <dsp:nvSpPr>
        <dsp:cNvPr id="0" name=""/>
        <dsp:cNvSpPr/>
      </dsp:nvSpPr>
      <dsp:spPr>
        <a:xfrm>
          <a:off x="1476769" y="2674287"/>
          <a:ext cx="565400" cy="5654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A9984B-BF36-49AD-9B96-4116137CC17A}">
      <dsp:nvSpPr>
        <dsp:cNvPr id="0" name=""/>
        <dsp:cNvSpPr/>
      </dsp:nvSpPr>
      <dsp:spPr>
        <a:xfrm>
          <a:off x="95175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Same roles, less involvement over time</a:t>
          </a:r>
          <a:endParaRPr lang="en-US" sz="1100" kern="1200"/>
        </a:p>
      </dsp:txBody>
      <dsp:txXfrm>
        <a:off x="951755" y="3756625"/>
        <a:ext cx="1615429" cy="646171"/>
      </dsp:txXfrm>
    </dsp:sp>
    <dsp:sp modelId="{1B9B6BE2-9449-4B20-97C0-1DD275EB6DD0}">
      <dsp:nvSpPr>
        <dsp:cNvPr id="0" name=""/>
        <dsp:cNvSpPr/>
      </dsp:nvSpPr>
      <dsp:spPr>
        <a:xfrm>
          <a:off x="3164893"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7DAEE7-0AB9-4B35-B08F-24A71DBEA9F2}">
      <dsp:nvSpPr>
        <dsp:cNvPr id="0" name=""/>
        <dsp:cNvSpPr/>
      </dsp:nvSpPr>
      <dsp:spPr>
        <a:xfrm>
          <a:off x="3374899" y="2674287"/>
          <a:ext cx="565400" cy="565400"/>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4F0199-BDA0-4F39-B6EE-2B32626F3B1D}">
      <dsp:nvSpPr>
        <dsp:cNvPr id="0" name=""/>
        <dsp:cNvSpPr/>
      </dsp:nvSpPr>
      <dsp:spPr>
        <a:xfrm>
          <a:off x="284988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can be partner led</a:t>
          </a:r>
          <a:endParaRPr lang="en-US" sz="1100" kern="1200"/>
        </a:p>
      </dsp:txBody>
      <dsp:txXfrm>
        <a:off x="2849885" y="3756625"/>
        <a:ext cx="1615429" cy="646171"/>
      </dsp:txXfrm>
    </dsp:sp>
    <dsp:sp modelId="{7DE7EB8F-B243-4AD8-83BA-0D0B5F4E6D1E}">
      <dsp:nvSpPr>
        <dsp:cNvPr id="0" name=""/>
        <dsp:cNvSpPr/>
      </dsp:nvSpPr>
      <dsp:spPr>
        <a:xfrm>
          <a:off x="5063023" y="2464281"/>
          <a:ext cx="985412" cy="985412"/>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1B4C-78AC-4865-ACAC-645346E1929B}">
      <dsp:nvSpPr>
        <dsp:cNvPr id="0" name=""/>
        <dsp:cNvSpPr/>
      </dsp:nvSpPr>
      <dsp:spPr>
        <a:xfrm>
          <a:off x="5273029" y="2674287"/>
          <a:ext cx="565400" cy="565400"/>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A8D358-2149-4FFE-BCD3-D43DD9F6D293}">
      <dsp:nvSpPr>
        <dsp:cNvPr id="0" name=""/>
        <dsp:cNvSpPr/>
      </dsp:nvSpPr>
      <dsp:spPr>
        <a:xfrm>
          <a:off x="4748015" y="3756625"/>
          <a:ext cx="1615429" cy="646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Enablement - Training, continuous learning</a:t>
          </a:r>
          <a:endParaRPr lang="en-US" sz="1100" kern="1200"/>
        </a:p>
      </dsp:txBody>
      <dsp:txXfrm>
        <a:off x="4748015" y="3756625"/>
        <a:ext cx="1615429" cy="64617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67FF9-97BE-4898-BB09-4698EAFFAE64}">
      <dsp:nvSpPr>
        <dsp:cNvPr id="0" name=""/>
        <dsp:cNvSpPr/>
      </dsp:nvSpPr>
      <dsp:spPr>
        <a:xfrm>
          <a:off x="1131482"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615D12-DB38-448D-A179-9A1ECE394CFC}">
      <dsp:nvSpPr>
        <dsp:cNvPr id="0" name=""/>
        <dsp:cNvSpPr/>
      </dsp:nvSpPr>
      <dsp:spPr>
        <a:xfrm>
          <a:off x="1353371" y="222684"/>
          <a:ext cx="597392" cy="5973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357E8E-6063-4DEC-A786-E5D238ADEFEB}">
      <dsp:nvSpPr>
        <dsp:cNvPr id="0" name=""/>
        <dsp:cNvSpPr/>
      </dsp:nvSpPr>
      <dsp:spPr>
        <a:xfrm>
          <a:off x="798649"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Team OF EXPERTS</a:t>
          </a:r>
          <a:endParaRPr lang="en-US" sz="1100" kern="1200"/>
        </a:p>
      </dsp:txBody>
      <dsp:txXfrm>
        <a:off x="798649" y="1366264"/>
        <a:ext cx="1706835" cy="682734"/>
      </dsp:txXfrm>
    </dsp:sp>
    <dsp:sp modelId="{D4A631C9-9C15-4D39-9814-3109ED621C87}">
      <dsp:nvSpPr>
        <dsp:cNvPr id="0" name=""/>
        <dsp:cNvSpPr/>
      </dsp:nvSpPr>
      <dsp:spPr>
        <a:xfrm>
          <a:off x="3137015"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2BE457-D353-4FFF-8AD2-8BF9D55C67D0}">
      <dsp:nvSpPr>
        <dsp:cNvPr id="0" name=""/>
        <dsp:cNvSpPr/>
      </dsp:nvSpPr>
      <dsp:spPr>
        <a:xfrm>
          <a:off x="3358903" y="222684"/>
          <a:ext cx="597392" cy="5973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47E1716-EB0B-4931-AED2-1DD48F9A99E4}">
      <dsp:nvSpPr>
        <dsp:cNvPr id="0" name=""/>
        <dsp:cNvSpPr/>
      </dsp:nvSpPr>
      <dsp:spPr>
        <a:xfrm>
          <a:off x="2804182"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Funding model</a:t>
          </a:r>
          <a:endParaRPr lang="en-US" sz="1100" kern="1200"/>
        </a:p>
      </dsp:txBody>
      <dsp:txXfrm>
        <a:off x="2804182" y="1366264"/>
        <a:ext cx="1706835" cy="682734"/>
      </dsp:txXfrm>
    </dsp:sp>
    <dsp:sp modelId="{50D1FF38-0114-4DE5-8C48-52F9073EFF2A}">
      <dsp:nvSpPr>
        <dsp:cNvPr id="0" name=""/>
        <dsp:cNvSpPr/>
      </dsp:nvSpPr>
      <dsp:spPr>
        <a:xfrm>
          <a:off x="5142547" y="795"/>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D2460-AD66-40E9-B4CD-4B6058CBB77B}">
      <dsp:nvSpPr>
        <dsp:cNvPr id="0" name=""/>
        <dsp:cNvSpPr/>
      </dsp:nvSpPr>
      <dsp:spPr>
        <a:xfrm>
          <a:off x="5364435" y="222684"/>
          <a:ext cx="597392" cy="5973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8558585-EEDB-4AAA-83FC-B0E19803EBF7}">
      <dsp:nvSpPr>
        <dsp:cNvPr id="0" name=""/>
        <dsp:cNvSpPr/>
      </dsp:nvSpPr>
      <dsp:spPr>
        <a:xfrm>
          <a:off x="4809714" y="1366264"/>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Maintain Power bi platform</a:t>
          </a:r>
          <a:endParaRPr lang="en-US" sz="1100" kern="1200"/>
        </a:p>
      </dsp:txBody>
      <dsp:txXfrm>
        <a:off x="4809714" y="1366264"/>
        <a:ext cx="1706835" cy="682734"/>
      </dsp:txXfrm>
    </dsp:sp>
    <dsp:sp modelId="{2241E776-EF51-485D-A54B-BD8DFE4BB441}">
      <dsp:nvSpPr>
        <dsp:cNvPr id="0" name=""/>
        <dsp:cNvSpPr/>
      </dsp:nvSpPr>
      <dsp:spPr>
        <a:xfrm>
          <a:off x="1131482"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733EA8-E812-481F-AA5A-87D2EA791950}">
      <dsp:nvSpPr>
        <dsp:cNvPr id="0" name=""/>
        <dsp:cNvSpPr/>
      </dsp:nvSpPr>
      <dsp:spPr>
        <a:xfrm>
          <a:off x="1353371" y="2697596"/>
          <a:ext cx="597392" cy="5973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F810AC-4359-4160-8564-076A829D6FDD}">
      <dsp:nvSpPr>
        <dsp:cNvPr id="0" name=""/>
        <dsp:cNvSpPr/>
      </dsp:nvSpPr>
      <dsp:spPr>
        <a:xfrm>
          <a:off x="798649"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guidance, best practice, governance</a:t>
          </a:r>
          <a:endParaRPr lang="en-US" sz="1100" kern="1200"/>
        </a:p>
      </dsp:txBody>
      <dsp:txXfrm>
        <a:off x="798649" y="3841176"/>
        <a:ext cx="1706835" cy="682734"/>
      </dsp:txXfrm>
    </dsp:sp>
    <dsp:sp modelId="{1B9B6BE2-9449-4B20-97C0-1DD275EB6DD0}">
      <dsp:nvSpPr>
        <dsp:cNvPr id="0" name=""/>
        <dsp:cNvSpPr/>
      </dsp:nvSpPr>
      <dsp:spPr>
        <a:xfrm>
          <a:off x="3137015"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7DAEE7-0AB9-4B35-B08F-24A71DBEA9F2}">
      <dsp:nvSpPr>
        <dsp:cNvPr id="0" name=""/>
        <dsp:cNvSpPr/>
      </dsp:nvSpPr>
      <dsp:spPr>
        <a:xfrm>
          <a:off x="3358903" y="2697596"/>
          <a:ext cx="597392" cy="5973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4F0199-BDA0-4F39-B6EE-2B32626F3B1D}">
      <dsp:nvSpPr>
        <dsp:cNvPr id="0" name=""/>
        <dsp:cNvSpPr/>
      </dsp:nvSpPr>
      <dsp:spPr>
        <a:xfrm>
          <a:off x="2804182"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Implementation can be partner led</a:t>
          </a:r>
          <a:endParaRPr lang="en-US" sz="1100" kern="1200"/>
        </a:p>
      </dsp:txBody>
      <dsp:txXfrm>
        <a:off x="2804182" y="3841176"/>
        <a:ext cx="1706835" cy="682734"/>
      </dsp:txXfrm>
    </dsp:sp>
    <dsp:sp modelId="{7DE7EB8F-B243-4AD8-83BA-0D0B5F4E6D1E}">
      <dsp:nvSpPr>
        <dsp:cNvPr id="0" name=""/>
        <dsp:cNvSpPr/>
      </dsp:nvSpPr>
      <dsp:spPr>
        <a:xfrm>
          <a:off x="5142547" y="2475707"/>
          <a:ext cx="1041169" cy="1041169"/>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611B4C-78AC-4865-ACAC-645346E1929B}">
      <dsp:nvSpPr>
        <dsp:cNvPr id="0" name=""/>
        <dsp:cNvSpPr/>
      </dsp:nvSpPr>
      <dsp:spPr>
        <a:xfrm>
          <a:off x="5364435" y="2697596"/>
          <a:ext cx="597392" cy="59739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A8D358-2149-4FFE-BCD3-D43DD9F6D293}">
      <dsp:nvSpPr>
        <dsp:cNvPr id="0" name=""/>
        <dsp:cNvSpPr/>
      </dsp:nvSpPr>
      <dsp:spPr>
        <a:xfrm>
          <a:off x="4809714" y="3841176"/>
          <a:ext cx="1706835" cy="6827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GB" sz="1100" kern="1200"/>
            <a:t>Enablement - Training, continuous learning</a:t>
          </a:r>
          <a:endParaRPr lang="en-US" sz="1100" kern="1200"/>
        </a:p>
      </dsp:txBody>
      <dsp:txXfrm>
        <a:off x="4809714" y="3841176"/>
        <a:ext cx="1706835" cy="6827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49D4BB-9078-4A63-B98A-D261CB49B459}">
      <dsp:nvSpPr>
        <dsp:cNvPr id="0" name=""/>
        <dsp:cNvSpPr/>
      </dsp:nvSpPr>
      <dsp:spPr>
        <a:xfrm>
          <a:off x="1150945" y="1217376"/>
          <a:ext cx="1502736" cy="15027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0FB06A-AACA-4CBE-97E4-863F4C084A33}">
      <dsp:nvSpPr>
        <dsp:cNvPr id="0" name=""/>
        <dsp:cNvSpPr/>
      </dsp:nvSpPr>
      <dsp:spPr>
        <a:xfrm>
          <a:off x="232606"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Data Culture</a:t>
          </a:r>
          <a:endParaRPr lang="en-US" sz="2600" kern="1200"/>
        </a:p>
      </dsp:txBody>
      <dsp:txXfrm>
        <a:off x="232606" y="3112461"/>
        <a:ext cx="3339414" cy="720000"/>
      </dsp:txXfrm>
    </dsp:sp>
    <dsp:sp modelId="{907D3017-1203-415E-90DD-76939E3C7734}">
      <dsp:nvSpPr>
        <dsp:cNvPr id="0" name=""/>
        <dsp:cNvSpPr/>
      </dsp:nvSpPr>
      <dsp:spPr>
        <a:xfrm>
          <a:off x="5074756" y="1217376"/>
          <a:ext cx="1502736" cy="15027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DE808C-7170-4DE1-83F2-2CA0020AA758}">
      <dsp:nvSpPr>
        <dsp:cNvPr id="0" name=""/>
        <dsp:cNvSpPr/>
      </dsp:nvSpPr>
      <dsp:spPr>
        <a:xfrm>
          <a:off x="4156417"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Agile BI Mindset</a:t>
          </a:r>
          <a:endParaRPr lang="en-US" sz="2600" kern="1200"/>
        </a:p>
      </dsp:txBody>
      <dsp:txXfrm>
        <a:off x="4156417" y="3112461"/>
        <a:ext cx="3339414" cy="720000"/>
      </dsp:txXfrm>
    </dsp:sp>
    <dsp:sp modelId="{C8DC6501-2CC0-4FEB-9E6C-5EA8B9439192}">
      <dsp:nvSpPr>
        <dsp:cNvPr id="0" name=""/>
        <dsp:cNvSpPr/>
      </dsp:nvSpPr>
      <dsp:spPr>
        <a:xfrm>
          <a:off x="8998568" y="1217376"/>
          <a:ext cx="1502736" cy="15027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A93751-4E2F-4EFD-83B6-48672ED5E393}">
      <dsp:nvSpPr>
        <dsp:cNvPr id="0" name=""/>
        <dsp:cNvSpPr/>
      </dsp:nvSpPr>
      <dsp:spPr>
        <a:xfrm>
          <a:off x="8080229" y="3112461"/>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Consolidation of Tools</a:t>
          </a:r>
          <a:endParaRPr lang="en-US" sz="2600" kern="1200"/>
        </a:p>
      </dsp:txBody>
      <dsp:txXfrm>
        <a:off x="8080229" y="3112461"/>
        <a:ext cx="3339414" cy="72000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2216267" y="0"/>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tx2"/>
              </a:solidFill>
            </a:rPr>
            <a:t>Power BI Overview, DIAD, Adoption Overview, </a:t>
          </a:r>
          <a:r>
            <a:rPr lang="en-US" sz="2400" kern="1200" err="1">
              <a:solidFill>
                <a:schemeClr val="tx2"/>
              </a:solidFill>
            </a:rPr>
            <a:t>PoV</a:t>
          </a:r>
          <a:endParaRPr lang="en-US" sz="2400" kern="1200">
            <a:solidFill>
              <a:schemeClr val="tx2"/>
            </a:solidFill>
          </a:endParaRPr>
        </a:p>
      </dsp:txBody>
      <dsp:txXfrm>
        <a:off x="2216267" y="0"/>
        <a:ext cx="8865071" cy="857564"/>
      </dsp:txXfrm>
    </dsp:sp>
    <dsp:sp modelId="{E9F836B8-166B-45D6-9F84-CEA44AD858A3}">
      <dsp:nvSpPr>
        <dsp:cNvPr id="0" name=""/>
        <dsp:cNvSpPr/>
      </dsp:nvSpPr>
      <dsp:spPr>
        <a:xfrm>
          <a:off x="0" y="1954"/>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US" sz="2400" kern="1200"/>
            <a:t>Awareness</a:t>
          </a:r>
        </a:p>
      </dsp:txBody>
      <dsp:txXfrm>
        <a:off x="0" y="1954"/>
        <a:ext cx="2216267" cy="857564"/>
      </dsp:txXfrm>
    </dsp:sp>
    <dsp:sp modelId="{8913CEDA-40AB-4CE7-9A23-57A66F010AED}">
      <dsp:nvSpPr>
        <dsp:cNvPr id="0" name=""/>
        <dsp:cNvSpPr/>
      </dsp:nvSpPr>
      <dsp:spPr>
        <a:xfrm>
          <a:off x="2216267" y="910972"/>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err="1">
              <a:solidFill>
                <a:schemeClr val="tx2"/>
              </a:solidFill>
            </a:rPr>
            <a:t>PoV</a:t>
          </a:r>
          <a:r>
            <a:rPr lang="en-GB" sz="2400" kern="1200">
              <a:solidFill>
                <a:schemeClr val="tx2"/>
              </a:solidFill>
            </a:rPr>
            <a:t> demos, Project videos, Lunch &amp; learn</a:t>
          </a:r>
        </a:p>
      </dsp:txBody>
      <dsp:txXfrm>
        <a:off x="2216267" y="910972"/>
        <a:ext cx="8865071" cy="857564"/>
      </dsp:txXfrm>
    </dsp:sp>
    <dsp:sp modelId="{39756C08-B936-44B2-9A3D-90560B0311E9}">
      <dsp:nvSpPr>
        <dsp:cNvPr id="0" name=""/>
        <dsp:cNvSpPr/>
      </dsp:nvSpPr>
      <dsp:spPr>
        <a:xfrm>
          <a:off x="0" y="910972"/>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Desire</a:t>
          </a:r>
        </a:p>
      </dsp:txBody>
      <dsp:txXfrm>
        <a:off x="0" y="910972"/>
        <a:ext cx="2216267" cy="857564"/>
      </dsp:txXfrm>
    </dsp:sp>
    <dsp:sp modelId="{DF963225-B69D-4A74-A4C8-54F6919AC7F8}">
      <dsp:nvSpPr>
        <dsp:cNvPr id="0" name=""/>
        <dsp:cNvSpPr/>
      </dsp:nvSpPr>
      <dsp:spPr>
        <a:xfrm>
          <a:off x="2216267" y="1819990"/>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Adoption Framework, How to Videos, </a:t>
          </a:r>
          <a:r>
            <a:rPr lang="en-GB" sz="2400" kern="1200" err="1">
              <a:solidFill>
                <a:schemeClr val="tx2"/>
              </a:solidFill>
            </a:rPr>
            <a:t>edx</a:t>
          </a:r>
          <a:r>
            <a:rPr lang="en-GB" sz="2400" kern="1200">
              <a:solidFill>
                <a:schemeClr val="tx2"/>
              </a:solidFill>
            </a:rPr>
            <a:t>, Guy in a cube, partner blogs, </a:t>
          </a:r>
          <a:r>
            <a:rPr lang="en-GB" sz="2400" kern="1200" err="1">
              <a:solidFill>
                <a:schemeClr val="tx2"/>
              </a:solidFill>
            </a:rPr>
            <a:t>CoE</a:t>
          </a:r>
          <a:r>
            <a:rPr lang="en-GB" sz="2400" kern="1200">
              <a:solidFill>
                <a:schemeClr val="tx2"/>
              </a:solidFill>
            </a:rPr>
            <a:t> Website / Team</a:t>
          </a:r>
        </a:p>
      </dsp:txBody>
      <dsp:txXfrm>
        <a:off x="2216267" y="1819990"/>
        <a:ext cx="8865071" cy="857564"/>
      </dsp:txXfrm>
    </dsp:sp>
    <dsp:sp modelId="{54AC7EA8-AD67-4C0D-A259-7A17F4D1737E}">
      <dsp:nvSpPr>
        <dsp:cNvPr id="0" name=""/>
        <dsp:cNvSpPr/>
      </dsp:nvSpPr>
      <dsp:spPr>
        <a:xfrm>
          <a:off x="0" y="1819990"/>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Knowledge</a:t>
          </a:r>
        </a:p>
      </dsp:txBody>
      <dsp:txXfrm>
        <a:off x="0" y="1819990"/>
        <a:ext cx="2216267" cy="857564"/>
      </dsp:txXfrm>
    </dsp:sp>
    <dsp:sp modelId="{A7A301A0-80D4-4223-A864-BB174852226F}">
      <dsp:nvSpPr>
        <dsp:cNvPr id="0" name=""/>
        <dsp:cNvSpPr/>
      </dsp:nvSpPr>
      <dsp:spPr>
        <a:xfrm>
          <a:off x="2216267" y="2729008"/>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Adoption Plan, Training, Docs, Enablement support, Community website, Internal communities</a:t>
          </a:r>
        </a:p>
      </dsp:txBody>
      <dsp:txXfrm>
        <a:off x="2216267" y="2729008"/>
        <a:ext cx="8865071" cy="857564"/>
      </dsp:txXfrm>
    </dsp:sp>
    <dsp:sp modelId="{3E6263A7-9A46-4994-BAC3-91FA9F1B04C7}">
      <dsp:nvSpPr>
        <dsp:cNvPr id="0" name=""/>
        <dsp:cNvSpPr/>
      </dsp:nvSpPr>
      <dsp:spPr>
        <a:xfrm>
          <a:off x="0" y="2729008"/>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Ability</a:t>
          </a:r>
          <a:endParaRPr lang="en-GB" sz="2400" kern="1200">
            <a:solidFill>
              <a:schemeClr val="tx2"/>
            </a:solidFill>
          </a:endParaRPr>
        </a:p>
      </dsp:txBody>
      <dsp:txXfrm>
        <a:off x="0" y="2729008"/>
        <a:ext cx="2216267" cy="857564"/>
      </dsp:txXfrm>
    </dsp:sp>
    <dsp:sp modelId="{ABFD6B99-954F-4DE4-A369-E4F00410AC06}">
      <dsp:nvSpPr>
        <dsp:cNvPr id="0" name=""/>
        <dsp:cNvSpPr/>
      </dsp:nvSpPr>
      <dsp:spPr>
        <a:xfrm>
          <a:off x="2216267" y="3638026"/>
          <a:ext cx="8865071" cy="85756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2007" tIns="217821" rIns="172007" bIns="217821"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Management metrics, people reviews, Sharing stories</a:t>
          </a:r>
        </a:p>
      </dsp:txBody>
      <dsp:txXfrm>
        <a:off x="2216267" y="3638026"/>
        <a:ext cx="8865071" cy="857564"/>
      </dsp:txXfrm>
    </dsp:sp>
    <dsp:sp modelId="{5A47FEE4-C561-4036-B650-0EF73D090244}">
      <dsp:nvSpPr>
        <dsp:cNvPr id="0" name=""/>
        <dsp:cNvSpPr/>
      </dsp:nvSpPr>
      <dsp:spPr>
        <a:xfrm>
          <a:off x="0" y="3638026"/>
          <a:ext cx="2216267" cy="857564"/>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278" tIns="84708" rIns="117278" bIns="84708" numCol="1" spcCol="1270" anchor="ctr" anchorCtr="0">
          <a:noAutofit/>
        </a:bodyPr>
        <a:lstStyle/>
        <a:p>
          <a:pPr marL="0" lvl="0" indent="0" algn="ctr" defTabSz="1066800">
            <a:lnSpc>
              <a:spcPct val="90000"/>
            </a:lnSpc>
            <a:spcBef>
              <a:spcPct val="0"/>
            </a:spcBef>
            <a:spcAft>
              <a:spcPct val="35000"/>
            </a:spcAft>
            <a:buNone/>
          </a:pPr>
          <a:r>
            <a:rPr lang="en-GB" sz="2400" kern="1200"/>
            <a:t>Reinforcement </a:t>
          </a:r>
          <a:endParaRPr lang="en-GB" sz="2400" kern="1200">
            <a:solidFill>
              <a:schemeClr val="tx2"/>
            </a:solidFill>
          </a:endParaRPr>
        </a:p>
      </dsp:txBody>
      <dsp:txXfrm>
        <a:off x="0" y="3638026"/>
        <a:ext cx="2216267" cy="85756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27017B-F8B2-462F-93EF-0BD850EA5E91}">
      <dsp:nvSpPr>
        <dsp:cNvPr id="0" name=""/>
        <dsp:cNvSpPr/>
      </dsp:nvSpPr>
      <dsp:spPr>
        <a:xfrm>
          <a:off x="0" y="0"/>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8DB0F-8382-4276-B2B2-73C53B676270}">
      <dsp:nvSpPr>
        <dsp:cNvPr id="0" name=""/>
        <dsp:cNvSpPr/>
      </dsp:nvSpPr>
      <dsp:spPr>
        <a:xfrm>
          <a:off x="0" y="0"/>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Mandatory Service</a:t>
          </a:r>
        </a:p>
      </dsp:txBody>
      <dsp:txXfrm>
        <a:off x="0" y="0"/>
        <a:ext cx="6118060" cy="852975"/>
      </dsp:txXfrm>
    </dsp:sp>
    <dsp:sp modelId="{1B127AEC-645E-4F25-AC32-48DD90541000}">
      <dsp:nvSpPr>
        <dsp:cNvPr id="0" name=""/>
        <dsp:cNvSpPr/>
      </dsp:nvSpPr>
      <dsp:spPr>
        <a:xfrm>
          <a:off x="0" y="852975"/>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63AE3A-75C4-418E-A338-9E01B0C7E514}">
      <dsp:nvSpPr>
        <dsp:cNvPr id="0" name=""/>
        <dsp:cNvSpPr/>
      </dsp:nvSpPr>
      <dsp:spPr>
        <a:xfrm>
          <a:off x="0" y="852975"/>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IT budget</a:t>
          </a:r>
        </a:p>
      </dsp:txBody>
      <dsp:txXfrm>
        <a:off x="0" y="852975"/>
        <a:ext cx="6118060" cy="852975"/>
      </dsp:txXfrm>
    </dsp:sp>
    <dsp:sp modelId="{CC876FB0-59DB-47C3-8E65-8EC713B59971}">
      <dsp:nvSpPr>
        <dsp:cNvPr id="0" name=""/>
        <dsp:cNvSpPr/>
      </dsp:nvSpPr>
      <dsp:spPr>
        <a:xfrm>
          <a:off x="0" y="1705951"/>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0C9387-00D1-4FAF-A636-A120B566F6F2}">
      <dsp:nvSpPr>
        <dsp:cNvPr id="0" name=""/>
        <dsp:cNvSpPr/>
      </dsp:nvSpPr>
      <dsp:spPr>
        <a:xfrm>
          <a:off x="0" y="1705951"/>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Service knowledge is essential</a:t>
          </a:r>
        </a:p>
      </dsp:txBody>
      <dsp:txXfrm>
        <a:off x="0" y="1705951"/>
        <a:ext cx="6118060" cy="852975"/>
      </dsp:txXfrm>
    </dsp:sp>
    <dsp:sp modelId="{63B561D0-EBFE-4A43-8C58-B8F95E05781D}">
      <dsp:nvSpPr>
        <dsp:cNvPr id="0" name=""/>
        <dsp:cNvSpPr/>
      </dsp:nvSpPr>
      <dsp:spPr>
        <a:xfrm>
          <a:off x="0" y="2558927"/>
          <a:ext cx="611806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86C70D-EDB2-4992-A62F-1BF2A641F06A}">
      <dsp:nvSpPr>
        <dsp:cNvPr id="0" name=""/>
        <dsp:cNvSpPr/>
      </dsp:nvSpPr>
      <dsp:spPr>
        <a:xfrm>
          <a:off x="0" y="2558927"/>
          <a:ext cx="6118060" cy="852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Quick turnaround/ SLAs</a:t>
          </a:r>
        </a:p>
      </dsp:txBody>
      <dsp:txXfrm>
        <a:off x="0" y="2558927"/>
        <a:ext cx="6118060" cy="85297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85417-D219-4231-842A-2B59B33CFFF6}">
      <dsp:nvSpPr>
        <dsp:cNvPr id="0" name=""/>
        <dsp:cNvSpPr/>
      </dsp:nvSpPr>
      <dsp:spPr>
        <a:xfrm>
          <a:off x="0" y="640"/>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0C6A6F-9E02-4031-BD26-7ADB1DDE497F}">
      <dsp:nvSpPr>
        <dsp:cNvPr id="0" name=""/>
        <dsp:cNvSpPr/>
      </dsp:nvSpPr>
      <dsp:spPr>
        <a:xfrm>
          <a:off x="0" y="640"/>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Mandatory Service</a:t>
          </a:r>
          <a:endParaRPr lang="en-GB" sz="3600" kern="1200"/>
        </a:p>
      </dsp:txBody>
      <dsp:txXfrm>
        <a:off x="0" y="640"/>
        <a:ext cx="7256245" cy="1049234"/>
      </dsp:txXfrm>
    </dsp:sp>
    <dsp:sp modelId="{3BF3C64D-6082-4795-8976-D3C1CD696FED}">
      <dsp:nvSpPr>
        <dsp:cNvPr id="0" name=""/>
        <dsp:cNvSpPr/>
      </dsp:nvSpPr>
      <dsp:spPr>
        <a:xfrm>
          <a:off x="0" y="1049875"/>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F8DF34-83C1-4AC2-ADD1-5B66418D74E2}">
      <dsp:nvSpPr>
        <dsp:cNvPr id="0" name=""/>
        <dsp:cNvSpPr/>
      </dsp:nvSpPr>
      <dsp:spPr>
        <a:xfrm>
          <a:off x="0" y="1049875"/>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a:t>Project budget</a:t>
          </a:r>
        </a:p>
      </dsp:txBody>
      <dsp:txXfrm>
        <a:off x="0" y="1049875"/>
        <a:ext cx="7256245" cy="1049234"/>
      </dsp:txXfrm>
    </dsp:sp>
    <dsp:sp modelId="{8062711C-88ED-4979-BAE5-F8D14443EAA0}">
      <dsp:nvSpPr>
        <dsp:cNvPr id="0" name=""/>
        <dsp:cNvSpPr/>
      </dsp:nvSpPr>
      <dsp:spPr>
        <a:xfrm>
          <a:off x="0" y="2099110"/>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3597E-2C02-493F-98E5-CCFE3FFED3F3}">
      <dsp:nvSpPr>
        <dsp:cNvPr id="0" name=""/>
        <dsp:cNvSpPr/>
      </dsp:nvSpPr>
      <dsp:spPr>
        <a:xfrm>
          <a:off x="0" y="2099110"/>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Project knowledge is important</a:t>
          </a:r>
          <a:endParaRPr lang="en-GB" sz="3600" kern="1200"/>
        </a:p>
      </dsp:txBody>
      <dsp:txXfrm>
        <a:off x="0" y="2099110"/>
        <a:ext cx="7256245" cy="1049234"/>
      </dsp:txXfrm>
    </dsp:sp>
    <dsp:sp modelId="{A73D7133-335D-4DF1-BDC2-9210287CDCC1}">
      <dsp:nvSpPr>
        <dsp:cNvPr id="0" name=""/>
        <dsp:cNvSpPr/>
      </dsp:nvSpPr>
      <dsp:spPr>
        <a:xfrm>
          <a:off x="0" y="3148344"/>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4E6819-1246-425D-AF52-5B792C5D42D3}">
      <dsp:nvSpPr>
        <dsp:cNvPr id="0" name=""/>
        <dsp:cNvSpPr/>
      </dsp:nvSpPr>
      <dsp:spPr>
        <a:xfrm>
          <a:off x="0" y="3148344"/>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a:t>Knowledge of the tools is essential</a:t>
          </a:r>
        </a:p>
      </dsp:txBody>
      <dsp:txXfrm>
        <a:off x="0" y="3148344"/>
        <a:ext cx="7256245" cy="1049234"/>
      </dsp:txXfrm>
    </dsp:sp>
    <dsp:sp modelId="{15B1A47E-E599-4241-A418-75395BCCE867}">
      <dsp:nvSpPr>
        <dsp:cNvPr id="0" name=""/>
        <dsp:cNvSpPr/>
      </dsp:nvSpPr>
      <dsp:spPr>
        <a:xfrm>
          <a:off x="0" y="4197579"/>
          <a:ext cx="7256245"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7D6FAC-FDA4-4DD5-ACF7-621BE3A6B493}">
      <dsp:nvSpPr>
        <dsp:cNvPr id="0" name=""/>
        <dsp:cNvSpPr/>
      </dsp:nvSpPr>
      <dsp:spPr>
        <a:xfrm>
          <a:off x="0" y="4197579"/>
          <a:ext cx="7256245" cy="1049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GB" sz="3600" kern="1200" baseline="0"/>
            <a:t>SLAs</a:t>
          </a:r>
          <a:endParaRPr lang="en-GB" sz="3600" kern="1200"/>
        </a:p>
      </dsp:txBody>
      <dsp:txXfrm>
        <a:off x="0" y="4197579"/>
        <a:ext cx="7256245" cy="10492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EF91EF-E637-4A3B-9973-3222CE29C674}">
      <dsp:nvSpPr>
        <dsp:cNvPr id="0" name=""/>
        <dsp:cNvSpPr/>
      </dsp:nvSpPr>
      <dsp:spPr>
        <a:xfrm>
          <a:off x="0" y="697"/>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05847B-954C-4C3F-B782-C4F0EA095F1A}">
      <dsp:nvSpPr>
        <dsp:cNvPr id="0" name=""/>
        <dsp:cNvSpPr/>
      </dsp:nvSpPr>
      <dsp:spPr>
        <a:xfrm>
          <a:off x="0" y="697"/>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a:t>P</a:t>
          </a:r>
          <a:r>
            <a:rPr lang="en-GB" sz="3500" kern="1200" baseline="0"/>
            <a:t>erceived as an essential service</a:t>
          </a:r>
          <a:endParaRPr lang="en-GB" sz="3500" kern="1200"/>
        </a:p>
      </dsp:txBody>
      <dsp:txXfrm>
        <a:off x="0" y="697"/>
        <a:ext cx="7206808" cy="1142156"/>
      </dsp:txXfrm>
    </dsp:sp>
    <dsp:sp modelId="{9E30970E-74A7-4662-8135-0068221A5951}">
      <dsp:nvSpPr>
        <dsp:cNvPr id="0" name=""/>
        <dsp:cNvSpPr/>
      </dsp:nvSpPr>
      <dsp:spPr>
        <a:xfrm>
          <a:off x="0" y="1142853"/>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9ED4B0-A381-4187-AEEC-874E445597A7}">
      <dsp:nvSpPr>
        <dsp:cNvPr id="0" name=""/>
        <dsp:cNvSpPr/>
      </dsp:nvSpPr>
      <dsp:spPr>
        <a:xfrm>
          <a:off x="0" y="1142853"/>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a:t>Project Budget</a:t>
          </a:r>
        </a:p>
      </dsp:txBody>
      <dsp:txXfrm>
        <a:off x="0" y="1142853"/>
        <a:ext cx="7206808" cy="1142156"/>
      </dsp:txXfrm>
    </dsp:sp>
    <dsp:sp modelId="{FB215504-0BF6-4158-B313-08809C559D1F}">
      <dsp:nvSpPr>
        <dsp:cNvPr id="0" name=""/>
        <dsp:cNvSpPr/>
      </dsp:nvSpPr>
      <dsp:spPr>
        <a:xfrm>
          <a:off x="0" y="2285010"/>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4B84AF-FD42-4F51-BDC4-C7079030BFCB}">
      <dsp:nvSpPr>
        <dsp:cNvPr id="0" name=""/>
        <dsp:cNvSpPr/>
      </dsp:nvSpPr>
      <dsp:spPr>
        <a:xfrm>
          <a:off x="0" y="2285010"/>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Project knowledge is a nice to have</a:t>
          </a:r>
          <a:endParaRPr lang="en-GB" sz="3500" kern="1200"/>
        </a:p>
      </dsp:txBody>
      <dsp:txXfrm>
        <a:off x="0" y="2285010"/>
        <a:ext cx="7206808" cy="1142156"/>
      </dsp:txXfrm>
    </dsp:sp>
    <dsp:sp modelId="{7F4CB91D-82F6-419C-8420-CBAF0D410B43}">
      <dsp:nvSpPr>
        <dsp:cNvPr id="0" name=""/>
        <dsp:cNvSpPr/>
      </dsp:nvSpPr>
      <dsp:spPr>
        <a:xfrm>
          <a:off x="0" y="3427167"/>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035022B-B9B6-44C0-9A76-90CD903366FA}">
      <dsp:nvSpPr>
        <dsp:cNvPr id="0" name=""/>
        <dsp:cNvSpPr/>
      </dsp:nvSpPr>
      <dsp:spPr>
        <a:xfrm>
          <a:off x="0" y="3427167"/>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Knowledge of the tools is essential</a:t>
          </a:r>
          <a:endParaRPr lang="en-GB" sz="3500" kern="1200"/>
        </a:p>
      </dsp:txBody>
      <dsp:txXfrm>
        <a:off x="0" y="3427167"/>
        <a:ext cx="7206808" cy="1142156"/>
      </dsp:txXfrm>
    </dsp:sp>
    <dsp:sp modelId="{BFD125EA-DA17-43FA-A799-F735ED09E3D6}">
      <dsp:nvSpPr>
        <dsp:cNvPr id="0" name=""/>
        <dsp:cNvSpPr/>
      </dsp:nvSpPr>
      <dsp:spPr>
        <a:xfrm>
          <a:off x="0" y="4569324"/>
          <a:ext cx="7206808"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DDB81C-19DF-4809-AF57-E1802AE79923}">
      <dsp:nvSpPr>
        <dsp:cNvPr id="0" name=""/>
        <dsp:cNvSpPr/>
      </dsp:nvSpPr>
      <dsp:spPr>
        <a:xfrm>
          <a:off x="0" y="4569324"/>
          <a:ext cx="7206808" cy="114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GB" sz="3500" kern="1200" baseline="0"/>
            <a:t>Timescales agreed while scoping</a:t>
          </a:r>
          <a:endParaRPr lang="en-GB" sz="3500" kern="1200"/>
        </a:p>
      </dsp:txBody>
      <dsp:txXfrm>
        <a:off x="0" y="4569324"/>
        <a:ext cx="7206808" cy="114215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F02834-CBCB-4F20-9081-85244501EA6D}">
      <dsp:nvSpPr>
        <dsp:cNvPr id="0" name=""/>
        <dsp:cNvSpPr/>
      </dsp:nvSpPr>
      <dsp:spPr>
        <a:xfrm>
          <a:off x="0" y="0"/>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559F53-78CD-4C94-AEFC-3E2E9AC66C9F}">
      <dsp:nvSpPr>
        <dsp:cNvPr id="0" name=""/>
        <dsp:cNvSpPr/>
      </dsp:nvSpPr>
      <dsp:spPr>
        <a:xfrm>
          <a:off x="0" y="0"/>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a:t>Organisational/Team Budget</a:t>
          </a:r>
        </a:p>
      </dsp:txBody>
      <dsp:txXfrm>
        <a:off x="0" y="0"/>
        <a:ext cx="6805612" cy="1527785"/>
      </dsp:txXfrm>
    </dsp:sp>
    <dsp:sp modelId="{FF06A71E-14FA-47EC-8FB2-4D2FDD190E88}">
      <dsp:nvSpPr>
        <dsp:cNvPr id="0" name=""/>
        <dsp:cNvSpPr/>
      </dsp:nvSpPr>
      <dsp:spPr>
        <a:xfrm>
          <a:off x="0" y="1527785"/>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A0456-5643-4D9D-8AD4-1415FD37B238}">
      <dsp:nvSpPr>
        <dsp:cNvPr id="0" name=""/>
        <dsp:cNvSpPr/>
      </dsp:nvSpPr>
      <dsp:spPr>
        <a:xfrm>
          <a:off x="0" y="1527785"/>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baseline="0"/>
            <a:t>Knowledge of the tools is essential</a:t>
          </a:r>
          <a:endParaRPr lang="en-GB" sz="4000" kern="1200"/>
        </a:p>
      </dsp:txBody>
      <dsp:txXfrm>
        <a:off x="0" y="1527785"/>
        <a:ext cx="6805612" cy="1527785"/>
      </dsp:txXfrm>
    </dsp:sp>
    <dsp:sp modelId="{56275ED5-7C28-4C1F-869C-8E9DDDE9C9D1}">
      <dsp:nvSpPr>
        <dsp:cNvPr id="0" name=""/>
        <dsp:cNvSpPr/>
      </dsp:nvSpPr>
      <dsp:spPr>
        <a:xfrm>
          <a:off x="0" y="3055570"/>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E9A74B-8193-42E5-9DD3-04AF11B31DFA}">
      <dsp:nvSpPr>
        <dsp:cNvPr id="0" name=""/>
        <dsp:cNvSpPr/>
      </dsp:nvSpPr>
      <dsp:spPr>
        <a:xfrm>
          <a:off x="0" y="3055570"/>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baseline="0"/>
            <a:t>Real-time</a:t>
          </a:r>
          <a:endParaRPr lang="en-GB" sz="4000" kern="1200"/>
        </a:p>
      </dsp:txBody>
      <dsp:txXfrm>
        <a:off x="0" y="3055570"/>
        <a:ext cx="6805612" cy="1527785"/>
      </dsp:txXfrm>
    </dsp:sp>
    <dsp:sp modelId="{2FCACA5A-A395-4758-8AC1-B69EA2406415}">
      <dsp:nvSpPr>
        <dsp:cNvPr id="0" name=""/>
        <dsp:cNvSpPr/>
      </dsp:nvSpPr>
      <dsp:spPr>
        <a:xfrm>
          <a:off x="0" y="4583356"/>
          <a:ext cx="6805612"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6237FF-AC1D-446F-8B49-8F44033CB533}">
      <dsp:nvSpPr>
        <dsp:cNvPr id="0" name=""/>
        <dsp:cNvSpPr/>
      </dsp:nvSpPr>
      <dsp:spPr>
        <a:xfrm>
          <a:off x="0" y="4583356"/>
          <a:ext cx="6805612" cy="1527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GB" sz="4000" kern="1200"/>
            <a:t>Enablement hub</a:t>
          </a:r>
        </a:p>
      </dsp:txBody>
      <dsp:txXfrm>
        <a:off x="0" y="4583356"/>
        <a:ext cx="6805612" cy="152778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D9C7C-456B-46DE-AAAF-558FD4A7C430}">
      <dsp:nvSpPr>
        <dsp:cNvPr id="0" name=""/>
        <dsp:cNvSpPr/>
      </dsp:nvSpPr>
      <dsp:spPr>
        <a:xfrm>
          <a:off x="0" y="486"/>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326432-8F77-4ECD-86FF-5315045F74A5}">
      <dsp:nvSpPr>
        <dsp:cNvPr id="0" name=""/>
        <dsp:cNvSpPr/>
      </dsp:nvSpPr>
      <dsp:spPr>
        <a:xfrm>
          <a:off x="0" y="486"/>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Microsoft Power BI Support</a:t>
          </a:r>
          <a:endParaRPr lang="en-GB" sz="3400" kern="1200"/>
        </a:p>
      </dsp:txBody>
      <dsp:txXfrm>
        <a:off x="0" y="486"/>
        <a:ext cx="6748787" cy="796486"/>
      </dsp:txXfrm>
    </dsp:sp>
    <dsp:sp modelId="{97B55514-930C-4C83-B209-4863489C152A}">
      <dsp:nvSpPr>
        <dsp:cNvPr id="0" name=""/>
        <dsp:cNvSpPr/>
      </dsp:nvSpPr>
      <dsp:spPr>
        <a:xfrm>
          <a:off x="0" y="796972"/>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158A5B-F572-4511-A44B-839CE2C37E9F}">
      <dsp:nvSpPr>
        <dsp:cNvPr id="0" name=""/>
        <dsp:cNvSpPr/>
      </dsp:nvSpPr>
      <dsp:spPr>
        <a:xfrm>
          <a:off x="0" y="796972"/>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Microsoft Premier Support</a:t>
          </a:r>
        </a:p>
      </dsp:txBody>
      <dsp:txXfrm>
        <a:off x="0" y="796972"/>
        <a:ext cx="6748787" cy="796486"/>
      </dsp:txXfrm>
    </dsp:sp>
    <dsp:sp modelId="{BF4C87AC-510F-4C92-9752-6070B67765A0}">
      <dsp:nvSpPr>
        <dsp:cNvPr id="0" name=""/>
        <dsp:cNvSpPr/>
      </dsp:nvSpPr>
      <dsp:spPr>
        <a:xfrm>
          <a:off x="0" y="1593458"/>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4EDD0F-AB4B-4FEF-BD77-351D6288B8AC}">
      <dsp:nvSpPr>
        <dsp:cNvPr id="0" name=""/>
        <dsp:cNvSpPr/>
      </dsp:nvSpPr>
      <dsp:spPr>
        <a:xfrm>
          <a:off x="0" y="1593458"/>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a:t>Internal Infrastructure Support</a:t>
          </a:r>
        </a:p>
      </dsp:txBody>
      <dsp:txXfrm>
        <a:off x="0" y="1593458"/>
        <a:ext cx="6748787" cy="796486"/>
      </dsp:txXfrm>
    </dsp:sp>
    <dsp:sp modelId="{E20E6410-8B6A-4935-91C4-AFE704E44549}">
      <dsp:nvSpPr>
        <dsp:cNvPr id="0" name=""/>
        <dsp:cNvSpPr/>
      </dsp:nvSpPr>
      <dsp:spPr>
        <a:xfrm>
          <a:off x="0" y="2389945"/>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CAD45-7BB4-4A31-9EE3-D038B809AE2C}">
      <dsp:nvSpPr>
        <dsp:cNvPr id="0" name=""/>
        <dsp:cNvSpPr/>
      </dsp:nvSpPr>
      <dsp:spPr>
        <a:xfrm>
          <a:off x="0" y="2389945"/>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Internal </a:t>
          </a:r>
          <a:r>
            <a:rPr lang="en-GB" sz="3400" kern="1200"/>
            <a:t>BI </a:t>
          </a:r>
          <a:r>
            <a:rPr lang="en-GB" sz="3400" kern="1200" baseline="0"/>
            <a:t>Support team</a:t>
          </a:r>
          <a:endParaRPr lang="en-GB" sz="3400" kern="1200"/>
        </a:p>
      </dsp:txBody>
      <dsp:txXfrm>
        <a:off x="0" y="2389945"/>
        <a:ext cx="6748787" cy="796486"/>
      </dsp:txXfrm>
    </dsp:sp>
    <dsp:sp modelId="{5051F06A-A961-4182-A72D-9B6A9B561034}">
      <dsp:nvSpPr>
        <dsp:cNvPr id="0" name=""/>
        <dsp:cNvSpPr/>
      </dsp:nvSpPr>
      <dsp:spPr>
        <a:xfrm>
          <a:off x="0" y="3186431"/>
          <a:ext cx="674878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D2AAE9-9095-41FF-8026-EE8630118A30}">
      <dsp:nvSpPr>
        <dsp:cNvPr id="0" name=""/>
        <dsp:cNvSpPr/>
      </dsp:nvSpPr>
      <dsp:spPr>
        <a:xfrm>
          <a:off x="0" y="3186431"/>
          <a:ext cx="6748787" cy="796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GB" sz="3400" kern="1200" baseline="0"/>
            <a:t>Partners</a:t>
          </a:r>
          <a:endParaRPr lang="en-GB" sz="3400" kern="1200"/>
        </a:p>
      </dsp:txBody>
      <dsp:txXfrm>
        <a:off x="0" y="3186431"/>
        <a:ext cx="6748787" cy="796486"/>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90000"/>
            </a:lnSpc>
            <a:spcBef>
              <a:spcPct val="0"/>
            </a:spcBef>
            <a:spcAft>
              <a:spcPct val="35000"/>
            </a:spcAft>
            <a:buFont typeface="+mj-lt"/>
            <a:buNone/>
          </a:pPr>
          <a:r>
            <a:rPr lang="en-US" sz="1600" kern="1200">
              <a:solidFill>
                <a:schemeClr val="tx2"/>
              </a:solidFill>
            </a:rPr>
            <a:t>Supports connections to </a:t>
          </a:r>
          <a:r>
            <a:rPr lang="en-US" sz="1600" b="0" i="0" kern="1200"/>
            <a:t>registered data sources for many users to use.</a:t>
          </a:r>
        </a:p>
        <a:p>
          <a:pPr marL="0" lvl="0" indent="0" algn="l" defTabSz="711200">
            <a:lnSpc>
              <a:spcPct val="90000"/>
            </a:lnSpc>
            <a:spcBef>
              <a:spcPct val="0"/>
            </a:spcBef>
            <a:spcAft>
              <a:spcPct val="35000"/>
            </a:spcAft>
            <a:buFont typeface="+mj-lt"/>
            <a:buNone/>
          </a:pPr>
          <a:r>
            <a:rPr lang="en-US" sz="1600" b="0" i="0" kern="1200"/>
            <a:t>Software installations and updates are installed on a machine that's managed by the customer.</a:t>
          </a:r>
          <a:endParaRPr lang="en-US" sz="16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US" sz="1800" kern="1200"/>
            <a:t>On-premises Data Gateway</a:t>
          </a:r>
        </a:p>
        <a:p>
          <a:pPr marL="0" lvl="0" indent="0" algn="ctr" defTabSz="800100">
            <a:lnSpc>
              <a:spcPct val="90000"/>
            </a:lnSpc>
            <a:spcBef>
              <a:spcPct val="0"/>
            </a:spcBef>
            <a:spcAft>
              <a:spcPct val="35000"/>
            </a:spcAft>
            <a:buNone/>
          </a:pPr>
          <a:r>
            <a:rPr lang="en-US" sz="1800" kern="1200"/>
            <a:t>(Standard Mode)</a:t>
          </a:r>
        </a:p>
      </dsp:txBody>
      <dsp:txXfrm>
        <a:off x="0" y="1405"/>
        <a:ext cx="1963618" cy="1440619"/>
      </dsp:txXfrm>
    </dsp:sp>
    <dsp:sp modelId="{DF963225-B69D-4A74-A4C8-54F6919AC7F8}">
      <dsp:nvSpPr>
        <dsp:cNvPr id="0" name=""/>
        <dsp:cNvSpPr/>
      </dsp:nvSpPr>
      <dsp:spPr>
        <a:xfrm>
          <a:off x="1963618" y="1544784"/>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100000"/>
            </a:lnSpc>
            <a:spcBef>
              <a:spcPct val="0"/>
            </a:spcBef>
            <a:spcAft>
              <a:spcPct val="35000"/>
            </a:spcAft>
            <a:buFont typeface="Arial" panose="020B0604020202020204" pitchFamily="34" charset="0"/>
            <a:buNone/>
          </a:pPr>
          <a:r>
            <a:rPr lang="en-GB" sz="1600" kern="1200" baseline="0">
              <a:solidFill>
                <a:schemeClr val="tx2"/>
              </a:solidFill>
            </a:rPr>
            <a:t>Supports data refresh only.</a:t>
          </a:r>
        </a:p>
        <a:p>
          <a:pPr marL="0" lvl="0" indent="0" algn="l" defTabSz="711200">
            <a:lnSpc>
              <a:spcPct val="100000"/>
            </a:lnSpc>
            <a:spcBef>
              <a:spcPct val="0"/>
            </a:spcBef>
            <a:spcAft>
              <a:spcPct val="35000"/>
            </a:spcAft>
            <a:buFont typeface="Arial" panose="020B0604020202020204" pitchFamily="34" charset="0"/>
            <a:buNone/>
          </a:pPr>
          <a:r>
            <a:rPr lang="en-US" sz="1600" b="0" i="0" kern="1200"/>
            <a:t>Typically installed on the PC of the user.</a:t>
          </a:r>
        </a:p>
        <a:p>
          <a:pPr marL="0" lvl="0" indent="0" algn="l" defTabSz="711200">
            <a:lnSpc>
              <a:spcPct val="100000"/>
            </a:lnSpc>
            <a:spcBef>
              <a:spcPct val="0"/>
            </a:spcBef>
            <a:spcAft>
              <a:spcPct val="35000"/>
            </a:spcAft>
            <a:buFont typeface="Arial" panose="020B0604020202020204" pitchFamily="34" charset="0"/>
            <a:buNone/>
          </a:pPr>
          <a:r>
            <a:rPr lang="en-US" sz="1600" b="0" i="0" kern="1200"/>
            <a:t>Supports use by one user only. </a:t>
          </a:r>
        </a:p>
        <a:p>
          <a:pPr marL="0" lvl="0" indent="0" algn="l" defTabSz="711200">
            <a:lnSpc>
              <a:spcPct val="100000"/>
            </a:lnSpc>
            <a:spcBef>
              <a:spcPct val="0"/>
            </a:spcBef>
            <a:spcAft>
              <a:spcPct val="35000"/>
            </a:spcAft>
            <a:buFont typeface="Arial" panose="020B0604020202020204" pitchFamily="34" charset="0"/>
            <a:buNone/>
          </a:pPr>
          <a:r>
            <a:rPr lang="en-US" sz="1600" b="0" i="0" kern="1200"/>
            <a:t>No support for live connection or </a:t>
          </a:r>
          <a:r>
            <a:rPr lang="en-US" sz="1600" b="0" i="0" kern="1200" err="1"/>
            <a:t>DirectQuery</a:t>
          </a:r>
          <a:r>
            <a:rPr lang="en-US" sz="1600" b="0" i="0" kern="1200"/>
            <a:t> connections.</a:t>
          </a:r>
          <a:endParaRPr lang="en-GB" sz="1600" kern="1200" baseline="0">
            <a:solidFill>
              <a:schemeClr val="tx2"/>
            </a:solidFill>
          </a:endParaRPr>
        </a:p>
      </dsp:txBody>
      <dsp:txXfrm>
        <a:off x="1963618" y="1544784"/>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US" sz="1800" kern="1200"/>
            <a:t>On-premises Data Gateway</a:t>
          </a:r>
        </a:p>
        <a:p>
          <a:pPr marL="0" lvl="0" indent="0" algn="ctr" defTabSz="800100">
            <a:lnSpc>
              <a:spcPct val="90000"/>
            </a:lnSpc>
            <a:spcBef>
              <a:spcPct val="0"/>
            </a:spcBef>
            <a:spcAft>
              <a:spcPct val="35000"/>
            </a:spcAft>
            <a:buNone/>
          </a:pPr>
          <a:r>
            <a:rPr lang="en-US" sz="1800" kern="1200"/>
            <a:t>(Personal Mode)</a:t>
          </a:r>
          <a:endParaRPr lang="en-GB" sz="1800" kern="1200">
            <a:solidFill>
              <a:schemeClr val="bg2"/>
            </a:solidFill>
          </a:endParaRPr>
        </a:p>
      </dsp:txBody>
      <dsp:txXfrm>
        <a:off x="0" y="1528462"/>
        <a:ext cx="1963618" cy="1440619"/>
      </dsp:txXfrm>
    </dsp:sp>
    <dsp:sp modelId="{42C6F561-9A42-4F35-A953-44EBD3F69FDE}">
      <dsp:nvSpPr>
        <dsp:cNvPr id="0" name=""/>
        <dsp:cNvSpPr/>
      </dsp:nvSpPr>
      <dsp:spPr>
        <a:xfrm>
          <a:off x="1963618" y="3056925"/>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b="0" i="0" kern="1200"/>
            <a:t>Supports connectivity for many users.</a:t>
          </a:r>
        </a:p>
        <a:p>
          <a:pPr marL="0" lvl="0" indent="0" algn="l" defTabSz="711200">
            <a:lnSpc>
              <a:spcPct val="90000"/>
            </a:lnSpc>
            <a:spcBef>
              <a:spcPct val="0"/>
            </a:spcBef>
            <a:spcAft>
              <a:spcPct val="35000"/>
            </a:spcAft>
            <a:buFont typeface="Arial" panose="020B0604020202020204" pitchFamily="34" charset="0"/>
            <a:buNone/>
          </a:pPr>
          <a:r>
            <a:rPr lang="en-US" sz="1600" b="0" i="0" kern="1200"/>
            <a:t>Supports connectivity for datasets and dataflows stored in workspaces assigned to Premium capacity or Premium Per User.</a:t>
          </a:r>
          <a:endParaRPr lang="en-GB" sz="1600" kern="1200">
            <a:solidFill>
              <a:schemeClr val="tx2"/>
            </a:solidFill>
          </a:endParaRPr>
        </a:p>
      </dsp:txBody>
      <dsp:txXfrm>
        <a:off x="1963618" y="3056925"/>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2"/>
              </a:solidFill>
            </a:rPr>
            <a:t>Virtual Network Data Gateway</a:t>
          </a:r>
        </a:p>
      </dsp:txBody>
      <dsp:txXfrm>
        <a:off x="0" y="3055519"/>
        <a:ext cx="1963618" cy="1440619"/>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2182890"/>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554454" rIns="152399" bIns="554454"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connectivity information and privacy levels.</a:t>
          </a: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stored credentials (including responsibility for updating routine password change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Departmental data source users who are permitted to use each data source.</a:t>
          </a:r>
          <a:endParaRPr lang="de-DE" sz="1600" kern="1200">
            <a:solidFill>
              <a:schemeClr val="tx2"/>
            </a:solidFill>
          </a:endParaRPr>
        </a:p>
      </dsp:txBody>
      <dsp:txXfrm>
        <a:off x="1963618" y="0"/>
        <a:ext cx="7854474" cy="2182890"/>
      </dsp:txXfrm>
    </dsp:sp>
    <dsp:sp modelId="{E9F836B8-166B-45D6-9F84-CEA44AD858A3}">
      <dsp:nvSpPr>
        <dsp:cNvPr id="0" name=""/>
        <dsp:cNvSpPr/>
      </dsp:nvSpPr>
      <dsp:spPr>
        <a:xfrm>
          <a:off x="0" y="395"/>
          <a:ext cx="1963618" cy="2182890"/>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215621" rIns="103908" bIns="215621" numCol="1" spcCol="1270" anchor="ctr" anchorCtr="0">
          <a:noAutofit/>
        </a:bodyPr>
        <a:lstStyle/>
        <a:p>
          <a:pPr marL="0" lvl="0" indent="0" algn="ctr" defTabSz="800100">
            <a:lnSpc>
              <a:spcPct val="90000"/>
            </a:lnSpc>
            <a:spcBef>
              <a:spcPct val="0"/>
            </a:spcBef>
            <a:spcAft>
              <a:spcPct val="35000"/>
            </a:spcAft>
            <a:buNone/>
          </a:pPr>
          <a:r>
            <a:rPr lang="en-US" sz="1800" kern="1200"/>
            <a:t>Managed by</a:t>
          </a:r>
          <a:r>
            <a:rPr lang="de-DE" sz="1800" b="0" i="0" kern="1200"/>
            <a:t> </a:t>
          </a:r>
          <a:r>
            <a:rPr lang="de-DE" sz="1800" b="0" i="0" kern="1200" err="1"/>
            <a:t>decentralized</a:t>
          </a:r>
          <a:r>
            <a:rPr lang="de-DE" sz="1800" b="0" i="0" kern="1200"/>
            <a:t> </a:t>
          </a:r>
          <a:r>
            <a:rPr lang="de-DE" sz="1800" b="0" i="0" kern="1200" err="1"/>
            <a:t>data</a:t>
          </a:r>
          <a:r>
            <a:rPr lang="de-DE" sz="1800" b="0" i="0" kern="1200"/>
            <a:t> </a:t>
          </a:r>
          <a:r>
            <a:rPr lang="de-DE" sz="1800" b="0" i="0" kern="1200" err="1"/>
            <a:t>owners</a:t>
          </a:r>
          <a:r>
            <a:rPr lang="en-US" sz="1800" kern="1200"/>
            <a:t> </a:t>
          </a:r>
        </a:p>
      </dsp:txBody>
      <dsp:txXfrm>
        <a:off x="0" y="395"/>
        <a:ext cx="1963618" cy="2182890"/>
      </dsp:txXfrm>
    </dsp:sp>
    <dsp:sp modelId="{DF963225-B69D-4A74-A4C8-54F6919AC7F8}">
      <dsp:nvSpPr>
        <dsp:cNvPr id="0" name=""/>
        <dsp:cNvSpPr/>
      </dsp:nvSpPr>
      <dsp:spPr>
        <a:xfrm>
          <a:off x="1963618" y="2314654"/>
          <a:ext cx="7854474" cy="2182890"/>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554454" rIns="152399" bIns="554454" numCol="1" spcCol="1270" anchor="ctr" anchorCtr="0">
          <a:noAutofit/>
        </a:bodyPr>
        <a:lstStyle/>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connectivity information and privacy levels.</a:t>
          </a:r>
          <a:endParaRPr lang="en-GB" sz="1600" kern="1200" baseline="0">
            <a:solidFill>
              <a:schemeClr val="tx2"/>
            </a:solidFill>
          </a:endParaRPr>
        </a:p>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stored credentials (including responsibility for updating routine password changes).</a:t>
          </a:r>
          <a:endParaRPr lang="de-DE" sz="1600" kern="1200" baseline="0">
            <a:solidFill>
              <a:schemeClr val="tx2"/>
            </a:solidFill>
          </a:endParaRPr>
        </a:p>
        <a:p>
          <a:pPr marL="0" lvl="0" indent="0" algn="l" defTabSz="711200">
            <a:lnSpc>
              <a:spcPct val="100000"/>
            </a:lnSpc>
            <a:spcBef>
              <a:spcPct val="0"/>
            </a:spcBef>
            <a:spcAft>
              <a:spcPct val="35000"/>
            </a:spcAft>
            <a:buFont typeface="Arial" panose="020B0604020202020204" pitchFamily="34" charset="0"/>
            <a:buNone/>
          </a:pPr>
          <a:r>
            <a:rPr lang="en-US" sz="1600" kern="1200" baseline="0">
              <a:solidFill>
                <a:schemeClr val="tx2"/>
              </a:solidFill>
            </a:rPr>
            <a:t>Centralized data source users who are permitted to use each data source.</a:t>
          </a:r>
          <a:endParaRPr lang="de-DE" sz="1600" kern="1200" baseline="0">
            <a:solidFill>
              <a:schemeClr val="tx2"/>
            </a:solidFill>
          </a:endParaRPr>
        </a:p>
      </dsp:txBody>
      <dsp:txXfrm>
        <a:off x="1963618" y="2314654"/>
        <a:ext cx="7854474" cy="2182890"/>
      </dsp:txXfrm>
    </dsp:sp>
    <dsp:sp modelId="{54AC7EA8-AD67-4C0D-A259-7A17F4D1737E}">
      <dsp:nvSpPr>
        <dsp:cNvPr id="0" name=""/>
        <dsp:cNvSpPr/>
      </dsp:nvSpPr>
      <dsp:spPr>
        <a:xfrm>
          <a:off x="0" y="2314259"/>
          <a:ext cx="1963618" cy="2182890"/>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215621" rIns="103908" bIns="215621" numCol="1" spcCol="1270" anchor="ctr" anchorCtr="0">
          <a:noAutofit/>
        </a:bodyPr>
        <a:lstStyle/>
        <a:p>
          <a:pPr marL="0" lvl="0" indent="0" algn="ctr" defTabSz="800100">
            <a:lnSpc>
              <a:spcPct val="90000"/>
            </a:lnSpc>
            <a:spcBef>
              <a:spcPct val="0"/>
            </a:spcBef>
            <a:spcAft>
              <a:spcPct val="35000"/>
            </a:spcAft>
            <a:buNone/>
          </a:pPr>
          <a:r>
            <a:rPr lang="en-US" sz="1800" b="0" i="0" kern="1200"/>
            <a:t>Managed by centralized data owners</a:t>
          </a:r>
          <a:endParaRPr lang="en-GB" sz="1800" kern="1200">
            <a:solidFill>
              <a:schemeClr val="bg2"/>
            </a:solidFill>
          </a:endParaRPr>
        </a:p>
      </dsp:txBody>
      <dsp:txXfrm>
        <a:off x="0" y="2314259"/>
        <a:ext cx="1963618" cy="218289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4392"/>
          <a:ext cx="7854474" cy="4493152"/>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1141261" rIns="152399" bIns="1141261"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Gateway software updates (gateway updates are usually released monthly).</a:t>
          </a: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Installation of drivers and custom connectors (the same ones that are installed on user machine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Gateway cluster management (number of machines in the gateway cluster for high availability, disaster recovery, and to eliminate a single point of failure, which can cause significant user disruption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Server management (for example, operating system, RAM, CPU, or networking connectivity).</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Management and backup of encryption keys.</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Monitoring of gateway logs to assess when scale-up or scale-out is necessary.</a:t>
          </a:r>
          <a:endParaRPr lang="de-DE" sz="1600" kern="1200">
            <a:solidFill>
              <a:schemeClr val="tx2"/>
            </a:solidFill>
          </a:endParaRPr>
        </a:p>
        <a:p>
          <a:pPr marL="0" lvl="0" indent="0" algn="l" defTabSz="711200">
            <a:lnSpc>
              <a:spcPct val="90000"/>
            </a:lnSpc>
            <a:spcBef>
              <a:spcPct val="0"/>
            </a:spcBef>
            <a:spcAft>
              <a:spcPct val="35000"/>
            </a:spcAft>
            <a:buFont typeface="Arial" panose="020B0604020202020204" pitchFamily="34" charset="0"/>
            <a:buNone/>
          </a:pPr>
          <a:r>
            <a:rPr lang="en-US" sz="1600" kern="1200">
              <a:solidFill>
                <a:schemeClr val="tx2"/>
              </a:solidFill>
            </a:rPr>
            <a:t>Alerting of downtime or persistent low machine resources.</a:t>
          </a:r>
        </a:p>
      </dsp:txBody>
      <dsp:txXfrm>
        <a:off x="1963618" y="4392"/>
        <a:ext cx="7854474" cy="4493152"/>
      </dsp:txXfrm>
    </dsp:sp>
    <dsp:sp modelId="{E9F836B8-166B-45D6-9F84-CEA44AD858A3}">
      <dsp:nvSpPr>
        <dsp:cNvPr id="0" name=""/>
        <dsp:cNvSpPr/>
      </dsp:nvSpPr>
      <dsp:spPr>
        <a:xfrm>
          <a:off x="0" y="2196"/>
          <a:ext cx="1963618" cy="4493152"/>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443824" rIns="103908" bIns="443824" numCol="1" spcCol="1270" anchor="ctr" anchorCtr="0">
          <a:noAutofit/>
        </a:bodyPr>
        <a:lstStyle/>
        <a:p>
          <a:pPr marL="0" lvl="0" indent="0" algn="ctr" defTabSz="800100">
            <a:lnSpc>
              <a:spcPct val="90000"/>
            </a:lnSpc>
            <a:spcBef>
              <a:spcPct val="0"/>
            </a:spcBef>
            <a:spcAft>
              <a:spcPct val="35000"/>
            </a:spcAft>
            <a:buNone/>
          </a:pPr>
          <a:r>
            <a:rPr lang="de-DE" sz="1800" b="0" i="0" kern="1200"/>
            <a:t>Managed by IT</a:t>
          </a:r>
          <a:endParaRPr lang="en-US" sz="1800" kern="1200"/>
        </a:p>
      </dsp:txBody>
      <dsp:txXfrm>
        <a:off x="0" y="2196"/>
        <a:ext cx="1963618" cy="449315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587C9F-B446-4D5B-8CAF-5E2324A6DE5C}">
      <dsp:nvSpPr>
        <dsp:cNvPr id="0" name=""/>
        <dsp:cNvSpPr/>
      </dsp:nvSpPr>
      <dsp:spPr>
        <a:xfrm>
          <a:off x="2823951" y="4296444"/>
          <a:ext cx="564183" cy="1212994"/>
        </a:xfrm>
        <a:custGeom>
          <a:avLst/>
          <a:gdLst/>
          <a:ahLst/>
          <a:cxnLst/>
          <a:rect l="0" t="0" r="0" b="0"/>
          <a:pathLst>
            <a:path>
              <a:moveTo>
                <a:pt x="0" y="0"/>
              </a:moveTo>
              <a:lnTo>
                <a:pt x="282091" y="0"/>
              </a:lnTo>
              <a:lnTo>
                <a:pt x="282091" y="1212994"/>
              </a:lnTo>
              <a:lnTo>
                <a:pt x="564183" y="1212994"/>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CAB2FC-CDD3-4A35-A221-9A549B4B8A33}">
      <dsp:nvSpPr>
        <dsp:cNvPr id="0" name=""/>
        <dsp:cNvSpPr/>
      </dsp:nvSpPr>
      <dsp:spPr>
        <a:xfrm>
          <a:off x="2823951" y="4250724"/>
          <a:ext cx="564183" cy="91440"/>
        </a:xfrm>
        <a:custGeom>
          <a:avLst/>
          <a:gdLst/>
          <a:ahLst/>
          <a:cxnLst/>
          <a:rect l="0" t="0" r="0" b="0"/>
          <a:pathLst>
            <a:path>
              <a:moveTo>
                <a:pt x="0" y="45720"/>
              </a:moveTo>
              <a:lnTo>
                <a:pt x="564183"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DEA176-23F1-49DC-93D7-61E1A4F2D62C}">
      <dsp:nvSpPr>
        <dsp:cNvPr id="0" name=""/>
        <dsp:cNvSpPr/>
      </dsp:nvSpPr>
      <dsp:spPr>
        <a:xfrm>
          <a:off x="2823951" y="3083450"/>
          <a:ext cx="564183" cy="1212994"/>
        </a:xfrm>
        <a:custGeom>
          <a:avLst/>
          <a:gdLst/>
          <a:ahLst/>
          <a:cxnLst/>
          <a:rect l="0" t="0" r="0" b="0"/>
          <a:pathLst>
            <a:path>
              <a:moveTo>
                <a:pt x="0" y="1212994"/>
              </a:moveTo>
              <a:lnTo>
                <a:pt x="282091" y="1212994"/>
              </a:lnTo>
              <a:lnTo>
                <a:pt x="282091" y="0"/>
              </a:lnTo>
              <a:lnTo>
                <a:pt x="564183"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1FCC22-A997-4163-86D1-18CF96D2C847}">
      <dsp:nvSpPr>
        <dsp:cNvPr id="0" name=""/>
        <dsp:cNvSpPr/>
      </dsp:nvSpPr>
      <dsp:spPr>
        <a:xfrm>
          <a:off x="2823951" y="1263957"/>
          <a:ext cx="564183" cy="606497"/>
        </a:xfrm>
        <a:custGeom>
          <a:avLst/>
          <a:gdLst/>
          <a:ahLst/>
          <a:cxnLst/>
          <a:rect l="0" t="0" r="0" b="0"/>
          <a:pathLst>
            <a:path>
              <a:moveTo>
                <a:pt x="0" y="0"/>
              </a:moveTo>
              <a:lnTo>
                <a:pt x="282091" y="0"/>
              </a:lnTo>
              <a:lnTo>
                <a:pt x="282091" y="606497"/>
              </a:lnTo>
              <a:lnTo>
                <a:pt x="564183" y="606497"/>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3BB0EA-F195-438F-8A00-24E5C8226EA3}">
      <dsp:nvSpPr>
        <dsp:cNvPr id="0" name=""/>
        <dsp:cNvSpPr/>
      </dsp:nvSpPr>
      <dsp:spPr>
        <a:xfrm>
          <a:off x="2823951" y="657460"/>
          <a:ext cx="564183" cy="606497"/>
        </a:xfrm>
        <a:custGeom>
          <a:avLst/>
          <a:gdLst/>
          <a:ahLst/>
          <a:cxnLst/>
          <a:rect l="0" t="0" r="0" b="0"/>
          <a:pathLst>
            <a:path>
              <a:moveTo>
                <a:pt x="0" y="606497"/>
              </a:moveTo>
              <a:lnTo>
                <a:pt x="282091" y="606497"/>
              </a:lnTo>
              <a:lnTo>
                <a:pt x="282091" y="0"/>
              </a:lnTo>
              <a:lnTo>
                <a:pt x="564183"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B685FD-79F8-49D8-B895-E2380080227F}">
      <dsp:nvSpPr>
        <dsp:cNvPr id="0" name=""/>
        <dsp:cNvSpPr/>
      </dsp:nvSpPr>
      <dsp:spPr>
        <a:xfrm>
          <a:off x="3033" y="833767"/>
          <a:ext cx="2820917" cy="860379"/>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Data Location</a:t>
          </a:r>
          <a:endParaRPr lang="en-GB" sz="2700" kern="1200">
            <a:solidFill>
              <a:schemeClr val="tx1"/>
            </a:solidFill>
          </a:endParaRPr>
        </a:p>
      </dsp:txBody>
      <dsp:txXfrm>
        <a:off x="3033" y="833767"/>
        <a:ext cx="2820917" cy="860379"/>
      </dsp:txXfrm>
    </dsp:sp>
    <dsp:sp modelId="{83A068E7-16B4-4313-9BD7-86F2CC6ED717}">
      <dsp:nvSpPr>
        <dsp:cNvPr id="0" name=""/>
        <dsp:cNvSpPr/>
      </dsp:nvSpPr>
      <dsp:spPr>
        <a:xfrm>
          <a:off x="3388134" y="227270"/>
          <a:ext cx="2820917" cy="860379"/>
        </a:xfrm>
        <a:prstGeom prst="rect">
          <a:avLst/>
        </a:prstGeom>
        <a:solidFill>
          <a:srgbClr val="F2C811"/>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GB" sz="2700" kern="1200">
              <a:solidFill>
                <a:schemeClr val="tx1"/>
              </a:solidFill>
            </a:rPr>
            <a:t>On-Premises</a:t>
          </a:r>
        </a:p>
      </dsp:txBody>
      <dsp:txXfrm>
        <a:off x="3388134" y="227270"/>
        <a:ext cx="2820917" cy="860379"/>
      </dsp:txXfrm>
    </dsp:sp>
    <dsp:sp modelId="{808B666D-E5F6-46A6-9724-A881F7C0FFFF}">
      <dsp:nvSpPr>
        <dsp:cNvPr id="0" name=""/>
        <dsp:cNvSpPr/>
      </dsp:nvSpPr>
      <dsp:spPr>
        <a:xfrm>
          <a:off x="3388134" y="1440265"/>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Cloud</a:t>
          </a:r>
          <a:endParaRPr lang="en-GB" sz="2700" kern="1200">
            <a:solidFill>
              <a:schemeClr val="tx1"/>
            </a:solidFill>
          </a:endParaRPr>
        </a:p>
      </dsp:txBody>
      <dsp:txXfrm>
        <a:off x="3388134" y="1440265"/>
        <a:ext cx="2820917" cy="860379"/>
      </dsp:txXfrm>
    </dsp:sp>
    <dsp:sp modelId="{16BDD1B1-6573-49A9-B5D7-5900380DA9FE}">
      <dsp:nvSpPr>
        <dsp:cNvPr id="0" name=""/>
        <dsp:cNvSpPr/>
      </dsp:nvSpPr>
      <dsp:spPr>
        <a:xfrm>
          <a:off x="3033" y="3866254"/>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Data Access</a:t>
          </a:r>
          <a:endParaRPr lang="en-GB" sz="2700" kern="1200">
            <a:solidFill>
              <a:schemeClr val="tx1"/>
            </a:solidFill>
          </a:endParaRPr>
        </a:p>
      </dsp:txBody>
      <dsp:txXfrm>
        <a:off x="3033" y="3866254"/>
        <a:ext cx="2820917" cy="860379"/>
      </dsp:txXfrm>
    </dsp:sp>
    <dsp:sp modelId="{30F0C7C1-13E3-42E2-8FFB-DF4C270C725C}">
      <dsp:nvSpPr>
        <dsp:cNvPr id="0" name=""/>
        <dsp:cNvSpPr/>
      </dsp:nvSpPr>
      <dsp:spPr>
        <a:xfrm>
          <a:off x="3388134" y="2653260"/>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Sharing</a:t>
          </a:r>
          <a:endParaRPr lang="en-GB" sz="2700" kern="1200">
            <a:solidFill>
              <a:schemeClr val="tx1"/>
            </a:solidFill>
          </a:endParaRPr>
        </a:p>
      </dsp:txBody>
      <dsp:txXfrm>
        <a:off x="3388134" y="2653260"/>
        <a:ext cx="2820917" cy="860379"/>
      </dsp:txXfrm>
    </dsp:sp>
    <dsp:sp modelId="{1EADD7DE-598F-474D-8DE1-B38E166EFCE4}">
      <dsp:nvSpPr>
        <dsp:cNvPr id="0" name=""/>
        <dsp:cNvSpPr/>
      </dsp:nvSpPr>
      <dsp:spPr>
        <a:xfrm>
          <a:off x="3388134" y="3866254"/>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baseline="0">
              <a:solidFill>
                <a:schemeClr val="tx1"/>
              </a:solidFill>
            </a:rPr>
            <a:t>Row-Level Security</a:t>
          </a:r>
          <a:endParaRPr lang="en-GB" sz="2700" kern="1200">
            <a:solidFill>
              <a:schemeClr val="tx1"/>
            </a:solidFill>
          </a:endParaRPr>
        </a:p>
      </dsp:txBody>
      <dsp:txXfrm>
        <a:off x="3388134" y="3866254"/>
        <a:ext cx="2820917" cy="860379"/>
      </dsp:txXfrm>
    </dsp:sp>
    <dsp:sp modelId="{8E5C6820-90B3-4DDB-AD4C-95FBE90236CE}">
      <dsp:nvSpPr>
        <dsp:cNvPr id="0" name=""/>
        <dsp:cNvSpPr/>
      </dsp:nvSpPr>
      <dsp:spPr>
        <a:xfrm>
          <a:off x="3388134" y="5079249"/>
          <a:ext cx="2820917" cy="860379"/>
        </a:xfrm>
        <a:prstGeom prst="rect">
          <a:avLst/>
        </a:prstGeom>
        <a:solidFill>
          <a:srgbClr val="EDC30D"/>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GB" sz="2700" kern="1200">
              <a:solidFill>
                <a:schemeClr val="tx1"/>
              </a:solidFill>
            </a:rPr>
            <a:t>Public</a:t>
          </a:r>
        </a:p>
      </dsp:txBody>
      <dsp:txXfrm>
        <a:off x="3388134" y="5079249"/>
        <a:ext cx="2820917" cy="8603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B13FB-C175-43C8-9A82-D1F3806A9FD4}">
      <dsp:nvSpPr>
        <dsp:cNvPr id="0" name=""/>
        <dsp:cNvSpPr/>
      </dsp:nvSpPr>
      <dsp:spPr>
        <a:xfrm rot="5400000">
          <a:off x="1950488" y="1229943"/>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4A309D-CD76-47D0-9FEB-D4A4C8104933}">
      <dsp:nvSpPr>
        <dsp:cNvPr id="0" name=""/>
        <dsp:cNvSpPr/>
      </dsp:nvSpPr>
      <dsp:spPr>
        <a:xfrm>
          <a:off x="1751963" y="1821234"/>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Awareness</a:t>
          </a:r>
        </a:p>
        <a:p>
          <a:pPr marL="0" lvl="0" indent="0" algn="ctr" defTabSz="800100">
            <a:lnSpc>
              <a:spcPct val="90000"/>
            </a:lnSpc>
            <a:spcBef>
              <a:spcPct val="0"/>
            </a:spcBef>
            <a:spcAft>
              <a:spcPct val="35000"/>
            </a:spcAft>
            <a:buNone/>
          </a:pPr>
          <a:r>
            <a:rPr lang="en-GB" sz="1400" kern="1200">
              <a:solidFill>
                <a:schemeClr val="tx1"/>
              </a:solidFill>
            </a:rPr>
            <a:t>“Provide Context”</a:t>
          </a:r>
        </a:p>
      </dsp:txBody>
      <dsp:txXfrm>
        <a:off x="1751963" y="1821234"/>
        <a:ext cx="1786639" cy="1566094"/>
      </dsp:txXfrm>
    </dsp:sp>
    <dsp:sp modelId="{A13FD09B-E81E-4C82-ABEB-743DDB7B197F}">
      <dsp:nvSpPr>
        <dsp:cNvPr id="0" name=""/>
        <dsp:cNvSpPr/>
      </dsp:nvSpPr>
      <dsp:spPr>
        <a:xfrm>
          <a:off x="3201500" y="1084248"/>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128CB3-EB23-4448-97A8-7F6DA8EB47A5}">
      <dsp:nvSpPr>
        <dsp:cNvPr id="0" name=""/>
        <dsp:cNvSpPr/>
      </dsp:nvSpPr>
      <dsp:spPr>
        <a:xfrm rot="5400000">
          <a:off x="4137684" y="688720"/>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5C4198-D625-466B-BFF9-B894A694AA10}">
      <dsp:nvSpPr>
        <dsp:cNvPr id="0" name=""/>
        <dsp:cNvSpPr/>
      </dsp:nvSpPr>
      <dsp:spPr>
        <a:xfrm>
          <a:off x="3939158" y="1280010"/>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Understanding</a:t>
          </a:r>
        </a:p>
        <a:p>
          <a:pPr marL="0" lvl="0" indent="0" algn="ctr" defTabSz="800100">
            <a:lnSpc>
              <a:spcPct val="90000"/>
            </a:lnSpc>
            <a:spcBef>
              <a:spcPct val="0"/>
            </a:spcBef>
            <a:spcAft>
              <a:spcPct val="35000"/>
            </a:spcAft>
            <a:buNone/>
          </a:pPr>
          <a:r>
            <a:rPr lang="en-GB" sz="1400" kern="1200">
              <a:solidFill>
                <a:schemeClr val="tx1"/>
              </a:solidFill>
            </a:rPr>
            <a:t>“Create Momentum”</a:t>
          </a:r>
        </a:p>
      </dsp:txBody>
      <dsp:txXfrm>
        <a:off x="3939158" y="1280010"/>
        <a:ext cx="1786639" cy="1566094"/>
      </dsp:txXfrm>
    </dsp:sp>
    <dsp:sp modelId="{42F54CD2-B31B-4819-913D-89EC340297F0}">
      <dsp:nvSpPr>
        <dsp:cNvPr id="0" name=""/>
        <dsp:cNvSpPr/>
      </dsp:nvSpPr>
      <dsp:spPr>
        <a:xfrm>
          <a:off x="5388696" y="543025"/>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5A256-266D-4BE7-AFD3-BCD01C5DAD2B}">
      <dsp:nvSpPr>
        <dsp:cNvPr id="0" name=""/>
        <dsp:cNvSpPr/>
      </dsp:nvSpPr>
      <dsp:spPr>
        <a:xfrm rot="5400000">
          <a:off x="6324879" y="147496"/>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0F3DFB-641A-4E3F-AB78-BBB58F9DA603}">
      <dsp:nvSpPr>
        <dsp:cNvPr id="0" name=""/>
        <dsp:cNvSpPr/>
      </dsp:nvSpPr>
      <dsp:spPr>
        <a:xfrm>
          <a:off x="6126354" y="738786"/>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Enablement</a:t>
          </a:r>
        </a:p>
        <a:p>
          <a:pPr marL="0" lvl="0" indent="0" algn="ctr" defTabSz="800100">
            <a:lnSpc>
              <a:spcPct val="90000"/>
            </a:lnSpc>
            <a:spcBef>
              <a:spcPct val="0"/>
            </a:spcBef>
            <a:spcAft>
              <a:spcPct val="35000"/>
            </a:spcAft>
            <a:buNone/>
          </a:pPr>
          <a:r>
            <a:rPr lang="en-GB" sz="1400" kern="1200">
              <a:solidFill>
                <a:schemeClr val="tx1"/>
              </a:solidFill>
            </a:rPr>
            <a:t>“Increase knowledge, </a:t>
          </a:r>
        </a:p>
        <a:p>
          <a:pPr marL="0" lvl="0" indent="0" algn="ctr" defTabSz="800100">
            <a:lnSpc>
              <a:spcPct val="90000"/>
            </a:lnSpc>
            <a:spcBef>
              <a:spcPct val="0"/>
            </a:spcBef>
            <a:spcAft>
              <a:spcPct val="35000"/>
            </a:spcAft>
            <a:buNone/>
          </a:pPr>
          <a:r>
            <a:rPr lang="en-GB" sz="1400" kern="1200">
              <a:solidFill>
                <a:schemeClr val="tx1"/>
              </a:solidFill>
            </a:rPr>
            <a:t>Provide support”</a:t>
          </a:r>
        </a:p>
      </dsp:txBody>
      <dsp:txXfrm>
        <a:off x="6126354" y="738786"/>
        <a:ext cx="1786639" cy="1566094"/>
      </dsp:txXfrm>
    </dsp:sp>
    <dsp:sp modelId="{81D15E99-D550-4B39-A864-34A6E38FCB65}">
      <dsp:nvSpPr>
        <dsp:cNvPr id="0" name=""/>
        <dsp:cNvSpPr/>
      </dsp:nvSpPr>
      <dsp:spPr>
        <a:xfrm>
          <a:off x="7575891" y="1801"/>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F426B4-E48A-4252-BAAD-B02755E253BB}">
      <dsp:nvSpPr>
        <dsp:cNvPr id="0" name=""/>
        <dsp:cNvSpPr/>
      </dsp:nvSpPr>
      <dsp:spPr>
        <a:xfrm rot="5400000">
          <a:off x="8512075" y="-393727"/>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EFA488-19BB-4254-8BDC-9FD2C7E7B549}">
      <dsp:nvSpPr>
        <dsp:cNvPr id="0" name=""/>
        <dsp:cNvSpPr/>
      </dsp:nvSpPr>
      <dsp:spPr>
        <a:xfrm>
          <a:off x="8313549" y="197563"/>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a:solidFill>
                <a:schemeClr val="tx1"/>
              </a:solidFill>
            </a:rPr>
            <a:t>Adoption</a:t>
          </a:r>
        </a:p>
        <a:p>
          <a:pPr marL="0" lvl="0" indent="0" algn="ctr" defTabSz="800100">
            <a:lnSpc>
              <a:spcPct val="90000"/>
            </a:lnSpc>
            <a:spcBef>
              <a:spcPct val="0"/>
            </a:spcBef>
            <a:spcAft>
              <a:spcPct val="35000"/>
            </a:spcAft>
            <a:buNone/>
          </a:pPr>
          <a:r>
            <a:rPr lang="en-GB" sz="1400" kern="1200">
              <a:solidFill>
                <a:schemeClr val="tx1"/>
              </a:solidFill>
            </a:rPr>
            <a:t>“Change Behaviours”</a:t>
          </a:r>
        </a:p>
      </dsp:txBody>
      <dsp:txXfrm>
        <a:off x="8313549" y="197563"/>
        <a:ext cx="1786639" cy="156609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194065-8BB9-40A4-8875-C19BF6770BD1}">
      <dsp:nvSpPr>
        <dsp:cNvPr id="0" name=""/>
        <dsp:cNvSpPr/>
      </dsp:nvSpPr>
      <dsp:spPr>
        <a:xfrm>
          <a:off x="3147274" y="4727096"/>
          <a:ext cx="504626" cy="1084946"/>
        </a:xfrm>
        <a:custGeom>
          <a:avLst/>
          <a:gdLst/>
          <a:ahLst/>
          <a:cxnLst/>
          <a:rect l="0" t="0" r="0" b="0"/>
          <a:pathLst>
            <a:path>
              <a:moveTo>
                <a:pt x="0" y="0"/>
              </a:moveTo>
              <a:lnTo>
                <a:pt x="252313" y="0"/>
              </a:lnTo>
              <a:lnTo>
                <a:pt x="252313" y="1084946"/>
              </a:lnTo>
              <a:lnTo>
                <a:pt x="504626" y="1084946"/>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CF8413-0EEB-43DB-8CFA-C41D58448CE6}">
      <dsp:nvSpPr>
        <dsp:cNvPr id="0" name=""/>
        <dsp:cNvSpPr/>
      </dsp:nvSpPr>
      <dsp:spPr>
        <a:xfrm>
          <a:off x="3147274" y="4681376"/>
          <a:ext cx="504626" cy="91440"/>
        </a:xfrm>
        <a:custGeom>
          <a:avLst/>
          <a:gdLst/>
          <a:ahLst/>
          <a:cxnLst/>
          <a:rect l="0" t="0" r="0" b="0"/>
          <a:pathLst>
            <a:path>
              <a:moveTo>
                <a:pt x="0" y="45720"/>
              </a:moveTo>
              <a:lnTo>
                <a:pt x="504626"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7B647A-4E85-476E-B0F2-05C7E9498437}">
      <dsp:nvSpPr>
        <dsp:cNvPr id="0" name=""/>
        <dsp:cNvSpPr/>
      </dsp:nvSpPr>
      <dsp:spPr>
        <a:xfrm>
          <a:off x="3147274" y="3642150"/>
          <a:ext cx="504626" cy="1084946"/>
        </a:xfrm>
        <a:custGeom>
          <a:avLst/>
          <a:gdLst/>
          <a:ahLst/>
          <a:cxnLst/>
          <a:rect l="0" t="0" r="0" b="0"/>
          <a:pathLst>
            <a:path>
              <a:moveTo>
                <a:pt x="0" y="1084946"/>
              </a:moveTo>
              <a:lnTo>
                <a:pt x="252313" y="1084946"/>
              </a:lnTo>
              <a:lnTo>
                <a:pt x="252313" y="0"/>
              </a:lnTo>
              <a:lnTo>
                <a:pt x="504626"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2187BD-A438-45F7-B04E-F9CF460E4C0F}">
      <dsp:nvSpPr>
        <dsp:cNvPr id="0" name=""/>
        <dsp:cNvSpPr/>
      </dsp:nvSpPr>
      <dsp:spPr>
        <a:xfrm>
          <a:off x="3147274" y="1472257"/>
          <a:ext cx="504626" cy="1084946"/>
        </a:xfrm>
        <a:custGeom>
          <a:avLst/>
          <a:gdLst/>
          <a:ahLst/>
          <a:cxnLst/>
          <a:rect l="0" t="0" r="0" b="0"/>
          <a:pathLst>
            <a:path>
              <a:moveTo>
                <a:pt x="0" y="0"/>
              </a:moveTo>
              <a:lnTo>
                <a:pt x="252313" y="0"/>
              </a:lnTo>
              <a:lnTo>
                <a:pt x="252313" y="1084946"/>
              </a:lnTo>
              <a:lnTo>
                <a:pt x="504626" y="1084946"/>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75CFDE-5DAB-4A9F-A066-D1C8A836DAB7}">
      <dsp:nvSpPr>
        <dsp:cNvPr id="0" name=""/>
        <dsp:cNvSpPr/>
      </dsp:nvSpPr>
      <dsp:spPr>
        <a:xfrm>
          <a:off x="3147274" y="1426537"/>
          <a:ext cx="504626" cy="91440"/>
        </a:xfrm>
        <a:custGeom>
          <a:avLst/>
          <a:gdLst/>
          <a:ahLst/>
          <a:cxnLst/>
          <a:rect l="0" t="0" r="0" b="0"/>
          <a:pathLst>
            <a:path>
              <a:moveTo>
                <a:pt x="0" y="45720"/>
              </a:moveTo>
              <a:lnTo>
                <a:pt x="504626" y="4572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E92C3F-5928-45C2-AFAF-03A82F740A80}">
      <dsp:nvSpPr>
        <dsp:cNvPr id="0" name=""/>
        <dsp:cNvSpPr/>
      </dsp:nvSpPr>
      <dsp:spPr>
        <a:xfrm>
          <a:off x="3147274" y="387310"/>
          <a:ext cx="504626" cy="1084946"/>
        </a:xfrm>
        <a:custGeom>
          <a:avLst/>
          <a:gdLst/>
          <a:ahLst/>
          <a:cxnLst/>
          <a:rect l="0" t="0" r="0" b="0"/>
          <a:pathLst>
            <a:path>
              <a:moveTo>
                <a:pt x="0" y="1084946"/>
              </a:moveTo>
              <a:lnTo>
                <a:pt x="252313" y="1084946"/>
              </a:lnTo>
              <a:lnTo>
                <a:pt x="252313" y="0"/>
              </a:lnTo>
              <a:lnTo>
                <a:pt x="504626" y="0"/>
              </a:lnTo>
            </a:path>
          </a:pathLst>
        </a:cu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3AFAB1-3D0B-41CE-8084-792C150D3A90}">
      <dsp:nvSpPr>
        <dsp:cNvPr id="0" name=""/>
        <dsp:cNvSpPr/>
      </dsp:nvSpPr>
      <dsp:spPr>
        <a:xfrm>
          <a:off x="624143" y="108747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baseline="0"/>
            <a:t>Plan for adoption</a:t>
          </a:r>
          <a:endParaRPr lang="en-GB" sz="2500" kern="1200"/>
        </a:p>
      </dsp:txBody>
      <dsp:txXfrm>
        <a:off x="624143" y="1087479"/>
        <a:ext cx="2523131" cy="769555"/>
      </dsp:txXfrm>
    </dsp:sp>
    <dsp:sp modelId="{7E860E76-4F9E-4821-8118-182994921227}">
      <dsp:nvSpPr>
        <dsp:cNvPr id="0" name=""/>
        <dsp:cNvSpPr/>
      </dsp:nvSpPr>
      <dsp:spPr>
        <a:xfrm>
          <a:off x="3651900" y="2533"/>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Training needs</a:t>
          </a:r>
          <a:endParaRPr lang="en-GB" sz="1800" kern="1200"/>
        </a:p>
      </dsp:txBody>
      <dsp:txXfrm>
        <a:off x="3651900" y="2533"/>
        <a:ext cx="2523131" cy="769555"/>
      </dsp:txXfrm>
    </dsp:sp>
    <dsp:sp modelId="{14C257C8-9A5A-4199-8400-B8F1BA216CDD}">
      <dsp:nvSpPr>
        <dsp:cNvPr id="0" name=""/>
        <dsp:cNvSpPr/>
      </dsp:nvSpPr>
      <dsp:spPr>
        <a:xfrm>
          <a:off x="3651900" y="108747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Change management</a:t>
          </a:r>
          <a:endParaRPr lang="en-GB" sz="1800" kern="1200"/>
        </a:p>
      </dsp:txBody>
      <dsp:txXfrm>
        <a:off x="3651900" y="1087479"/>
        <a:ext cx="2523131" cy="769555"/>
      </dsp:txXfrm>
    </dsp:sp>
    <dsp:sp modelId="{A0367830-297B-46FD-B40E-58BCFDB09A4C}">
      <dsp:nvSpPr>
        <dsp:cNvPr id="0" name=""/>
        <dsp:cNvSpPr/>
      </dsp:nvSpPr>
      <dsp:spPr>
        <a:xfrm>
          <a:off x="3651900" y="2172426"/>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Project Prioritisation</a:t>
          </a:r>
          <a:endParaRPr lang="en-GB" sz="1800" kern="1200"/>
        </a:p>
      </dsp:txBody>
      <dsp:txXfrm>
        <a:off x="3651900" y="2172426"/>
        <a:ext cx="2523131" cy="769555"/>
      </dsp:txXfrm>
    </dsp:sp>
    <dsp:sp modelId="{D54CD301-8086-46BB-86E9-AA4F9A74A139}">
      <dsp:nvSpPr>
        <dsp:cNvPr id="0" name=""/>
        <dsp:cNvSpPr/>
      </dsp:nvSpPr>
      <dsp:spPr>
        <a:xfrm>
          <a:off x="624143" y="434231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kern="1200" baseline="0"/>
            <a:t>Roll-Out strategy</a:t>
          </a:r>
          <a:endParaRPr lang="en-GB" sz="2500" kern="1200"/>
        </a:p>
      </dsp:txBody>
      <dsp:txXfrm>
        <a:off x="624143" y="4342319"/>
        <a:ext cx="2523131" cy="769555"/>
      </dsp:txXfrm>
    </dsp:sp>
    <dsp:sp modelId="{B7813D52-6C17-4B5A-8155-AA52F2827680}">
      <dsp:nvSpPr>
        <dsp:cNvPr id="0" name=""/>
        <dsp:cNvSpPr/>
      </dsp:nvSpPr>
      <dsp:spPr>
        <a:xfrm>
          <a:off x="3651900" y="3257372"/>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Smooth roll-out</a:t>
          </a:r>
          <a:endParaRPr lang="en-GB" sz="1800" kern="1200"/>
        </a:p>
      </dsp:txBody>
      <dsp:txXfrm>
        <a:off x="3651900" y="3257372"/>
        <a:ext cx="2523131" cy="769555"/>
      </dsp:txXfrm>
    </dsp:sp>
    <dsp:sp modelId="{FF0999A2-A371-438B-9636-8BC14C9A22B5}">
      <dsp:nvSpPr>
        <dsp:cNvPr id="0" name=""/>
        <dsp:cNvSpPr/>
      </dsp:nvSpPr>
      <dsp:spPr>
        <a:xfrm>
          <a:off x="3651900" y="4342319"/>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Enables employees</a:t>
          </a:r>
          <a:endParaRPr lang="en-GB" sz="1800" kern="1200"/>
        </a:p>
      </dsp:txBody>
      <dsp:txXfrm>
        <a:off x="3651900" y="4342319"/>
        <a:ext cx="2523131" cy="769555"/>
      </dsp:txXfrm>
    </dsp:sp>
    <dsp:sp modelId="{C8A9065A-A7A5-43B2-B96A-0D8660C0C64A}">
      <dsp:nvSpPr>
        <dsp:cNvPr id="0" name=""/>
        <dsp:cNvSpPr/>
      </dsp:nvSpPr>
      <dsp:spPr>
        <a:xfrm>
          <a:off x="3651900" y="5427265"/>
          <a:ext cx="2523131" cy="76955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baseline="0"/>
            <a:t>Timely support </a:t>
          </a:r>
          <a:endParaRPr lang="en-GB" sz="1800" kern="1200"/>
        </a:p>
      </dsp:txBody>
      <dsp:txXfrm>
        <a:off x="3651900" y="5427265"/>
        <a:ext cx="2523131" cy="769555"/>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7480A1-BFDC-4298-B195-411692E751F5}">
      <dsp:nvSpPr>
        <dsp:cNvPr id="0" name=""/>
        <dsp:cNvSpPr/>
      </dsp:nvSpPr>
      <dsp:spPr>
        <a:xfrm>
          <a:off x="1408" y="653150"/>
          <a:ext cx="5494955" cy="433884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Corporat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Product evaluation</a:t>
          </a:r>
          <a:endParaRPr lang="en-GB" sz="2000" kern="1200"/>
        </a:p>
        <a:p>
          <a:pPr marL="360000" lvl="1" indent="-228600" algn="l" defTabSz="889000">
            <a:lnSpc>
              <a:spcPct val="150000"/>
            </a:lnSpc>
            <a:spcBef>
              <a:spcPct val="0"/>
            </a:spcBef>
            <a:spcAft>
              <a:spcPct val="15000"/>
            </a:spcAft>
            <a:buNone/>
          </a:pPr>
          <a:r>
            <a:rPr lang="en-GB" sz="2000" kern="1200" baseline="0"/>
            <a:t>Governance and security standards</a:t>
          </a:r>
          <a:endParaRPr lang="en-GB" sz="2000" kern="1200"/>
        </a:p>
        <a:p>
          <a:pPr marL="360000" lvl="1" indent="-228600" algn="l" defTabSz="889000">
            <a:lnSpc>
              <a:spcPct val="150000"/>
            </a:lnSpc>
            <a:spcBef>
              <a:spcPct val="0"/>
            </a:spcBef>
            <a:spcAft>
              <a:spcPct val="15000"/>
            </a:spcAft>
            <a:buNone/>
          </a:pPr>
          <a:r>
            <a:rPr lang="en-GB" sz="2000" kern="1200" baseline="0"/>
            <a:t>Infrastructure setup</a:t>
          </a:r>
          <a:endParaRPr lang="en-GB" sz="2000" kern="1200"/>
        </a:p>
        <a:p>
          <a:pPr marL="360000" lvl="1" indent="-228600" algn="l" defTabSz="889000">
            <a:lnSpc>
              <a:spcPct val="150000"/>
            </a:lnSpc>
            <a:spcBef>
              <a:spcPct val="0"/>
            </a:spcBef>
            <a:spcAft>
              <a:spcPct val="15000"/>
            </a:spcAft>
            <a:buNone/>
          </a:pPr>
          <a:r>
            <a:rPr lang="en-GB" sz="2000" kern="1200" baseline="0"/>
            <a:t>Support structure</a:t>
          </a:r>
          <a:endParaRPr lang="en-GB" sz="2000" kern="1200"/>
        </a:p>
        <a:p>
          <a:pPr marL="360000" lvl="1" indent="-228600" algn="l" defTabSz="889000">
            <a:lnSpc>
              <a:spcPct val="150000"/>
            </a:lnSpc>
            <a:spcBef>
              <a:spcPct val="0"/>
            </a:spcBef>
            <a:spcAft>
              <a:spcPct val="15000"/>
            </a:spcAft>
            <a:buNone/>
          </a:pPr>
          <a:r>
            <a:rPr lang="en-GB" sz="2000" kern="1200" baseline="0"/>
            <a:t>IT led solution delivery</a:t>
          </a:r>
          <a:endParaRPr lang="en-GB" sz="2000" kern="1200"/>
        </a:p>
        <a:p>
          <a:pPr marL="360000" lvl="1" indent="-228600" algn="l" defTabSz="889000">
            <a:lnSpc>
              <a:spcPct val="150000"/>
            </a:lnSpc>
            <a:spcBef>
              <a:spcPct val="0"/>
            </a:spcBef>
            <a:spcAft>
              <a:spcPct val="15000"/>
            </a:spcAft>
            <a:buNone/>
          </a:pPr>
          <a:r>
            <a:rPr lang="en-GB" sz="2000" kern="1200" baseline="0"/>
            <a:t>Training Program</a:t>
          </a:r>
          <a:endParaRPr lang="en-GB" sz="2000" kern="1200"/>
        </a:p>
      </dsp:txBody>
      <dsp:txXfrm>
        <a:off x="1408" y="653150"/>
        <a:ext cx="5494955" cy="4338849"/>
      </dsp:txXfrm>
    </dsp:sp>
    <dsp:sp modelId="{9C0711DF-9261-4564-AFC3-163E9BED3EB0}">
      <dsp:nvSpPr>
        <dsp:cNvPr id="0" name=""/>
        <dsp:cNvSpPr/>
      </dsp:nvSpPr>
      <dsp:spPr>
        <a:xfrm>
          <a:off x="6045859" y="666206"/>
          <a:ext cx="5494955" cy="4312737"/>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Business-Led Self Servic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Build on the foundation laid down by IT</a:t>
          </a:r>
          <a:endParaRPr lang="en-GB" sz="2000" kern="1200"/>
        </a:p>
        <a:p>
          <a:pPr marL="360000" lvl="1" indent="-228600" algn="l" defTabSz="889000">
            <a:lnSpc>
              <a:spcPct val="150000"/>
            </a:lnSpc>
            <a:spcBef>
              <a:spcPct val="0"/>
            </a:spcBef>
            <a:spcAft>
              <a:spcPct val="15000"/>
            </a:spcAft>
            <a:buNone/>
          </a:pPr>
          <a:r>
            <a:rPr lang="en-GB" sz="2000" kern="1200" baseline="0"/>
            <a:t>Identification of Power BI Champions</a:t>
          </a:r>
          <a:endParaRPr lang="en-GB" sz="2000" kern="1200"/>
        </a:p>
        <a:p>
          <a:pPr marL="360000" lvl="1" indent="-228600" algn="l" defTabSz="889000">
            <a:lnSpc>
              <a:spcPct val="150000"/>
            </a:lnSpc>
            <a:spcBef>
              <a:spcPct val="0"/>
            </a:spcBef>
            <a:spcAft>
              <a:spcPct val="15000"/>
            </a:spcAft>
            <a:buNone/>
          </a:pPr>
          <a:r>
            <a:rPr lang="en-GB" sz="2000" kern="1200" baseline="0"/>
            <a:t>Roll-out at a team/department level</a:t>
          </a:r>
          <a:endParaRPr lang="en-GB" sz="2000" kern="1200"/>
        </a:p>
      </dsp:txBody>
      <dsp:txXfrm>
        <a:off x="6045859" y="666206"/>
        <a:ext cx="5494955" cy="4312737"/>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7480A1-BFDC-4298-B195-411692E751F5}">
      <dsp:nvSpPr>
        <dsp:cNvPr id="0" name=""/>
        <dsp:cNvSpPr/>
      </dsp:nvSpPr>
      <dsp:spPr>
        <a:xfrm>
          <a:off x="1408" y="653150"/>
          <a:ext cx="5494955" cy="433884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Corporat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Product evaluation</a:t>
          </a:r>
          <a:endParaRPr lang="en-GB" sz="2000" kern="1200"/>
        </a:p>
        <a:p>
          <a:pPr marL="360000" lvl="1" indent="-228600" algn="l" defTabSz="889000">
            <a:lnSpc>
              <a:spcPct val="150000"/>
            </a:lnSpc>
            <a:spcBef>
              <a:spcPct val="0"/>
            </a:spcBef>
            <a:spcAft>
              <a:spcPct val="15000"/>
            </a:spcAft>
            <a:buNone/>
          </a:pPr>
          <a:r>
            <a:rPr lang="en-GB" sz="2000" kern="1200" baseline="0"/>
            <a:t>Governance and security standards</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Centrally</a:t>
          </a:r>
          <a:r>
            <a:rPr lang="en-GB" sz="2000" kern="1200" baseline="0"/>
            <a:t> Managed Service</a:t>
          </a:r>
          <a:endParaRPr lang="en-GB" sz="2000" kern="1200"/>
        </a:p>
        <a:p>
          <a:pPr marL="360000" lvl="1" indent="-228600" algn="l" defTabSz="889000">
            <a:lnSpc>
              <a:spcPct val="150000"/>
            </a:lnSpc>
            <a:spcBef>
              <a:spcPct val="0"/>
            </a:spcBef>
            <a:spcAft>
              <a:spcPct val="15000"/>
            </a:spcAft>
            <a:buNone/>
          </a:pPr>
          <a:r>
            <a:rPr lang="en-GB" sz="2000" kern="1200" baseline="0"/>
            <a:t>Infrastructure setup</a:t>
          </a:r>
          <a:endParaRPr lang="en-GB" sz="2000" kern="1200"/>
        </a:p>
        <a:p>
          <a:pPr marL="360000" lvl="1" indent="-228600" algn="l" defTabSz="889000">
            <a:lnSpc>
              <a:spcPct val="150000"/>
            </a:lnSpc>
            <a:spcBef>
              <a:spcPct val="0"/>
            </a:spcBef>
            <a:spcAft>
              <a:spcPct val="15000"/>
            </a:spcAft>
            <a:buNone/>
          </a:pPr>
          <a:r>
            <a:rPr lang="en-GB" sz="2000" kern="1200" baseline="0"/>
            <a:t>Support structure</a:t>
          </a:r>
          <a:endParaRPr lang="en-GB" sz="2000" kern="1200"/>
        </a:p>
        <a:p>
          <a:pPr marL="360000" lvl="1" indent="-228600" algn="l" defTabSz="889000">
            <a:lnSpc>
              <a:spcPct val="150000"/>
            </a:lnSpc>
            <a:spcBef>
              <a:spcPct val="0"/>
            </a:spcBef>
            <a:spcAft>
              <a:spcPct val="15000"/>
            </a:spcAft>
            <a:buNone/>
          </a:pPr>
          <a:r>
            <a:rPr lang="en-GB" sz="2000" kern="1200" baseline="0"/>
            <a:t>IT led solution delivery</a:t>
          </a:r>
          <a:endParaRPr lang="en-GB" sz="2000" kern="1200"/>
        </a:p>
      </dsp:txBody>
      <dsp:txXfrm>
        <a:off x="1408" y="653150"/>
        <a:ext cx="5494955" cy="4338849"/>
      </dsp:txXfrm>
    </dsp:sp>
    <dsp:sp modelId="{9C0711DF-9261-4564-AFC3-163E9BED3EB0}">
      <dsp:nvSpPr>
        <dsp:cNvPr id="0" name=""/>
        <dsp:cNvSpPr/>
      </dsp:nvSpPr>
      <dsp:spPr>
        <a:xfrm>
          <a:off x="6045859" y="666206"/>
          <a:ext cx="5494955" cy="4312737"/>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1466850">
            <a:lnSpc>
              <a:spcPct val="90000"/>
            </a:lnSpc>
            <a:spcBef>
              <a:spcPct val="0"/>
            </a:spcBef>
            <a:spcAft>
              <a:spcPct val="35000"/>
            </a:spcAft>
            <a:buNone/>
          </a:pPr>
          <a:r>
            <a:rPr lang="en-GB" sz="3300" kern="1200" baseline="0">
              <a:solidFill>
                <a:srgbClr val="F2C811"/>
              </a:solidFill>
            </a:rPr>
            <a:t>Business-Led Self Service BI</a:t>
          </a:r>
          <a:endParaRPr lang="en-GB" sz="3300" kern="1200">
            <a:solidFill>
              <a:srgbClr val="F2C811"/>
            </a:solidFill>
          </a:endParaRPr>
        </a:p>
        <a:p>
          <a:pPr marL="360000" lvl="1" indent="-228600" algn="l" defTabSz="889000">
            <a:lnSpc>
              <a:spcPct val="150000"/>
            </a:lnSpc>
            <a:spcBef>
              <a:spcPct val="0"/>
            </a:spcBef>
            <a:spcAft>
              <a:spcPct val="15000"/>
            </a:spcAft>
            <a:buNone/>
          </a:pPr>
          <a:r>
            <a:rPr lang="en-GB" sz="2000" kern="1200" baseline="0"/>
            <a:t>Start gaining benefits of the tool immediately</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Power BI Champions will emerge</a:t>
          </a:r>
          <a:endParaRPr lang="en-GB" sz="2000" kern="1200"/>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Infrastructure setup</a:t>
          </a:r>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Support structure</a:t>
          </a:r>
        </a:p>
        <a:p>
          <a:pPr marL="360000" lvl="1" indent="-228600" algn="l" defTabSz="889000">
            <a:lnSpc>
              <a:spcPct val="150000"/>
            </a:lnSpc>
            <a:spcBef>
              <a:spcPct val="0"/>
            </a:spcBef>
            <a:spcAft>
              <a:spcPct val="15000"/>
            </a:spcAft>
            <a:buNone/>
          </a:pPr>
          <a:r>
            <a:rPr lang="en-GB" sz="2000" kern="1200" baseline="0">
              <a:solidFill>
                <a:prstClr val="white"/>
              </a:solidFill>
              <a:latin typeface="Segoe UI"/>
              <a:ea typeface="+mn-ea"/>
              <a:cs typeface="+mn-cs"/>
            </a:rPr>
            <a:t>End user/ Power user training</a:t>
          </a:r>
        </a:p>
      </dsp:txBody>
      <dsp:txXfrm>
        <a:off x="6045859" y="666206"/>
        <a:ext cx="5494955" cy="4312737"/>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EF0B7E-E84F-4224-977D-79216BA1B39E}">
      <dsp:nvSpPr>
        <dsp:cNvPr id="0" name=""/>
        <dsp:cNvSpPr/>
      </dsp:nvSpPr>
      <dsp:spPr>
        <a:xfrm>
          <a:off x="0"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Consumers</a:t>
          </a:r>
          <a:endParaRPr lang="en-GB" sz="2600" kern="1200">
            <a:solidFill>
              <a:srgbClr val="F2C811"/>
            </a:solidFill>
          </a:endParaRPr>
        </a:p>
      </dsp:txBody>
      <dsp:txXfrm>
        <a:off x="0" y="707025"/>
        <a:ext cx="2326565" cy="1395939"/>
      </dsp:txXfrm>
    </dsp:sp>
    <dsp:sp modelId="{60B5355D-1B85-4E75-BC4B-AE0EE414B046}">
      <dsp:nvSpPr>
        <dsp:cNvPr id="0" name=""/>
        <dsp:cNvSpPr/>
      </dsp:nvSpPr>
      <dsp:spPr>
        <a:xfrm>
          <a:off x="2559221"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Analysts</a:t>
          </a:r>
          <a:endParaRPr lang="en-GB" sz="2600" kern="1200">
            <a:solidFill>
              <a:srgbClr val="F2C811"/>
            </a:solidFill>
          </a:endParaRPr>
        </a:p>
      </dsp:txBody>
      <dsp:txXfrm>
        <a:off x="2559221" y="707025"/>
        <a:ext cx="2326565" cy="1395939"/>
      </dsp:txXfrm>
    </dsp:sp>
    <dsp:sp modelId="{808AC199-073E-4CE9-8C9C-A7F6C3972209}">
      <dsp:nvSpPr>
        <dsp:cNvPr id="0" name=""/>
        <dsp:cNvSpPr/>
      </dsp:nvSpPr>
      <dsp:spPr>
        <a:xfrm>
          <a:off x="5118443" y="707025"/>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Power Users</a:t>
          </a:r>
          <a:endParaRPr lang="en-GB" sz="2600" kern="1200">
            <a:solidFill>
              <a:srgbClr val="F2C811"/>
            </a:solidFill>
          </a:endParaRPr>
        </a:p>
      </dsp:txBody>
      <dsp:txXfrm>
        <a:off x="5118443" y="707025"/>
        <a:ext cx="2326565" cy="1395939"/>
      </dsp:txXfrm>
    </dsp:sp>
    <dsp:sp modelId="{55F4C0ED-F8B6-45D0-B45B-D76A35D5799E}">
      <dsp:nvSpPr>
        <dsp:cNvPr id="0" name=""/>
        <dsp:cNvSpPr/>
      </dsp:nvSpPr>
      <dsp:spPr>
        <a:xfrm>
          <a:off x="0"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BI Development Team</a:t>
          </a:r>
          <a:endParaRPr lang="en-GB" sz="2600" kern="1200">
            <a:solidFill>
              <a:srgbClr val="F2C811"/>
            </a:solidFill>
          </a:endParaRPr>
        </a:p>
      </dsp:txBody>
      <dsp:txXfrm>
        <a:off x="0" y="2335620"/>
        <a:ext cx="2326565" cy="1395939"/>
      </dsp:txXfrm>
    </dsp:sp>
    <dsp:sp modelId="{3B917423-5A2A-4FCB-A191-C3AD327B11F5}">
      <dsp:nvSpPr>
        <dsp:cNvPr id="0" name=""/>
        <dsp:cNvSpPr/>
      </dsp:nvSpPr>
      <dsp:spPr>
        <a:xfrm>
          <a:off x="2559221"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a:solidFill>
                <a:srgbClr val="F2C811"/>
              </a:solidFill>
            </a:rPr>
            <a:t>Web Development Team</a:t>
          </a:r>
        </a:p>
      </dsp:txBody>
      <dsp:txXfrm>
        <a:off x="2559221" y="2335620"/>
        <a:ext cx="2326565" cy="1395939"/>
      </dsp:txXfrm>
    </dsp:sp>
    <dsp:sp modelId="{19A46E4A-93E5-4F2A-9525-7831B175DFD1}">
      <dsp:nvSpPr>
        <dsp:cNvPr id="0" name=""/>
        <dsp:cNvSpPr/>
      </dsp:nvSpPr>
      <dsp:spPr>
        <a:xfrm>
          <a:off x="5118443" y="2335620"/>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IT Operations</a:t>
          </a:r>
          <a:endParaRPr lang="en-GB" sz="2600" kern="1200">
            <a:solidFill>
              <a:srgbClr val="F2C811"/>
            </a:solidFill>
          </a:endParaRPr>
        </a:p>
      </dsp:txBody>
      <dsp:txXfrm>
        <a:off x="5118443" y="2335620"/>
        <a:ext cx="2326565" cy="1395939"/>
      </dsp:txXfrm>
    </dsp:sp>
    <dsp:sp modelId="{1B22350D-BA24-474E-A4EB-BAD626370158}">
      <dsp:nvSpPr>
        <dsp:cNvPr id="0" name=""/>
        <dsp:cNvSpPr/>
      </dsp:nvSpPr>
      <dsp:spPr>
        <a:xfrm>
          <a:off x="2559221" y="3964216"/>
          <a:ext cx="2326565" cy="139593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GB" sz="2600" kern="1200" baseline="0">
              <a:solidFill>
                <a:srgbClr val="F2C811"/>
              </a:solidFill>
            </a:rPr>
            <a:t>IT Support</a:t>
          </a:r>
          <a:endParaRPr lang="en-GB" sz="2600" kern="1200">
            <a:solidFill>
              <a:srgbClr val="F2C811"/>
            </a:solidFill>
          </a:endParaRPr>
        </a:p>
      </dsp:txBody>
      <dsp:txXfrm>
        <a:off x="2559221" y="3964216"/>
        <a:ext cx="2326565" cy="13959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Structured approach gives confidence </a:t>
          </a:r>
          <a:endParaRPr lang="en-US" sz="2400" kern="120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Structure</a:t>
          </a:r>
          <a:endParaRPr lang="en-US" sz="2400" kern="1200"/>
        </a:p>
      </dsp:txBody>
      <dsp:txXfrm>
        <a:off x="0" y="1405"/>
        <a:ext cx="1963618" cy="1440619"/>
      </dsp:txXfrm>
    </dsp:sp>
    <dsp:sp modelId="{875AB7FF-ADF3-4742-9CB9-E84F789DC389}">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Prepares for challenges</a:t>
          </a:r>
        </a:p>
      </dsp:txBody>
      <dsp:txXfrm>
        <a:off x="1963618" y="1528462"/>
        <a:ext cx="7854474" cy="1440619"/>
      </dsp:txXfrm>
    </dsp:sp>
    <dsp:sp modelId="{0FF1DA46-AF1D-4D22-B9CC-6C2190A5D711}">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Readiness</a:t>
          </a:r>
        </a:p>
      </dsp:txBody>
      <dsp:txXfrm>
        <a:off x="0" y="1528462"/>
        <a:ext cx="1963618" cy="1440619"/>
      </dsp:txXfrm>
    </dsp:sp>
    <dsp:sp modelId="{9E123CF5-A7F8-4951-AEBF-F17A816F9404}">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a:solidFill>
                <a:schemeClr val="tx2"/>
              </a:solidFill>
            </a:rPr>
            <a:t>Learn to fish </a:t>
          </a:r>
        </a:p>
      </dsp:txBody>
      <dsp:txXfrm>
        <a:off x="1963618" y="3055519"/>
        <a:ext cx="7854474" cy="1440619"/>
      </dsp:txXfrm>
    </dsp:sp>
    <dsp:sp modelId="{5FA7DB8B-597A-4003-A78F-BE5DFAC45AE0}">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a:solidFill>
                <a:schemeClr val="bg2"/>
              </a:solidFill>
            </a:rPr>
            <a:t>Learn</a:t>
          </a:r>
        </a:p>
      </dsp:txBody>
      <dsp:txXfrm>
        <a:off x="0" y="3055519"/>
        <a:ext cx="1963618" cy="14406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ea typeface="+mn-ea"/>
              <a:cs typeface="+mn-cs"/>
            </a:rPr>
            <a:t>Select</a:t>
          </a:r>
          <a:r>
            <a:rPr lang="en-US" sz="2000" kern="1200">
              <a:latin typeface="+mj-lt"/>
            </a:rPr>
            <a:t> a Project</a:t>
          </a:r>
          <a:endParaRPr lang="en-GB" sz="2000" kern="1200">
            <a:latin typeface="+mj-lt"/>
          </a:endParaRPr>
        </a:p>
      </dsp:txBody>
      <dsp:txXfrm>
        <a:off x="4716" y="459074"/>
        <a:ext cx="1967181" cy="983590"/>
      </dsp:txXfrm>
    </dsp:sp>
    <dsp:sp modelId="{5DB35AF2-9F99-41D1-8632-C9180952D400}">
      <dsp:nvSpPr>
        <dsp:cNvPr id="0" name=""/>
        <dsp:cNvSpPr/>
      </dsp:nvSpPr>
      <dsp:spPr>
        <a:xfrm>
          <a:off x="2385005"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Adoption workshop</a:t>
          </a:r>
          <a:endParaRPr lang="en-GB" sz="2000" kern="1200">
            <a:latin typeface="+mj-lt"/>
          </a:endParaRPr>
        </a:p>
      </dsp:txBody>
      <dsp:txXfrm>
        <a:off x="2385005" y="459074"/>
        <a:ext cx="1967181" cy="983590"/>
      </dsp:txXfrm>
    </dsp:sp>
    <dsp:sp modelId="{CEF4917A-2583-498A-ACAC-CF0D58E8F0A6}">
      <dsp:nvSpPr>
        <dsp:cNvPr id="0" name=""/>
        <dsp:cNvSpPr/>
      </dsp:nvSpPr>
      <dsp:spPr>
        <a:xfrm>
          <a:off x="4765294"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Address data quality </a:t>
          </a:r>
          <a:endParaRPr lang="en-GB" sz="2000" kern="1200">
            <a:latin typeface="+mj-lt"/>
          </a:endParaRPr>
        </a:p>
      </dsp:txBody>
      <dsp:txXfrm>
        <a:off x="4765294" y="459074"/>
        <a:ext cx="1967181" cy="983590"/>
      </dsp:txXfrm>
    </dsp:sp>
    <dsp:sp modelId="{477157D4-E55E-4D4B-941F-24801F1D36AC}">
      <dsp:nvSpPr>
        <dsp:cNvPr id="0" name=""/>
        <dsp:cNvSpPr/>
      </dsp:nvSpPr>
      <dsp:spPr>
        <a:xfrm>
          <a:off x="7145583"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mplement Project</a:t>
          </a:r>
          <a:endParaRPr lang="en-GB" sz="2000" kern="1200">
            <a:latin typeface="+mj-lt"/>
          </a:endParaRPr>
        </a:p>
      </dsp:txBody>
      <dsp:txXfrm>
        <a:off x="7145583" y="459074"/>
        <a:ext cx="1967181" cy="9835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27"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Educate Exec Sponsor</a:t>
          </a:r>
          <a:endParaRPr lang="en-GB" sz="2000" kern="1200"/>
        </a:p>
      </dsp:txBody>
      <dsp:txXfrm>
        <a:off x="4727" y="380440"/>
        <a:ext cx="1971806" cy="985903"/>
      </dsp:txXfrm>
    </dsp:sp>
    <dsp:sp modelId="{D850B575-8268-47C9-BA65-19D4C41AF72F}">
      <dsp:nvSpPr>
        <dsp:cNvPr id="0" name=""/>
        <dsp:cNvSpPr/>
      </dsp:nvSpPr>
      <dsp:spPr>
        <a:xfrm>
          <a:off x="2390613"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dentify Champions</a:t>
          </a:r>
          <a:endParaRPr lang="en-GB" sz="2000" kern="1200">
            <a:latin typeface="+mj-lt"/>
          </a:endParaRPr>
        </a:p>
      </dsp:txBody>
      <dsp:txXfrm>
        <a:off x="2390613" y="380440"/>
        <a:ext cx="1971806" cy="985903"/>
      </dsp:txXfrm>
    </dsp:sp>
    <dsp:sp modelId="{4D714C27-05B4-4ED3-A13F-C6955017C71B}">
      <dsp:nvSpPr>
        <dsp:cNvPr id="0" name=""/>
        <dsp:cNvSpPr/>
      </dsp:nvSpPr>
      <dsp:spPr>
        <a:xfrm>
          <a:off x="4776499"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Train pilot team</a:t>
          </a:r>
          <a:endParaRPr lang="en-GB" sz="2000" kern="1200">
            <a:latin typeface="+mj-lt"/>
          </a:endParaRPr>
        </a:p>
      </dsp:txBody>
      <dsp:txXfrm>
        <a:off x="4776499" y="380440"/>
        <a:ext cx="1971806" cy="985903"/>
      </dsp:txXfrm>
    </dsp:sp>
    <dsp:sp modelId="{319A0EE5-FAE2-47D1-9B8C-2CB650E731B7}">
      <dsp:nvSpPr>
        <dsp:cNvPr id="0" name=""/>
        <dsp:cNvSpPr/>
      </dsp:nvSpPr>
      <dsp:spPr>
        <a:xfrm>
          <a:off x="7162385"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Prove value</a:t>
          </a:r>
          <a:endParaRPr lang="en-GB" sz="2000" kern="1200">
            <a:latin typeface="+mj-lt"/>
          </a:endParaRPr>
        </a:p>
      </dsp:txBody>
      <dsp:txXfrm>
        <a:off x="7162385" y="380440"/>
        <a:ext cx="1971806" cy="98590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Centre of Excellence</a:t>
          </a:r>
        </a:p>
      </dsp:txBody>
      <dsp:txXfrm>
        <a:off x="4716" y="423235"/>
        <a:ext cx="1967180" cy="983590"/>
      </dsp:txXfrm>
    </dsp:sp>
    <dsp:sp modelId="{44A7D895-1910-4068-8F24-1EC9C16B09C5}">
      <dsp:nvSpPr>
        <dsp:cNvPr id="0" name=""/>
        <dsp:cNvSpPr/>
      </dsp:nvSpPr>
      <dsp:spPr>
        <a:xfrm>
          <a:off x="2385005"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marketing</a:t>
          </a:r>
        </a:p>
      </dsp:txBody>
      <dsp:txXfrm>
        <a:off x="2385005" y="423235"/>
        <a:ext cx="1967180" cy="983590"/>
      </dsp:txXfrm>
    </dsp:sp>
    <dsp:sp modelId="{7E62F2A4-EBAB-4D1C-AFFC-123B159E248A}">
      <dsp:nvSpPr>
        <dsp:cNvPr id="0" name=""/>
        <dsp:cNvSpPr/>
      </dsp:nvSpPr>
      <dsp:spPr>
        <a:xfrm>
          <a:off x="4765293"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End user training </a:t>
          </a:r>
        </a:p>
      </dsp:txBody>
      <dsp:txXfrm>
        <a:off x="4765293" y="423235"/>
        <a:ext cx="1967180" cy="983590"/>
      </dsp:txXfrm>
    </dsp:sp>
    <dsp:sp modelId="{B41BF3A0-5F9B-4C4A-AFF8-07F25F44D473}">
      <dsp:nvSpPr>
        <dsp:cNvPr id="0" name=""/>
        <dsp:cNvSpPr/>
      </dsp:nvSpPr>
      <dsp:spPr>
        <a:xfrm>
          <a:off x="7145582"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community</a:t>
          </a:r>
        </a:p>
      </dsp:txBody>
      <dsp:txXfrm>
        <a:off x="7145582" y="423235"/>
        <a:ext cx="1967180" cy="9835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A69B-3BFF-4752-B657-90B44E71EC67}">
      <dsp:nvSpPr>
        <dsp:cNvPr id="0" name=""/>
        <dsp:cNvSpPr/>
      </dsp:nvSpPr>
      <dsp:spPr>
        <a:xfrm>
          <a:off x="0" y="72088"/>
          <a:ext cx="3438673" cy="1296000"/>
        </a:xfrm>
        <a:prstGeom prst="rightArrow">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BD4549-126E-41F1-96FF-945EE352FD3D}">
      <dsp:nvSpPr>
        <dsp:cNvPr id="0" name=""/>
        <dsp:cNvSpPr/>
      </dsp:nvSpPr>
      <dsp:spPr>
        <a:xfrm>
          <a:off x="277377" y="396866"/>
          <a:ext cx="2817428"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rPr>
            <a:t>IT/Partner teaches business</a:t>
          </a:r>
        </a:p>
      </dsp:txBody>
      <dsp:txXfrm>
        <a:off x="277377" y="396866"/>
        <a:ext cx="2817428" cy="648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B8780-D17C-47A7-BFE5-A859BFC90A92}">
      <dsp:nvSpPr>
        <dsp:cNvPr id="0" name=""/>
        <dsp:cNvSpPr/>
      </dsp:nvSpPr>
      <dsp:spPr>
        <a:xfrm>
          <a:off x="0"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Customer Need</a:t>
          </a:r>
          <a:endParaRPr lang="en-GB" sz="2000" kern="1200"/>
        </a:p>
      </dsp:txBody>
      <dsp:txXfrm>
        <a:off x="0" y="416915"/>
        <a:ext cx="3431233" cy="2058740"/>
      </dsp:txXfrm>
    </dsp:sp>
    <dsp:sp modelId="{321E2A76-903A-49F9-8AD7-9C8DCAC8DC0F}">
      <dsp:nvSpPr>
        <dsp:cNvPr id="0" name=""/>
        <dsp:cNvSpPr/>
      </dsp:nvSpPr>
      <dsp:spPr>
        <a:xfrm>
          <a:off x="3774357"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Power BI Whitepapers</a:t>
          </a:r>
          <a:endParaRPr lang="en-GB" sz="2000" kern="1200"/>
        </a:p>
      </dsp:txBody>
      <dsp:txXfrm>
        <a:off x="3774357" y="416915"/>
        <a:ext cx="3431233" cy="2058740"/>
      </dsp:txXfrm>
    </dsp:sp>
    <dsp:sp modelId="{0EB88D22-9476-489B-94B3-4A9139D99A7E}">
      <dsp:nvSpPr>
        <dsp:cNvPr id="0" name=""/>
        <dsp:cNvSpPr/>
      </dsp:nvSpPr>
      <dsp:spPr>
        <a:xfrm>
          <a:off x="7548714"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Power BI Product Group</a:t>
          </a:r>
        </a:p>
      </dsp:txBody>
      <dsp:txXfrm>
        <a:off x="7548714" y="416915"/>
        <a:ext cx="3431233" cy="2058740"/>
      </dsp:txXfrm>
    </dsp:sp>
    <dsp:sp modelId="{5B96E3A4-F3F2-45A8-9730-FC402A2A87C8}">
      <dsp:nvSpPr>
        <dsp:cNvPr id="0" name=""/>
        <dsp:cNvSpPr/>
      </dsp:nvSpPr>
      <dsp:spPr>
        <a:xfrm>
          <a:off x="0"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Champs</a:t>
          </a:r>
          <a:endParaRPr lang="en-GB" sz="2000" kern="1200"/>
        </a:p>
      </dsp:txBody>
      <dsp:txXfrm>
        <a:off x="0" y="2818779"/>
        <a:ext cx="3431233" cy="2058740"/>
      </dsp:txXfrm>
    </dsp:sp>
    <dsp:sp modelId="{1E93BFFE-632C-406D-A7EB-B2A7ED8EE135}">
      <dsp:nvSpPr>
        <dsp:cNvPr id="0" name=""/>
        <dsp:cNvSpPr/>
      </dsp:nvSpPr>
      <dsp:spPr>
        <a:xfrm>
          <a:off x="3774357"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 Microsoft</a:t>
          </a:r>
          <a:endParaRPr lang="en-GB" sz="2000" kern="1200"/>
        </a:p>
      </dsp:txBody>
      <dsp:txXfrm>
        <a:off x="3774357" y="2818779"/>
        <a:ext cx="3431233" cy="2058740"/>
      </dsp:txXfrm>
    </dsp:sp>
    <dsp:sp modelId="{79D869E6-DB54-4DE4-947C-09BA4B769405}">
      <dsp:nvSpPr>
        <dsp:cNvPr id="0" name=""/>
        <dsp:cNvSpPr/>
      </dsp:nvSpPr>
      <dsp:spPr>
        <a:xfrm>
          <a:off x="7548714"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Customer &amp; Partner Feedback</a:t>
          </a:r>
        </a:p>
      </dsp:txBody>
      <dsp:txXfrm>
        <a:off x="7548714" y="2818779"/>
        <a:ext cx="3431233" cy="2058740"/>
      </dsp:txXfrm>
    </dsp:sp>
  </dsp:spTree>
</dsp:drawing>
</file>

<file path=ppt/diagrams/layout1.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18.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9.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0.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14.793"/>
    </inkml:context>
    <inkml:brush xml:id="br0">
      <inkml:brushProperty name="width" value="0.05" units="cm"/>
      <inkml:brushProperty name="height" value="0.05" units="cm"/>
      <inkml:brushProperty name="ignorePressure" value="1"/>
    </inkml:brush>
  </inkml:definitions>
  <inkml:trace contextRef="#ctx0" brushRef="#br0">0 0,'6'4,"-1"0,1-1,0 0,0 0,1 0,-1-1,0 0,1-1,-1 1,1-1,0 0,2-1,18 5,52 10,1-3,0-4,16-3,246-6,-149-2,1097 3,-1168-5,0-6,88-21,-144 2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1.618"/>
    </inkml:context>
    <inkml:brush xml:id="br0">
      <inkml:brushProperty name="width" value="0.05" units="cm"/>
      <inkml:brushProperty name="height" value="0.05" units="cm"/>
      <inkml:brushProperty name="ignorePressure" value="1"/>
    </inkml:brush>
  </inkml:definitions>
  <inkml:trace contextRef="#ctx0" brushRef="#br0">0 1,'2862'0,"-2823"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4.551"/>
    </inkml:context>
    <inkml:brush xml:id="br0">
      <inkml:brushProperty name="width" value="0.05" units="cm"/>
      <inkml:brushProperty name="height" value="0.05" units="cm"/>
      <inkml:brushProperty name="ignorePressure" value="1"/>
    </inkml:brush>
  </inkml:definitions>
  <inkml:trace contextRef="#ctx0" brushRef="#br0">1 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5.273"/>
    </inkml:context>
    <inkml:brush xml:id="br0">
      <inkml:brushProperty name="width" value="0.05" units="cm"/>
      <inkml:brushProperty name="height" value="0.05" units="cm"/>
      <inkml:brushProperty name="ignorePressure" value="1"/>
    </inkml:brush>
  </inkml:definitions>
  <inkml:trace contextRef="#ctx0" brushRef="#br0">1 1,'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26.140"/>
    </inkml:context>
    <inkml:brush xml:id="br0">
      <inkml:brushProperty name="width" value="0.05" units="cm"/>
      <inkml:brushProperty name="height" value="0.05" units="cm"/>
      <inkml:brushProperty name="ignorePressure" value="1"/>
    </inkml:brush>
  </inkml:definitions>
  <inkml:trace contextRef="#ctx0" brushRef="#br0">1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10-09T14:44:45.692"/>
    </inkml:context>
    <inkml:brush xml:id="br0">
      <inkml:brushProperty name="width" value="0.05" units="cm"/>
      <inkml:brushProperty name="height" value="0.05" units="cm"/>
      <inkml:brushProperty name="ignorePressure" value="1"/>
    </inkml:brush>
  </inkml:definitions>
  <inkml:trace contextRef="#ctx0" brushRef="#br0">0 0,'4908'0,"-4846"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585E53-FAF2-4401-AED7-9A2C49AF32F6}" type="datetimeFigureOut">
              <a:rPr lang="de-DE" smtClean="0"/>
              <a:t>21.10.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FC5A0F-14F2-41B0-9795-5B61346FA17B}" type="slidenum">
              <a:rPr lang="de-DE" smtClean="0"/>
              <a:t>‹Nr.›</a:t>
            </a:fld>
            <a:endParaRPr lang="de-DE"/>
          </a:p>
        </p:txBody>
      </p:sp>
    </p:spTree>
    <p:extLst>
      <p:ext uri="{BB962C8B-B14F-4D97-AF65-F5344CB8AC3E}">
        <p14:creationId xmlns:p14="http://schemas.microsoft.com/office/powerpoint/2010/main" val="4021948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94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88619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04689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07</a:t>
            </a:fld>
            <a:endParaRPr lang="de-DE"/>
          </a:p>
        </p:txBody>
      </p:sp>
    </p:spTree>
    <p:extLst>
      <p:ext uri="{BB962C8B-B14F-4D97-AF65-F5344CB8AC3E}">
        <p14:creationId xmlns:p14="http://schemas.microsoft.com/office/powerpoint/2010/main" val="253538891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cs typeface="Calibri"/>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45526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6951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88145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50798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12</a:t>
            </a:fld>
            <a:endParaRPr lang="de-DE"/>
          </a:p>
        </p:txBody>
      </p:sp>
    </p:spTree>
    <p:extLst>
      <p:ext uri="{BB962C8B-B14F-4D97-AF65-F5344CB8AC3E}">
        <p14:creationId xmlns:p14="http://schemas.microsoft.com/office/powerpoint/2010/main" val="18705105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None/>
            </a:pPr>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8814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60560998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lang="en-US"/>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3181930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01638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5304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17</a:t>
            </a:fld>
            <a:endParaRPr lang="de-DE"/>
          </a:p>
        </p:txBody>
      </p:sp>
    </p:spTree>
    <p:extLst>
      <p:ext uri="{BB962C8B-B14F-4D97-AF65-F5344CB8AC3E}">
        <p14:creationId xmlns:p14="http://schemas.microsoft.com/office/powerpoint/2010/main" val="8980963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3858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9531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11566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93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8634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24</a:t>
            </a:fld>
            <a:endParaRPr lang="de-DE"/>
          </a:p>
        </p:txBody>
      </p:sp>
    </p:spTree>
    <p:extLst>
      <p:ext uri="{BB962C8B-B14F-4D97-AF65-F5344CB8AC3E}">
        <p14:creationId xmlns:p14="http://schemas.microsoft.com/office/powerpoint/2010/main" val="15912115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25</a:t>
            </a:fld>
            <a:endParaRPr lang="de-DE"/>
          </a:p>
        </p:txBody>
      </p:sp>
    </p:spTree>
    <p:extLst>
      <p:ext uri="{BB962C8B-B14F-4D97-AF65-F5344CB8AC3E}">
        <p14:creationId xmlns:p14="http://schemas.microsoft.com/office/powerpoint/2010/main" val="3632845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sz="1200" b="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009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777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48981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44016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30</a:t>
            </a:fld>
            <a:endParaRPr lang="de-DE"/>
          </a:p>
        </p:txBody>
      </p:sp>
    </p:spTree>
    <p:extLst>
      <p:ext uri="{BB962C8B-B14F-4D97-AF65-F5344CB8AC3E}">
        <p14:creationId xmlns:p14="http://schemas.microsoft.com/office/powerpoint/2010/main" val="31392825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6112023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41721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47805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ym typeface="Wingdings" panose="05000000000000000000" pitchFamily="2" charset="2"/>
              </a:rPr>
              <a:t> Same as in intro!</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591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7</a:t>
            </a:fld>
            <a:endParaRPr lang="de-DE"/>
          </a:p>
        </p:txBody>
      </p:sp>
    </p:spTree>
    <p:extLst>
      <p:ext uri="{BB962C8B-B14F-4D97-AF65-F5344CB8AC3E}">
        <p14:creationId xmlns:p14="http://schemas.microsoft.com/office/powerpoint/2010/main" val="3762142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8</a:t>
            </a:fld>
            <a:endParaRPr lang="de-DE"/>
          </a:p>
        </p:txBody>
      </p:sp>
    </p:spTree>
    <p:extLst>
      <p:ext uri="{BB962C8B-B14F-4D97-AF65-F5344CB8AC3E}">
        <p14:creationId xmlns:p14="http://schemas.microsoft.com/office/powerpoint/2010/main" val="3762142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39</a:t>
            </a:fld>
            <a:endParaRPr lang="de-DE"/>
          </a:p>
        </p:txBody>
      </p:sp>
    </p:spTree>
    <p:extLst>
      <p:ext uri="{BB962C8B-B14F-4D97-AF65-F5344CB8AC3E}">
        <p14:creationId xmlns:p14="http://schemas.microsoft.com/office/powerpoint/2010/main" val="27373953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140</a:t>
            </a:fld>
            <a:endParaRPr lang="de-DE"/>
          </a:p>
        </p:txBody>
      </p:sp>
    </p:spTree>
    <p:extLst>
      <p:ext uri="{BB962C8B-B14F-4D97-AF65-F5344CB8AC3E}">
        <p14:creationId xmlns:p14="http://schemas.microsoft.com/office/powerpoint/2010/main" val="425025026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15233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7097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234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93668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76331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54080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4</a:t>
            </a:fld>
            <a:endParaRPr lang="de-DE"/>
          </a:p>
        </p:txBody>
      </p:sp>
    </p:spTree>
    <p:extLst>
      <p:ext uri="{BB962C8B-B14F-4D97-AF65-F5344CB8AC3E}">
        <p14:creationId xmlns:p14="http://schemas.microsoft.com/office/powerpoint/2010/main" val="233353799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391270075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48</a:t>
            </a:fld>
            <a:endParaRPr lang="de-DE"/>
          </a:p>
        </p:txBody>
      </p:sp>
    </p:spTree>
    <p:extLst>
      <p:ext uri="{BB962C8B-B14F-4D97-AF65-F5344CB8AC3E}">
        <p14:creationId xmlns:p14="http://schemas.microsoft.com/office/powerpoint/2010/main" val="247055685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60388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136146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52</a:t>
            </a:fld>
            <a:endParaRPr lang="de-DE"/>
          </a:p>
        </p:txBody>
      </p:sp>
    </p:spTree>
    <p:extLst>
      <p:ext uri="{BB962C8B-B14F-4D97-AF65-F5344CB8AC3E}">
        <p14:creationId xmlns:p14="http://schemas.microsoft.com/office/powerpoint/2010/main" val="33140226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81469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57701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56</a:t>
            </a:fld>
            <a:endParaRPr lang="de-DE"/>
          </a:p>
        </p:txBody>
      </p:sp>
    </p:spTree>
    <p:extLst>
      <p:ext uri="{BB962C8B-B14F-4D97-AF65-F5344CB8AC3E}">
        <p14:creationId xmlns:p14="http://schemas.microsoft.com/office/powerpoint/2010/main" val="1549234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50608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6029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82481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10333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5773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545185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50000"/>
              </a:lnSpc>
            </a:pPr>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69218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27746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477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59491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136146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40970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42094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23537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68915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65732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43395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77</a:t>
            </a:fld>
            <a:endParaRPr lang="de-DE"/>
          </a:p>
        </p:txBody>
      </p:sp>
    </p:spTree>
    <p:extLst>
      <p:ext uri="{BB962C8B-B14F-4D97-AF65-F5344CB8AC3E}">
        <p14:creationId xmlns:p14="http://schemas.microsoft.com/office/powerpoint/2010/main" val="205641548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239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31259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308693"/>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8284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3411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58452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83</a:t>
            </a:fld>
            <a:endParaRPr lang="de-DE"/>
          </a:p>
        </p:txBody>
      </p:sp>
    </p:spTree>
    <p:extLst>
      <p:ext uri="{BB962C8B-B14F-4D97-AF65-F5344CB8AC3E}">
        <p14:creationId xmlns:p14="http://schemas.microsoft.com/office/powerpoint/2010/main" val="217890129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75433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1522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25177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82254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701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7615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93977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60513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909027"/>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663756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748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97547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29150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36280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8051726"/>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347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79512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799787"/>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62232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83590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59744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34194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01051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535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750520"/>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65384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09</a:t>
            </a:fld>
            <a:endParaRPr lang="de-DE"/>
          </a:p>
        </p:txBody>
      </p:sp>
    </p:spTree>
    <p:extLst>
      <p:ext uri="{BB962C8B-B14F-4D97-AF65-F5344CB8AC3E}">
        <p14:creationId xmlns:p14="http://schemas.microsoft.com/office/powerpoint/2010/main" val="2600950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1006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090371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1607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83475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17492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05326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15</a:t>
            </a:fld>
            <a:endParaRPr lang="de-DE"/>
          </a:p>
        </p:txBody>
      </p:sp>
    </p:spTree>
    <p:extLst>
      <p:ext uri="{BB962C8B-B14F-4D97-AF65-F5344CB8AC3E}">
        <p14:creationId xmlns:p14="http://schemas.microsoft.com/office/powerpoint/2010/main" val="416497438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52246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39026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33864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80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19976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45793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541350"/>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76601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1535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968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767732"/>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3412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88756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283071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05924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236</a:t>
            </a:fld>
            <a:endParaRPr lang="de-DE"/>
          </a:p>
        </p:txBody>
      </p:sp>
    </p:spTree>
    <p:extLst>
      <p:ext uri="{BB962C8B-B14F-4D97-AF65-F5344CB8AC3E}">
        <p14:creationId xmlns:p14="http://schemas.microsoft.com/office/powerpoint/2010/main" val="344887584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70434"/>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48858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02635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22076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66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200977"/>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175629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07904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330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3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86863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6DFFDE-D41D-40E3-9AAA-B29C428D2E6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90166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60534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11591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55489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817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95990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25177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51220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36686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565098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9E6FA1-EDD9-4252-90BE-45733035611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91155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140292"/>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57675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476782"/>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18479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6374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2633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005740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8876561"/>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97501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7894602"/>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33260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03103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7262" lvl="1" indent="0">
              <a:buFont typeface="Arial" panose="020B0604020202020204" pitchFamily="34" charset="0"/>
              <a:buNone/>
            </a:pPr>
            <a:endParaRPr lang="en-US" b="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899765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5FC5A0F-14F2-41B0-9795-5B61346FA17B}" type="slidenum">
              <a:rPr lang="de-DE" smtClean="0"/>
              <a:t>272</a:t>
            </a:fld>
            <a:endParaRPr lang="de-DE"/>
          </a:p>
        </p:txBody>
      </p:sp>
    </p:spTree>
    <p:extLst>
      <p:ext uri="{BB962C8B-B14F-4D97-AF65-F5344CB8AC3E}">
        <p14:creationId xmlns:p14="http://schemas.microsoft.com/office/powerpoint/2010/main" val="392906313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497357"/>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806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1434901"/>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57162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37289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5968400"/>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374371"/>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153661"/>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48743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848483"/>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48012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99121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FACFC4-F9FB-4B84-B931-EF3B3110F8D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6504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38610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21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4733501"/>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612"/>
              </a:spcAft>
              <a:buFont typeface="Arial" panose="020B0604020202020204" pitchFamily="34" charset="0"/>
              <a:buNone/>
            </a:pPr>
            <a:endParaRPr lang="en-GB" sz="1200">
              <a:latin typeface="Calibri (Body)"/>
            </a:endParaRPr>
          </a:p>
          <a:p>
            <a:pPr marL="0" indent="0">
              <a:lnSpc>
                <a:spcPct val="90000"/>
              </a:lnSpc>
              <a:spcAft>
                <a:spcPts val="612"/>
              </a:spcAft>
              <a:buFont typeface="Arial" panose="020B0604020202020204" pitchFamily="34" charset="0"/>
              <a:buNone/>
            </a:pPr>
            <a:endParaRPr lang="en-US" sz="1200">
              <a:latin typeface="Calibri (Body)"/>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EC730-F6E1-4636-9D75-EF00110FCBDF}"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538582"/>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CB8FAF7-0FB9-44CF-A138-B4C15E78C4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21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2946727"/>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dirty="0">
              <a:solidFill>
                <a:schemeClr val="tx1"/>
              </a:solidFill>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DB6060A-23DE-45AB-AF75-72D8232143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1/2021 4: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53092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2786057"/>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321447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80935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85440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95113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370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62098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411720"/>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96372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179400"/>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51076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23786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76439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432480"/>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058840"/>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9899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9302850"/>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533442"/>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89988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23030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08876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478254"/>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56343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9681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883342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949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626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50904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23664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52527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889080"/>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076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endParaRPr lang="en-US"/>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505345658"/>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0761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5FC5A0F-14F2-41B0-9795-5B61346FA17B}" type="slidenum">
              <a:rPr lang="de-DE" smtClean="0"/>
              <a:t>328</a:t>
            </a:fld>
            <a:endParaRPr lang="de-DE"/>
          </a:p>
        </p:txBody>
      </p:sp>
    </p:spTree>
    <p:extLst>
      <p:ext uri="{BB962C8B-B14F-4D97-AF65-F5344CB8AC3E}">
        <p14:creationId xmlns:p14="http://schemas.microsoft.com/office/powerpoint/2010/main" val="42802114"/>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31</a:t>
            </a:fld>
            <a:endParaRPr lang="de-DE"/>
          </a:p>
        </p:txBody>
      </p:sp>
    </p:spTree>
    <p:extLst>
      <p:ext uri="{BB962C8B-B14F-4D97-AF65-F5344CB8AC3E}">
        <p14:creationId xmlns:p14="http://schemas.microsoft.com/office/powerpoint/2010/main" val="10778551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673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72184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857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044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234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5050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0000"/>
              </a:lnSpc>
            </a:pPr>
            <a:endParaRPr lang="en-US" b="0" i="0">
              <a:solidFill>
                <a:srgbClr val="171717"/>
              </a:solidFill>
              <a:effectLst/>
              <a:latin typeface="Segoe UI" panose="020B0502040204020203" pitchFamily="34" charset="0"/>
            </a:endParaRPr>
          </a:p>
          <a:p>
            <a:pPr lvl="0">
              <a:lnSpc>
                <a:spcPct val="100000"/>
              </a:lnSpc>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719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97266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606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5921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6718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7694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8731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051438"/>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5679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44569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50023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466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5910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660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0712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0712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2475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155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8209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6649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8814793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0381033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733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9AECB-A677-43A7-BCBB-A4497CCD2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263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4850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8266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9423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7829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8165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i="0" dirty="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2509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5821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5204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a:xfrm>
            <a:off x="379413" y="4174582"/>
            <a:ext cx="6099175" cy="4309382"/>
          </a:xfrm>
        </p:spPr>
        <p:txBody>
          <a:bodyPr/>
          <a:lstStyle/>
          <a:p>
            <a:endParaRPr lang="en-US" dirty="0">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1854711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320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2021 4: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3818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1682"/>
            <a:ext cx="6096000" cy="4114800"/>
          </a:xfrm>
        </p:spPr>
        <p:txBody>
          <a:bodyPr/>
          <a:lstStyle/>
          <a:p>
            <a:endParaRPr lang="en-US" b="0" dirty="0"/>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346842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7869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2862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4270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5392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58677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54403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09975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82330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72417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800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30425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9358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1463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5856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0320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0070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639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8277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7282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8402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814718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3167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5FC5A0F-14F2-41B0-9795-5B61346FA17B}" type="slidenum">
              <a:rPr lang="de-DE" smtClean="0"/>
              <a:t>101</a:t>
            </a:fld>
            <a:endParaRPr lang="de-DE"/>
          </a:p>
        </p:txBody>
      </p:sp>
    </p:spTree>
    <p:extLst>
      <p:ext uri="{BB962C8B-B14F-4D97-AF65-F5344CB8AC3E}">
        <p14:creationId xmlns:p14="http://schemas.microsoft.com/office/powerpoint/2010/main" val="8632699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48145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i="0" dirty="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25090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2009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07264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microsoft.com/office/2007/relationships/hdphoto" Target="../media/hdphoto1.wdp"/><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microsoft.com/office/2007/relationships/hdphoto" Target="../media/hdphoto1.wdp"/><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142421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37502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de-DE"/>
              <a:t>Bild durch Klicken auf Symbol hinzufügen</a:t>
            </a:r>
            <a:endParaRPr lang="en-US"/>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de-DE"/>
              <a:t>Bild durch Klicken auf Symbol hinzufügen</a:t>
            </a:r>
            <a:endParaRPr lang="en-US"/>
          </a:p>
        </p:txBody>
      </p:sp>
    </p:spTree>
    <p:extLst>
      <p:ext uri="{BB962C8B-B14F-4D97-AF65-F5344CB8AC3E}">
        <p14:creationId xmlns:p14="http://schemas.microsoft.com/office/powerpoint/2010/main" val="388072232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de-DE"/>
              <a:t>Bild durch Klicken auf Symbol hinzufügen</a:t>
            </a:r>
            <a:endParaRPr lang="en-US"/>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de-DE"/>
              <a:t>Bild durch Klicken auf Symbol hinzufügen</a:t>
            </a:r>
            <a:endParaRPr lang="en-US"/>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de-DE"/>
              <a:t>Bild durch Klicken auf Symbol hinzufügen</a:t>
            </a:r>
            <a:endParaRPr lang="en-US"/>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de-DE"/>
              <a:t>Bild durch Klicken auf Symbol hinzufügen</a:t>
            </a:r>
            <a:endParaRPr lang="en-US"/>
          </a:p>
        </p:txBody>
      </p:sp>
    </p:spTree>
    <p:extLst>
      <p:ext uri="{BB962C8B-B14F-4D97-AF65-F5344CB8AC3E}">
        <p14:creationId xmlns:p14="http://schemas.microsoft.com/office/powerpoint/2010/main" val="48490489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rofi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de-DE"/>
              <a:t>Bild durch Klicken auf Symbol hinzufügen</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967636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rofile Slide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de-DE"/>
              <a:t>Bild durch Klicken auf Symbol hinzufügen</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7592090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arge Number Divider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6</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399658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7</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26002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8</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2327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de-DE" sz="50000" b="1" i="0">
                <a:solidFill>
                  <a:schemeClr val="accent1"/>
                </a:solidFill>
                <a:latin typeface="Segoe UI" panose="020B0502040204020203" pitchFamily="34" charset="0"/>
                <a:cs typeface="Segoe UI" panose="020B0502040204020203" pitchFamily="34" charset="0"/>
              </a:rPr>
              <a:t>9</a:t>
            </a:r>
            <a:endParaRPr lang="en-US" sz="50000" b="1" i="0">
              <a:solidFill>
                <a:schemeClr val="accent1"/>
              </a:solidFill>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81240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3271285"/>
            <a:ext cx="4356100" cy="6177516"/>
          </a:xfrm>
          <a:prstGeom prst="rect">
            <a:avLst/>
          </a:prstGeom>
          <a:noFill/>
        </p:spPr>
        <p:txBody>
          <a:bodyPr wrap="square" lIns="0" tIns="0" rIns="0" bIns="0" rtlCol="0" anchor="t">
            <a:noAutofit/>
          </a:bodyPr>
          <a:lstStyle/>
          <a:p>
            <a:pPr algn="l"/>
            <a:r>
              <a:rPr lang="de-DE" sz="29000" b="1" i="0">
                <a:solidFill>
                  <a:schemeClr val="accent1"/>
                </a:solidFill>
                <a:latin typeface="Segoe UI" panose="020B0502040204020203" pitchFamily="34" charset="0"/>
                <a:cs typeface="Segoe UI" panose="020B0502040204020203" pitchFamily="34" charset="0"/>
              </a:rPr>
              <a:t>1</a:t>
            </a:r>
            <a:r>
              <a:rPr lang="en-US" sz="29000" b="1" i="0">
                <a:solidFill>
                  <a:schemeClr val="accent1"/>
                </a:solidFill>
                <a:latin typeface="Segoe UI" panose="020B0502040204020203" pitchFamily="34" charset="0"/>
                <a:cs typeface="Segoe UI" panose="020B0502040204020203" pitchFamily="34" charset="0"/>
              </a:rPr>
              <a:t>0</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982942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Large Number Divider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0385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40628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47366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72691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890699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Large Number Divider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9919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42436764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de-DE"/>
              <a:t>Mastertitelformat bearbeiten</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41348290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25381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de-DE"/>
              <a:t>Mastertitelformat bearbeiten</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64110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96300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53669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esentation Closing">
    <p:spTree>
      <p:nvGrpSpPr>
        <p:cNvPr id="1" name=""/>
        <p:cNvGrpSpPr/>
        <p:nvPr/>
      </p:nvGrpSpPr>
      <p:grpSpPr>
        <a:xfrm>
          <a:off x="0" y="0"/>
          <a:ext cx="0" cy="0"/>
          <a:chOff x="0" y="0"/>
          <a:chExt cx="0" cy="0"/>
        </a:xfrm>
      </p:grpSpPr>
      <p:pic>
        <p:nvPicPr>
          <p:cNvPr id="5" name="Picture 4" descr="A picture containing drawing&#10;&#10;Description automatically generated">
            <a:extLst>
              <a:ext uri="{FF2B5EF4-FFF2-40B4-BE49-F238E27FC236}">
                <a16:creationId xmlns:a16="http://schemas.microsoft.com/office/drawing/2014/main" id="{A4317677-3B5B-4CD9-96E0-4FC2E698F7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8803" y="2701911"/>
            <a:ext cx="3244428" cy="1454176"/>
          </a:xfrm>
          <a:prstGeom prst="rect">
            <a:avLst/>
          </a:prstGeom>
          <a:noFill/>
        </p:spPr>
      </p:pic>
      <p:pic>
        <p:nvPicPr>
          <p:cNvPr id="4" name="Picture 3" descr="A picture containing drawing&#10;&#10;Description automatically generated">
            <a:extLst>
              <a:ext uri="{FF2B5EF4-FFF2-40B4-BE49-F238E27FC236}">
                <a16:creationId xmlns:a16="http://schemas.microsoft.com/office/drawing/2014/main" id="{5776017A-BD0F-450B-88C6-7A7F987D38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8803" y="2689374"/>
            <a:ext cx="3300372" cy="1479251"/>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7690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03920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54814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696298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039071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Divide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57518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Divider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407159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10489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16999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33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12 Column Dark Bk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277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5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pendix Blue Bk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917366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8148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479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14177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8328952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88372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190920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4" y="993"/>
            <a:ext cx="5230538"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29414"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3110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686316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24321200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970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45059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163701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C81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31289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91364696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itle Only_Blac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F2C811"/>
                </a:solidFill>
              </a:defRPr>
            </a:lvl1pPr>
          </a:lstStyle>
          <a:p>
            <a:r>
              <a:rPr lang="en-US"/>
              <a:t>Click to edit Master title style</a:t>
            </a:r>
            <a:endParaRPr lang="en-IN"/>
          </a:p>
        </p:txBody>
      </p:sp>
    </p:spTree>
    <p:extLst>
      <p:ext uri="{BB962C8B-B14F-4D97-AF65-F5344CB8AC3E}">
        <p14:creationId xmlns:p14="http://schemas.microsoft.com/office/powerpoint/2010/main" val="22979838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1727579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6914709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906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85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859673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694262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017936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36279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2" name="Text Placeholder 65">
            <a:extLst>
              <a:ext uri="{FF2B5EF4-FFF2-40B4-BE49-F238E27FC236}">
                <a16:creationId xmlns:a16="http://schemas.microsoft.com/office/drawing/2014/main" id="{93738F70-C2F7-4C70-995D-3DF3FDAA68E8}"/>
              </a:ext>
            </a:extLst>
          </p:cNvPr>
          <p:cNvSpPr>
            <a:spLocks noGrp="1" noChangeAspect="1"/>
          </p:cNvSpPr>
          <p:nvPr>
            <p:ph type="body" sz="quarter" idx="18" hasCustomPrompt="1"/>
          </p:nvPr>
        </p:nvSpPr>
        <p:spPr>
          <a:xfrm>
            <a:off x="11102688" y="6257925"/>
            <a:ext cx="1089311" cy="321245"/>
          </a:xfrm>
          <a:blipFill>
            <a:blip r:embed="rId2">
              <a:extLst>
                <a:ext uri="{96DAC541-7B7A-43D3-8B79-37D633B846F1}">
                  <asvg:svgBlip xmlns:asvg="http://schemas.microsoft.com/office/drawing/2016/SVG/main" r:embed="rId3"/>
                </a:ext>
              </a:extLst>
            </a:blip>
            <a:stretch>
              <a:fillRect/>
            </a:stretch>
          </a:blipFill>
          <a:ln w="0">
            <a:solidFill>
              <a:schemeClr val="bg1">
                <a:alpha val="0"/>
              </a:schemeClr>
            </a:solidFill>
          </a:ln>
          <a:effectLst>
            <a:outerShdw dist="12700" dir="2700000" algn="tl" rotWithShape="0">
              <a:schemeClr val="bg1">
                <a:alpha val="70000"/>
              </a:schemeClr>
            </a:outerShdw>
          </a:effectLst>
        </p:spPr>
        <p:txBody>
          <a:bodyPr>
            <a:normAutofit/>
          </a:bodyPr>
          <a:lstStyle>
            <a:lvl1pPr marL="0" indent="0">
              <a:buNone/>
              <a:defRPr sz="100">
                <a:solidFill>
                  <a:schemeClr val="tx1">
                    <a:alpha val="0"/>
                  </a:schemeClr>
                </a:solidFill>
              </a:defRPr>
            </a:lvl1pPr>
          </a:lstStyle>
          <a:p>
            <a:pPr lvl="0"/>
            <a:r>
              <a:rPr lang="en-US"/>
              <a:t>hi</a:t>
            </a:r>
          </a:p>
        </p:txBody>
      </p:sp>
    </p:spTree>
    <p:extLst>
      <p:ext uri="{BB962C8B-B14F-4D97-AF65-F5344CB8AC3E}">
        <p14:creationId xmlns:p14="http://schemas.microsoft.com/office/powerpoint/2010/main" val="1552450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149517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4" y="993"/>
            <a:ext cx="5230538"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29414"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2473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0" y="0"/>
            <a:ext cx="523053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4946832"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15736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6216313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9389590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394209" y="135289"/>
            <a:ext cx="7597493"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5897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205619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403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8528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41975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mp; Non-bulleted text bla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C81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397958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17738714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Only_Blac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F2C811"/>
                </a:solidFill>
              </a:defRPr>
            </a:lvl1pPr>
          </a:lstStyle>
          <a:p>
            <a:r>
              <a:rPr lang="en-US"/>
              <a:t>Click to edit Master title style</a:t>
            </a:r>
            <a:endParaRPr lang="en-IN"/>
          </a:p>
        </p:txBody>
      </p:sp>
    </p:spTree>
    <p:extLst>
      <p:ext uri="{BB962C8B-B14F-4D97-AF65-F5344CB8AC3E}">
        <p14:creationId xmlns:p14="http://schemas.microsoft.com/office/powerpoint/2010/main" val="30879137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05560209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72733373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337160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50139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0D46A22-C55E-449F-AA2E-4C6A86A12471}" type="datetimeFigureOut">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1/2021</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960D2B-763F-4A1B-9395-8972ED16B6E3}"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2020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927940"/>
          </a:xfrm>
          <a:noFill/>
        </p:spPr>
        <p:txBody>
          <a:bodyPr tIns="91440" bIns="91440" anchor="t" anchorCtr="0">
            <a:spAutoFit/>
          </a:bodyPr>
          <a:lstStyle>
            <a:lvl1pPr marL="0" algn="l" defTabSz="914367" rtl="0" eaLnBrk="1" latinLnBrk="0" hangingPunct="1">
              <a:lnSpc>
                <a:spcPct val="90000"/>
              </a:lnSpc>
              <a:spcBef>
                <a:spcPct val="0"/>
              </a:spcBef>
              <a:buNone/>
              <a:defRPr lang="en-US" sz="5392" b="0" kern="1200" cap="none" spc="-98" baseline="0" dirty="0">
                <a:ln w="3175">
                  <a:noFill/>
                </a:ln>
                <a:gradFill>
                  <a:gsLst>
                    <a:gs pos="66272">
                      <a:schemeClr val="bg2"/>
                    </a:gs>
                    <a:gs pos="50000">
                      <a:schemeClr val="bg2"/>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932886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4357715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6175986"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68565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2915928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682150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8429025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025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9672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8289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324471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87AE2C-4230-4D91-928A-549BDF07F024}" type="datetimeFigureOut">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1/2021</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545D660-3720-445E-932F-598CFFEC0274}"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4208810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1_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111281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0" y="6474802"/>
            <a:ext cx="2584938" cy="365125"/>
          </a:xfrm>
        </p:spPr>
        <p:txBody>
          <a:bodyPr/>
          <a:lstStyle>
            <a:lvl1pPr>
              <a:defRPr b="1">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Microsoft Confidential</a:t>
            </a: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32ACF-8D3E-4AC2-9484-A06CC7189C7F}" type="slidenum">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666245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93532579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B09EC-3086-4D66-8C51-34AFAB9711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AB185303-E135-4E81-9829-7E989376D3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76B8E807-50CA-4BA4-92E5-5C533E0980CF}"/>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EF6DDD0E-4706-4A96-BE94-B7A4B88F4BE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30C1D6A-80FD-4143-8FC7-3BE40978BC9C}"/>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0984185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410D-6DF6-475B-8488-E368EFBB978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BC56482-B8D2-46C3-95FF-50AB08F269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ABBE17C-1212-433E-B034-BB7075355C35}"/>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BDD56EC2-404E-4D7A-96E3-07BB90F8AAB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59A952A-8EFA-44DD-99E7-163662BFBA52}"/>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90779934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DDFC8-CC1A-4531-89CB-EBD752BB35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340BF6C-D0F8-4E67-B48C-9B8FE5030F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77AA49-42FC-41B6-B5F8-A41CAF376AC7}"/>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D972F789-98A2-4AAA-9492-7D7D0DD1A34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867BC20-9736-450F-B345-51ED003E03DE}"/>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3160214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72318-53C8-462D-83BD-2C5B10175C3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2081E83-E62A-41C9-BCA6-F5A5574083D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CFEC6D2-4B01-486C-A6D8-4B8066D381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97C99AA-95A2-481D-B7A4-33D7CBC5C28F}"/>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6" name="Footer Placeholder 5">
            <a:extLst>
              <a:ext uri="{FF2B5EF4-FFF2-40B4-BE49-F238E27FC236}">
                <a16:creationId xmlns:a16="http://schemas.microsoft.com/office/drawing/2014/main" id="{832C5066-45AC-42AD-8A10-0653101FC77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6376C2E-E7D3-4ECD-9246-B3F389FA733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83932801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E6FEB-30A0-48FC-A5DF-AE91A8E450B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AB8AE0F-F07C-4F6F-9746-0CA096EA3A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3DBD0B7-EEFE-45F6-B5A6-A1A5573AFA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96981574-608A-489F-B9E9-418D59A283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8D184D-BBE8-40CB-9593-27884827A76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0BDEE3C-E7DF-4DC9-A504-69591D2A9033}"/>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8" name="Footer Placeholder 7">
            <a:extLst>
              <a:ext uri="{FF2B5EF4-FFF2-40B4-BE49-F238E27FC236}">
                <a16:creationId xmlns:a16="http://schemas.microsoft.com/office/drawing/2014/main" id="{0C5D7834-35A4-4B40-9C6F-27582D8B0BB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DA006FE-1D8A-4FF8-9973-003D0527FD63}"/>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491504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7888-555A-4722-811D-38CD9BDA678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715518A-D931-405D-B9D8-751258A58AB1}"/>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4" name="Footer Placeholder 3">
            <a:extLst>
              <a:ext uri="{FF2B5EF4-FFF2-40B4-BE49-F238E27FC236}">
                <a16:creationId xmlns:a16="http://schemas.microsoft.com/office/drawing/2014/main" id="{C2EB40FA-EE15-45B5-B199-41A1E93C7028}"/>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59CC337-D15A-42FD-9DF4-645252938347}"/>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413151137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824EE7-E859-4BFF-A9A1-72B792236CFB}"/>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3" name="Footer Placeholder 2">
            <a:extLst>
              <a:ext uri="{FF2B5EF4-FFF2-40B4-BE49-F238E27FC236}">
                <a16:creationId xmlns:a16="http://schemas.microsoft.com/office/drawing/2014/main" id="{E57E999D-0DF7-4BB8-83D1-E9CDC513867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50FDBC3-A909-4615-AD05-5305F72627D5}"/>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2410175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61382605"/>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1523F-8BB7-413F-A6E0-7B76211598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4F4B7C22-048A-463E-9312-EA0E4F77BB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5C7F8466-597A-4D87-9E48-C5C2FAC667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ED513B-AD98-4A8E-8C0F-D86D734B65DE}"/>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6" name="Footer Placeholder 5">
            <a:extLst>
              <a:ext uri="{FF2B5EF4-FFF2-40B4-BE49-F238E27FC236}">
                <a16:creationId xmlns:a16="http://schemas.microsoft.com/office/drawing/2014/main" id="{BB8F1B16-C473-480E-A668-2726485DAD9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FC75B6A-511A-4EB7-9703-52F39971D7AB}"/>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12473597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302A4-A0BD-4E54-B4D8-F38E38E1B6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F6484FBC-55D5-4ED7-97D5-A96F88A341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DB4E1969-016F-4524-9775-9A3195CB7B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5C6296-B38B-4369-936F-B442576E4C26}"/>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6" name="Footer Placeholder 5">
            <a:extLst>
              <a:ext uri="{FF2B5EF4-FFF2-40B4-BE49-F238E27FC236}">
                <a16:creationId xmlns:a16="http://schemas.microsoft.com/office/drawing/2014/main" id="{87FE9894-B8F9-4160-8EB8-B64FC0AE7F1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4F1A618-416C-4ADF-986E-8BBA73B72D7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424308548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545D-5158-472A-A9AB-81EA00E1112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2C84CBE-7032-418B-BABF-3E4EAAA37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749FE15-0C4E-46FB-9CC4-2AB4D71CF775}"/>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813BD2FF-20E4-42AB-AB68-6D1B7017EED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723C069-3340-4367-9A47-1E8758BE4C0F}"/>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13600214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E27F3F-CB86-443C-A471-50C3BF3ECE0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857BAF2-747A-4B88-8486-332CB1926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F34B1E-A6A5-4F81-889E-2E41110B8EAD}"/>
              </a:ext>
            </a:extLst>
          </p:cNvPr>
          <p:cNvSpPr>
            <a:spLocks noGrp="1"/>
          </p:cNvSpPr>
          <p:nvPr>
            <p:ph type="dt" sz="half" idx="10"/>
          </p:nvPr>
        </p:nvSpPr>
        <p:spPr/>
        <p:txBody>
          <a:body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810D5C12-D104-4578-8964-C00E6981A29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33FD7F2-4BCE-47EF-9A2C-CEAF13065653}"/>
              </a:ext>
            </a:extLst>
          </p:cNvPr>
          <p:cNvSpPr>
            <a:spLocks noGrp="1"/>
          </p:cNvSpPr>
          <p:nvPr>
            <p:ph type="sldNum" sz="quarter" idx="12"/>
          </p:nvPr>
        </p:nvSpPr>
        <p:spPr/>
        <p:txBody>
          <a:bodyPr/>
          <a:lstStyle/>
          <a:p>
            <a:fld id="{B662E80E-ACFD-4AD8-94D1-8E26B16E2B18}" type="slidenum">
              <a:rPr lang="en-IN" smtClean="0"/>
              <a:t>‹Nr.›</a:t>
            </a:fld>
            <a:endParaRPr lang="en-IN"/>
          </a:p>
        </p:txBody>
      </p:sp>
    </p:spTree>
    <p:extLst>
      <p:ext uri="{BB962C8B-B14F-4D97-AF65-F5344CB8AC3E}">
        <p14:creationId xmlns:p14="http://schemas.microsoft.com/office/powerpoint/2010/main" val="31112015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47761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40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4705259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2135181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40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2929640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4766604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Presentation 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Thank you</a:t>
            </a:r>
          </a:p>
        </p:txBody>
      </p:sp>
    </p:spTree>
    <p:extLst>
      <p:ext uri="{BB962C8B-B14F-4D97-AF65-F5344CB8AC3E}">
        <p14:creationId xmlns:p14="http://schemas.microsoft.com/office/powerpoint/2010/main" val="142365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8F725DAA-1E84-4347-BC73-81B7FD2A7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 y="36000"/>
            <a:ext cx="1847360" cy="828000"/>
          </a:xfrm>
          <a:prstGeom prst="rect">
            <a:avLst/>
          </a:prstGeom>
          <a:noFill/>
        </p:spPr>
      </p:pic>
      <p:sp>
        <p:nvSpPr>
          <p:cNvPr id="5" name="Title 1">
            <a:extLst>
              <a:ext uri="{FF2B5EF4-FFF2-40B4-BE49-F238E27FC236}">
                <a16:creationId xmlns:a16="http://schemas.microsoft.com/office/drawing/2014/main" id="{F7989F08-A276-4B48-B04B-1B1BE3E00627}"/>
              </a:ext>
            </a:extLst>
          </p:cNvPr>
          <p:cNvSpPr>
            <a:spLocks noGrp="1"/>
          </p:cNvSpPr>
          <p:nvPr>
            <p:ph type="ctrTitle"/>
          </p:nvPr>
        </p:nvSpPr>
        <p:spPr>
          <a:xfrm>
            <a:off x="1080999" y="1170446"/>
            <a:ext cx="9788342" cy="2387600"/>
          </a:xfrm>
        </p:spPr>
        <p:txBody>
          <a:bodyPr>
            <a:normAutofit/>
          </a:bodyPr>
          <a:lstStyle>
            <a:lvl1pPr>
              <a:defRPr baseline="0">
                <a:solidFill>
                  <a:schemeClr val="bg1"/>
                </a:solidFill>
              </a:defRPr>
            </a:lvl1pPr>
          </a:lstStyle>
          <a:p>
            <a:pPr algn="l"/>
            <a:endParaRPr lang="en-US" sz="4800">
              <a:solidFill>
                <a:srgbClr val="282828"/>
              </a:solidFill>
              <a:latin typeface="Segoe UI Light" panose="020B0502040204020203" pitchFamily="34" charset="0"/>
              <a:cs typeface="Segoe UI Light" panose="020B0502040204020203" pitchFamily="34" charset="0"/>
            </a:endParaRPr>
          </a:p>
        </p:txBody>
      </p:sp>
      <p:sp>
        <p:nvSpPr>
          <p:cNvPr id="7" name="Subtitle 2">
            <a:extLst>
              <a:ext uri="{FF2B5EF4-FFF2-40B4-BE49-F238E27FC236}">
                <a16:creationId xmlns:a16="http://schemas.microsoft.com/office/drawing/2014/main" id="{73B16463-5F58-466A-8027-4C7275167D34}"/>
              </a:ext>
            </a:extLst>
          </p:cNvPr>
          <p:cNvSpPr>
            <a:spLocks noGrp="1"/>
          </p:cNvSpPr>
          <p:nvPr>
            <p:ph type="subTitle" idx="1"/>
          </p:nvPr>
        </p:nvSpPr>
        <p:spPr>
          <a:xfrm>
            <a:off x="1201829" y="3039204"/>
            <a:ext cx="9788342" cy="2648350"/>
          </a:xfrm>
        </p:spPr>
        <p:txBody>
          <a:bodyPr>
            <a:normAutofit/>
          </a:bodyPr>
          <a:lstStyle>
            <a:lvl1pPr>
              <a:defRPr>
                <a:solidFill>
                  <a:schemeClr val="bg1"/>
                </a:solidFill>
              </a:defRPr>
            </a:lvl1pPr>
          </a:lstStyle>
          <a:p>
            <a:endParaRPr lang="en-US"/>
          </a:p>
        </p:txBody>
      </p:sp>
    </p:spTree>
    <p:extLst>
      <p:ext uri="{BB962C8B-B14F-4D97-AF65-F5344CB8AC3E}">
        <p14:creationId xmlns:p14="http://schemas.microsoft.com/office/powerpoint/2010/main" val="101650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de-DE"/>
              <a:t>Bild durch Klicken auf Symbol hinzufügen</a:t>
            </a:r>
            <a:endParaRPr lang="en-US"/>
          </a:p>
        </p:txBody>
      </p:sp>
    </p:spTree>
    <p:extLst>
      <p:ext uri="{BB962C8B-B14F-4D97-AF65-F5344CB8AC3E}">
        <p14:creationId xmlns:p14="http://schemas.microsoft.com/office/powerpoint/2010/main" val="235393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36127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1_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286310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2584508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de-DE"/>
              <a:t>Bild durch Klicken auf Symbol hinzufügen</a:t>
            </a:r>
            <a:endParaRPr lang="en-US"/>
          </a:p>
        </p:txBody>
      </p:sp>
    </p:spTree>
    <p:extLst>
      <p:ext uri="{BB962C8B-B14F-4D97-AF65-F5344CB8AC3E}">
        <p14:creationId xmlns:p14="http://schemas.microsoft.com/office/powerpoint/2010/main" val="2932120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45627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1259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61477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9952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de-DE"/>
              <a:t>Bild durch Klicken auf Symbol hinzufügen</a:t>
            </a:r>
            <a:endParaRPr lang="en-US"/>
          </a:p>
        </p:txBody>
      </p:sp>
    </p:spTree>
    <p:extLst>
      <p:ext uri="{BB962C8B-B14F-4D97-AF65-F5344CB8AC3E}">
        <p14:creationId xmlns:p14="http://schemas.microsoft.com/office/powerpoint/2010/main" val="1494406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Slide Color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90097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Black Bk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65991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6771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44725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70109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862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5992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4217010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001562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37701595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5217827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924728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907244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de-DE"/>
              <a:t>Mastertitelformat bearbeiten</a:t>
            </a:r>
            <a:endParaRPr lang="en-US"/>
          </a:p>
        </p:txBody>
      </p:sp>
    </p:spTree>
    <p:extLst>
      <p:ext uri="{BB962C8B-B14F-4D97-AF65-F5344CB8AC3E}">
        <p14:creationId xmlns:p14="http://schemas.microsoft.com/office/powerpoint/2010/main" val="20278428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44760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3730975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5867786"/>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7012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de-DE"/>
              <a:t>Mastertitelformat bearbeiten</a:t>
            </a:r>
            <a:endParaRPr lang="en-US"/>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260178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07820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28472518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028426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125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604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616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4965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6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46341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4097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4748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54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539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007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106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de-DE"/>
              <a:t>Mastertitelformat bearbeiten</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02627192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Header Line 12 Month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de-DE"/>
              <a:t>Mastertitelformat bearbeiten</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2008607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972604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4_Header Line 12 Month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de-DE"/>
              <a:t>Mastertitelformat bearbeiten</a:t>
            </a:r>
            <a:endParaRPr lang="en-US"/>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a:t>Mastertextformat bearbeiten</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412820941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de-DE"/>
              <a:t>Mastertextformat bearbeiten</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80931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86890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95211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de-DE"/>
              <a:t>Bild durch Klicken auf Symbol hinzufügen</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de-DE"/>
              <a:t>Mastertitelformat bearbeiten</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86577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R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de-DE"/>
              <a:t>Bild durch Klicken auf Symbol hinzufügen</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de-DE"/>
              <a:t>Mastertitelformat bearbeiten</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9215275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13869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64014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66891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de-DE"/>
              <a:t>Mastertitelformat bearbeiten</a:t>
            </a:r>
            <a:endParaRPr lang="en-US"/>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44319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437289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23250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58910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28288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7844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36272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34057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78056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7926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3642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92468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86909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17838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6339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9579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12292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slide 1b">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557266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slide 2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7354246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de-DE"/>
              <a:t>Bild durch Klicken auf Symbol hinzufügen</a:t>
            </a:r>
            <a:endParaRPr lang="en-US"/>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411163526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761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0762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6540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8424931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Tree>
    <p:extLst>
      <p:ext uri="{BB962C8B-B14F-4D97-AF65-F5344CB8AC3E}">
        <p14:creationId xmlns:p14="http://schemas.microsoft.com/office/powerpoint/2010/main" val="40157467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ft Title 3 Colum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de-DE"/>
              <a:t>Mastertextformat bearbeiten</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95007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48329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8547624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9536293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40035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de-DE"/>
              <a:t>Mastertextformat bearbeiten</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de-DE"/>
              <a:t>Mastertextformat bearbeiten</a:t>
            </a:r>
          </a:p>
        </p:txBody>
      </p:sp>
    </p:spTree>
    <p:extLst>
      <p:ext uri="{BB962C8B-B14F-4D97-AF65-F5344CB8AC3E}">
        <p14:creationId xmlns:p14="http://schemas.microsoft.com/office/powerpoint/2010/main" val="85136909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6627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5">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de-DE"/>
              <a:t>Mastertextformat bearbeiten</a:t>
            </a:r>
          </a:p>
        </p:txBody>
      </p:sp>
    </p:spTree>
    <p:extLst>
      <p:ext uri="{BB962C8B-B14F-4D97-AF65-F5344CB8AC3E}">
        <p14:creationId xmlns:p14="http://schemas.microsoft.com/office/powerpoint/2010/main" val="1554187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1254343523"/>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117" Type="http://schemas.openxmlformats.org/officeDocument/2006/relationships/image" Target="../media/image5.emf"/><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84" Type="http://schemas.openxmlformats.org/officeDocument/2006/relationships/slideLayout" Target="../slideLayouts/slideLayout103.xml"/><Relationship Id="rId89" Type="http://schemas.openxmlformats.org/officeDocument/2006/relationships/slideLayout" Target="../slideLayouts/slideLayout108.xml"/><Relationship Id="rId112" Type="http://schemas.openxmlformats.org/officeDocument/2006/relationships/slideLayout" Target="../slideLayouts/slideLayout131.xml"/><Relationship Id="rId16" Type="http://schemas.openxmlformats.org/officeDocument/2006/relationships/slideLayout" Target="../slideLayouts/slideLayout35.xml"/><Relationship Id="rId107" Type="http://schemas.openxmlformats.org/officeDocument/2006/relationships/slideLayout" Target="../slideLayouts/slideLayout126.xml"/><Relationship Id="rId11" Type="http://schemas.openxmlformats.org/officeDocument/2006/relationships/slideLayout" Target="../slideLayouts/slideLayout30.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74" Type="http://schemas.openxmlformats.org/officeDocument/2006/relationships/slideLayout" Target="../slideLayouts/slideLayout93.xml"/><Relationship Id="rId79" Type="http://schemas.openxmlformats.org/officeDocument/2006/relationships/slideLayout" Target="../slideLayouts/slideLayout98.xml"/><Relationship Id="rId102" Type="http://schemas.openxmlformats.org/officeDocument/2006/relationships/slideLayout" Target="../slideLayouts/slideLayout121.xml"/><Relationship Id="rId5" Type="http://schemas.openxmlformats.org/officeDocument/2006/relationships/slideLayout" Target="../slideLayouts/slideLayout24.xml"/><Relationship Id="rId90" Type="http://schemas.openxmlformats.org/officeDocument/2006/relationships/slideLayout" Target="../slideLayouts/slideLayout109.xml"/><Relationship Id="rId95" Type="http://schemas.openxmlformats.org/officeDocument/2006/relationships/slideLayout" Target="../slideLayouts/slideLayout114.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113" Type="http://schemas.openxmlformats.org/officeDocument/2006/relationships/slideLayout" Target="../slideLayouts/slideLayout132.xml"/><Relationship Id="rId80" Type="http://schemas.openxmlformats.org/officeDocument/2006/relationships/slideLayout" Target="../slideLayouts/slideLayout99.xml"/><Relationship Id="rId85" Type="http://schemas.openxmlformats.org/officeDocument/2006/relationships/slideLayout" Target="../slideLayouts/slideLayout104.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59" Type="http://schemas.openxmlformats.org/officeDocument/2006/relationships/slideLayout" Target="../slideLayouts/slideLayout78.xml"/><Relationship Id="rId103" Type="http://schemas.openxmlformats.org/officeDocument/2006/relationships/slideLayout" Target="../slideLayouts/slideLayout122.xml"/><Relationship Id="rId108" Type="http://schemas.openxmlformats.org/officeDocument/2006/relationships/slideLayout" Target="../slideLayouts/slideLayout127.xml"/><Relationship Id="rId54" Type="http://schemas.openxmlformats.org/officeDocument/2006/relationships/slideLayout" Target="../slideLayouts/slideLayout73.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91" Type="http://schemas.openxmlformats.org/officeDocument/2006/relationships/slideLayout" Target="../slideLayouts/slideLayout110.xml"/><Relationship Id="rId96" Type="http://schemas.openxmlformats.org/officeDocument/2006/relationships/slideLayout" Target="../slideLayouts/slideLayout11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49" Type="http://schemas.openxmlformats.org/officeDocument/2006/relationships/slideLayout" Target="../slideLayouts/slideLayout68.xml"/><Relationship Id="rId114" Type="http://schemas.openxmlformats.org/officeDocument/2006/relationships/slideLayout" Target="../slideLayouts/slideLayout133.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slideLayout" Target="../slideLayouts/slideLayout100.xml"/><Relationship Id="rId86" Type="http://schemas.openxmlformats.org/officeDocument/2006/relationships/slideLayout" Target="../slideLayouts/slideLayout105.xml"/><Relationship Id="rId94" Type="http://schemas.openxmlformats.org/officeDocument/2006/relationships/slideLayout" Target="../slideLayouts/slideLayout113.xml"/><Relationship Id="rId99" Type="http://schemas.openxmlformats.org/officeDocument/2006/relationships/slideLayout" Target="../slideLayouts/slideLayout118.xml"/><Relationship Id="rId101" Type="http://schemas.openxmlformats.org/officeDocument/2006/relationships/slideLayout" Target="../slideLayouts/slideLayout12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109" Type="http://schemas.openxmlformats.org/officeDocument/2006/relationships/slideLayout" Target="../slideLayouts/slideLayout12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97" Type="http://schemas.openxmlformats.org/officeDocument/2006/relationships/slideLayout" Target="../slideLayouts/slideLayout116.xml"/><Relationship Id="rId104" Type="http://schemas.openxmlformats.org/officeDocument/2006/relationships/slideLayout" Target="../slideLayouts/slideLayout123.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92" Type="http://schemas.openxmlformats.org/officeDocument/2006/relationships/slideLayout" Target="../slideLayouts/slideLayout111.xml"/><Relationship Id="rId2" Type="http://schemas.openxmlformats.org/officeDocument/2006/relationships/slideLayout" Target="../slideLayouts/slideLayout21.xml"/><Relationship Id="rId29" Type="http://schemas.openxmlformats.org/officeDocument/2006/relationships/slideLayout" Target="../slideLayouts/slideLayout48.xml"/><Relationship Id="rId24" Type="http://schemas.openxmlformats.org/officeDocument/2006/relationships/slideLayout" Target="../slideLayouts/slideLayout43.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66" Type="http://schemas.openxmlformats.org/officeDocument/2006/relationships/slideLayout" Target="../slideLayouts/slideLayout85.xml"/><Relationship Id="rId87" Type="http://schemas.openxmlformats.org/officeDocument/2006/relationships/slideLayout" Target="../slideLayouts/slideLayout106.xml"/><Relationship Id="rId110" Type="http://schemas.openxmlformats.org/officeDocument/2006/relationships/slideLayout" Target="../slideLayouts/slideLayout129.xml"/><Relationship Id="rId115" Type="http://schemas.openxmlformats.org/officeDocument/2006/relationships/slideLayout" Target="../slideLayouts/slideLayout134.xml"/><Relationship Id="rId61" Type="http://schemas.openxmlformats.org/officeDocument/2006/relationships/slideLayout" Target="../slideLayouts/slideLayout80.xml"/><Relationship Id="rId82" Type="http://schemas.openxmlformats.org/officeDocument/2006/relationships/slideLayout" Target="../slideLayouts/slideLayout101.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56" Type="http://schemas.openxmlformats.org/officeDocument/2006/relationships/slideLayout" Target="../slideLayouts/slideLayout75.xml"/><Relationship Id="rId77" Type="http://schemas.openxmlformats.org/officeDocument/2006/relationships/slideLayout" Target="../slideLayouts/slideLayout96.xml"/><Relationship Id="rId100" Type="http://schemas.openxmlformats.org/officeDocument/2006/relationships/slideLayout" Target="../slideLayouts/slideLayout119.xml"/><Relationship Id="rId105" Type="http://schemas.openxmlformats.org/officeDocument/2006/relationships/slideLayout" Target="../slideLayouts/slideLayout124.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93" Type="http://schemas.openxmlformats.org/officeDocument/2006/relationships/slideLayout" Target="../slideLayouts/slideLayout112.xml"/><Relationship Id="rId98" Type="http://schemas.openxmlformats.org/officeDocument/2006/relationships/slideLayout" Target="../slideLayouts/slideLayout117.xml"/><Relationship Id="rId3" Type="http://schemas.openxmlformats.org/officeDocument/2006/relationships/slideLayout" Target="../slideLayouts/slideLayout22.xml"/><Relationship Id="rId25" Type="http://schemas.openxmlformats.org/officeDocument/2006/relationships/slideLayout" Target="../slideLayouts/slideLayout44.xml"/><Relationship Id="rId46" Type="http://schemas.openxmlformats.org/officeDocument/2006/relationships/slideLayout" Target="../slideLayouts/slideLayout65.xml"/><Relationship Id="rId67" Type="http://schemas.openxmlformats.org/officeDocument/2006/relationships/slideLayout" Target="../slideLayouts/slideLayout86.xml"/><Relationship Id="rId116" Type="http://schemas.openxmlformats.org/officeDocument/2006/relationships/theme" Target="../theme/theme2.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62" Type="http://schemas.openxmlformats.org/officeDocument/2006/relationships/slideLayout" Target="../slideLayouts/slideLayout81.xml"/><Relationship Id="rId83" Type="http://schemas.openxmlformats.org/officeDocument/2006/relationships/slideLayout" Target="../slideLayouts/slideLayout102.xml"/><Relationship Id="rId88" Type="http://schemas.openxmlformats.org/officeDocument/2006/relationships/slideLayout" Target="../slideLayouts/slideLayout107.xml"/><Relationship Id="rId111" Type="http://schemas.openxmlformats.org/officeDocument/2006/relationships/slideLayout" Target="../slideLayouts/slideLayout130.xml"/><Relationship Id="rId15" Type="http://schemas.openxmlformats.org/officeDocument/2006/relationships/slideLayout" Target="../slideLayouts/slideLayout34.xml"/><Relationship Id="rId36" Type="http://schemas.openxmlformats.org/officeDocument/2006/relationships/slideLayout" Target="../slideLayouts/slideLayout55.xml"/><Relationship Id="rId57" Type="http://schemas.openxmlformats.org/officeDocument/2006/relationships/slideLayout" Target="../slideLayouts/slideLayout76.xml"/><Relationship Id="rId106" Type="http://schemas.openxmlformats.org/officeDocument/2006/relationships/slideLayout" Target="../slideLayouts/slideLayout1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theme" Target="../theme/theme4.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71.xml"/><Relationship Id="rId1" Type="http://schemas.openxmlformats.org/officeDocument/2006/relationships/slideLayout" Target="../slideLayouts/slideLayout1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9.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theme" Target="../theme/theme6.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7.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96.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theme" Target="../theme/theme9.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4"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4671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885"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52429987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4" r:id="rId54"/>
    <p:sldLayoutId id="2147483735" r:id="rId55"/>
    <p:sldLayoutId id="2147483736" r:id="rId56"/>
    <p:sldLayoutId id="2147483737" r:id="rId57"/>
    <p:sldLayoutId id="2147483738" r:id="rId58"/>
    <p:sldLayoutId id="2147483739" r:id="rId59"/>
    <p:sldLayoutId id="2147483740" r:id="rId60"/>
    <p:sldLayoutId id="2147483741" r:id="rId61"/>
    <p:sldLayoutId id="2147483742" r:id="rId62"/>
    <p:sldLayoutId id="2147483743" r:id="rId63"/>
    <p:sldLayoutId id="2147483744" r:id="rId64"/>
    <p:sldLayoutId id="2147483745" r:id="rId65"/>
    <p:sldLayoutId id="2147483746" r:id="rId66"/>
    <p:sldLayoutId id="2147483747" r:id="rId67"/>
    <p:sldLayoutId id="2147483748" r:id="rId68"/>
    <p:sldLayoutId id="2147483749" r:id="rId69"/>
    <p:sldLayoutId id="2147483750" r:id="rId70"/>
    <p:sldLayoutId id="2147483751" r:id="rId71"/>
    <p:sldLayoutId id="2147483752" r:id="rId72"/>
    <p:sldLayoutId id="2147483753" r:id="rId73"/>
    <p:sldLayoutId id="2147483754" r:id="rId74"/>
    <p:sldLayoutId id="2147483755" r:id="rId75"/>
    <p:sldLayoutId id="2147483756" r:id="rId76"/>
    <p:sldLayoutId id="2147483757" r:id="rId77"/>
    <p:sldLayoutId id="2147483758" r:id="rId78"/>
    <p:sldLayoutId id="2147483759" r:id="rId79"/>
    <p:sldLayoutId id="2147483760" r:id="rId80"/>
    <p:sldLayoutId id="2147483761" r:id="rId81"/>
    <p:sldLayoutId id="2147483762" r:id="rId82"/>
    <p:sldLayoutId id="2147483763" r:id="rId83"/>
    <p:sldLayoutId id="2147483764" r:id="rId84"/>
    <p:sldLayoutId id="2147483765" r:id="rId85"/>
    <p:sldLayoutId id="2147483766" r:id="rId86"/>
    <p:sldLayoutId id="2147483767" r:id="rId87"/>
    <p:sldLayoutId id="2147483768" r:id="rId88"/>
    <p:sldLayoutId id="2147483769" r:id="rId89"/>
    <p:sldLayoutId id="2147483770" r:id="rId90"/>
    <p:sldLayoutId id="2147483771" r:id="rId91"/>
    <p:sldLayoutId id="2147483772" r:id="rId92"/>
    <p:sldLayoutId id="2147483773" r:id="rId93"/>
    <p:sldLayoutId id="2147483774" r:id="rId94"/>
    <p:sldLayoutId id="2147483775" r:id="rId95"/>
    <p:sldLayoutId id="2147483776" r:id="rId96"/>
    <p:sldLayoutId id="2147483777" r:id="rId97"/>
    <p:sldLayoutId id="2147483778" r:id="rId98"/>
    <p:sldLayoutId id="2147483779" r:id="rId99"/>
    <p:sldLayoutId id="2147483780" r:id="rId100"/>
    <p:sldLayoutId id="2147483781" r:id="rId101"/>
    <p:sldLayoutId id="2147483782" r:id="rId102"/>
    <p:sldLayoutId id="2147483783" r:id="rId103"/>
    <p:sldLayoutId id="2147483784" r:id="rId104"/>
    <p:sldLayoutId id="2147483785" r:id="rId105"/>
    <p:sldLayoutId id="2147483786" r:id="rId106"/>
    <p:sldLayoutId id="2147483787" r:id="rId107"/>
    <p:sldLayoutId id="2147483788" r:id="rId108"/>
    <p:sldLayoutId id="2147483789" r:id="rId109"/>
    <p:sldLayoutId id="2147483790" r:id="rId110"/>
    <p:sldLayoutId id="2147483791" r:id="rId111"/>
    <p:sldLayoutId id="2147483792" r:id="rId112"/>
    <p:sldLayoutId id="2147483793" r:id="rId113"/>
    <p:sldLayoutId id="2147483794" r:id="rId114"/>
    <p:sldLayoutId id="2147483795"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81112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3" r:id="rId16"/>
    <p:sldLayoutId id="2147483814" r:id="rId17"/>
    <p:sldLayoutId id="214748388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69965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974100"/>
      </p:ext>
    </p:extLst>
  </p:cSld>
  <p:clrMap bg1="lt1" tx1="dk1" bg2="lt2" tx2="dk2" accent1="accent1" accent2="accent2" accent3="accent3" accent4="accent4" accent5="accent5" accent6="accent6" hlink="hlink" folHlink="folHlink"/>
  <p:sldLayoutIdLst>
    <p:sldLayoutId id="2147483834" r:id="rId1"/>
    <p:sldLayoutId id="2147483835" r:id="rId2"/>
  </p:sldLayoutIdLst>
  <p:transition>
    <p:fade/>
  </p:transition>
  <p:txStyles>
    <p:titleStyle>
      <a:lvl1pPr algn="l" defTabSz="914367" rtl="0" eaLnBrk="1" latinLnBrk="0" hangingPunct="1">
        <a:lnSpc>
          <a:spcPct val="90000"/>
        </a:lnSpc>
        <a:spcBef>
          <a:spcPct val="0"/>
        </a:spcBef>
        <a:buNone/>
        <a:defRPr lang="en-US" sz="3921" b="0" kern="1200" cap="none" spc="-100" baseline="0" dirty="0">
          <a:ln w="3175">
            <a:noFill/>
          </a:ln>
          <a:gradFill>
            <a:gsLst>
              <a:gs pos="66272">
                <a:srgbClr val="000000"/>
              </a:gs>
              <a:gs pos="45562">
                <a:srgbClr val="000000"/>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8599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0EBB6A-F4BB-4A02-8E57-0B4092EF59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92CC12D-6CFE-4187-97BA-4963987498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892E349-5308-4D0F-968A-689B73B568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F0CD33-EBB7-42D4-9937-1D1A9ED202A2}" type="datetimeFigureOut">
              <a:rPr lang="en-IN" smtClean="0"/>
              <a:t>21-10-2021</a:t>
            </a:fld>
            <a:endParaRPr lang="en-IN"/>
          </a:p>
        </p:txBody>
      </p:sp>
      <p:sp>
        <p:nvSpPr>
          <p:cNvPr id="5" name="Footer Placeholder 4">
            <a:extLst>
              <a:ext uri="{FF2B5EF4-FFF2-40B4-BE49-F238E27FC236}">
                <a16:creationId xmlns:a16="http://schemas.microsoft.com/office/drawing/2014/main" id="{22556136-8B66-4658-BEF4-E4C5D73FE8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D3ED00E-7948-4616-B044-E13A6E30A7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62E80E-ACFD-4AD8-94D1-8E26B16E2B18}" type="slidenum">
              <a:rPr lang="en-IN" smtClean="0"/>
              <a:t>‹Nr.›</a:t>
            </a:fld>
            <a:endParaRPr lang="en-IN"/>
          </a:p>
        </p:txBody>
      </p:sp>
    </p:spTree>
    <p:extLst>
      <p:ext uri="{BB962C8B-B14F-4D97-AF65-F5344CB8AC3E}">
        <p14:creationId xmlns:p14="http://schemas.microsoft.com/office/powerpoint/2010/main" val="3049652695"/>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9912"/>
      </p:ext>
    </p:extLst>
  </p:cSld>
  <p:clrMap bg1="lt1" tx1="dk1" bg2="lt2" tx2="dk2" accent1="accent1" accent2="accent2" accent3="accent3" accent4="accent4" accent5="accent5" accent6="accent6" hlink="hlink" folHlink="folHlink"/>
  <p:sldLayoutIdLst>
    <p:sldLayoutId id="2147483861" r:id="rId1"/>
    <p:sldLayoutId id="2147483881" r:id="rId2"/>
    <p:sldLayoutId id="214748388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59129"/>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j-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j-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j-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j-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notesSlide" Target="../notesSlides/notesSlide10.xml"/><Relationship Id="rId21" Type="http://schemas.openxmlformats.org/officeDocument/2006/relationships/diagramLayout" Target="../diagrams/layout7.xml"/><Relationship Id="rId7" Type="http://schemas.openxmlformats.org/officeDocument/2006/relationships/image" Target="../media/image68.svg"/><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slideLayout" Target="../slideLayouts/slideLayout9.xml"/><Relationship Id="rId16" Type="http://schemas.openxmlformats.org/officeDocument/2006/relationships/diagramLayout" Target="../diagrams/layout6.xml"/><Relationship Id="rId20" Type="http://schemas.openxmlformats.org/officeDocument/2006/relationships/diagramData" Target="../diagrams/data7.xml"/><Relationship Id="rId1" Type="http://schemas.openxmlformats.org/officeDocument/2006/relationships/tags" Target="../tags/tag17.xml"/><Relationship Id="rId6" Type="http://schemas.openxmlformats.org/officeDocument/2006/relationships/image" Target="../media/image51.png"/><Relationship Id="rId11" Type="http://schemas.openxmlformats.org/officeDocument/2006/relationships/diagramLayout" Target="../diagrams/layout5.xml"/><Relationship Id="rId24" Type="http://schemas.microsoft.com/office/2007/relationships/diagramDrawing" Target="../diagrams/drawing7.xml"/><Relationship Id="rId5" Type="http://schemas.openxmlformats.org/officeDocument/2006/relationships/image" Target="../media/image67.svg"/><Relationship Id="rId15" Type="http://schemas.openxmlformats.org/officeDocument/2006/relationships/diagramData" Target="../diagrams/data6.xml"/><Relationship Id="rId23" Type="http://schemas.openxmlformats.org/officeDocument/2006/relationships/diagramColors" Target="../diagrams/colors7.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image" Target="../media/image55.png"/><Relationship Id="rId9" Type="http://schemas.openxmlformats.org/officeDocument/2006/relationships/image" Target="../media/image69.svg"/><Relationship Id="rId14" Type="http://schemas.microsoft.com/office/2007/relationships/diagramDrawing" Target="../diagrams/drawing5.xml"/><Relationship Id="rId22" Type="http://schemas.openxmlformats.org/officeDocument/2006/relationships/diagramQuickStyle" Target="../diagrams/quickStyle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8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97.xml"/><Relationship Id="rId1" Type="http://schemas.openxmlformats.org/officeDocument/2006/relationships/slideLayout" Target="../slideLayouts/slideLayout14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4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40.xml"/></Relationships>
</file>

<file path=ppt/slides/_rels/slide106.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00.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3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0.xml"/></Relationships>
</file>

<file path=ppt/slides/_rels/slide10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03.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1.xml"/><Relationship Id="rId7" Type="http://schemas.openxmlformats.org/officeDocument/2006/relationships/diagramColors" Target="../diagrams/colors8.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10.xml.rels><?xml version="1.0" encoding="UTF-8" standalone="yes"?>
<Relationships xmlns="http://schemas.openxmlformats.org/package/2006/relationships"><Relationship Id="rId8" Type="http://schemas.openxmlformats.org/officeDocument/2006/relationships/image" Target="../media/image176.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04.xml"/><Relationship Id="rId1" Type="http://schemas.openxmlformats.org/officeDocument/2006/relationships/slideLayout" Target="../slideLayouts/slideLayout184.xml"/><Relationship Id="rId6" Type="http://schemas.openxmlformats.org/officeDocument/2006/relationships/image" Target="../media/image175.svg"/><Relationship Id="rId5" Type="http://schemas.openxmlformats.org/officeDocument/2006/relationships/image" Target="../media/image81.png"/><Relationship Id="rId10" Type="http://schemas.openxmlformats.org/officeDocument/2006/relationships/image" Target="../media/image177.svg"/><Relationship Id="rId4" Type="http://schemas.openxmlformats.org/officeDocument/2006/relationships/image" Target="../media/image174.svg"/><Relationship Id="rId9" Type="http://schemas.openxmlformats.org/officeDocument/2006/relationships/image" Target="../media/image85.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7.xml"/></Relationships>
</file>

<file path=ppt/slides/_rels/slide113.xml.rels><?xml version="1.0" encoding="UTF-8" standalone="yes"?>
<Relationships xmlns="http://schemas.openxmlformats.org/package/2006/relationships"><Relationship Id="rId8" Type="http://schemas.openxmlformats.org/officeDocument/2006/relationships/image" Target="../media/image176.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07.xml"/><Relationship Id="rId1" Type="http://schemas.openxmlformats.org/officeDocument/2006/relationships/slideLayout" Target="../slideLayouts/slideLayout145.xml"/><Relationship Id="rId6" Type="http://schemas.openxmlformats.org/officeDocument/2006/relationships/image" Target="../media/image175.svg"/><Relationship Id="rId5" Type="http://schemas.openxmlformats.org/officeDocument/2006/relationships/image" Target="../media/image81.png"/><Relationship Id="rId10" Type="http://schemas.openxmlformats.org/officeDocument/2006/relationships/image" Target="../media/image177.svg"/><Relationship Id="rId4" Type="http://schemas.openxmlformats.org/officeDocument/2006/relationships/image" Target="../media/image174.svg"/><Relationship Id="rId9" Type="http://schemas.openxmlformats.org/officeDocument/2006/relationships/image" Target="../media/image85.png"/></Relationships>
</file>

<file path=ppt/slides/_rels/slide114.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108.xml"/><Relationship Id="rId1" Type="http://schemas.openxmlformats.org/officeDocument/2006/relationships/slideLayout" Target="../slideLayouts/slideLayout145.xml"/></Relationships>
</file>

<file path=ppt/slides/_rels/slide115.xml.rels><?xml version="1.0" encoding="UTF-8" standalone="yes"?>
<Relationships xmlns="http://schemas.openxmlformats.org/package/2006/relationships"><Relationship Id="rId3" Type="http://schemas.openxmlformats.org/officeDocument/2006/relationships/image" Target="../media/image179.emf"/><Relationship Id="rId2" Type="http://schemas.openxmlformats.org/officeDocument/2006/relationships/notesSlide" Target="../notesSlides/notesSlide109.xml"/><Relationship Id="rId1" Type="http://schemas.openxmlformats.org/officeDocument/2006/relationships/slideLayout" Target="../slideLayouts/slideLayout14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0.xml"/></Relationships>
</file>

<file path=ppt/slides/_rels/slide117.xml.rels><?xml version="1.0" encoding="UTF-8" standalone="yes"?>
<Relationships xmlns="http://schemas.openxmlformats.org/package/2006/relationships"><Relationship Id="rId3" Type="http://schemas.openxmlformats.org/officeDocument/2006/relationships/hyperlink" Target="https://docs.microsoft.com/en-us/power-bi/guidance/powerbi-adoption-roadmap-mentoring-and-user-enablement" TargetMode="External"/><Relationship Id="rId2" Type="http://schemas.openxmlformats.org/officeDocument/2006/relationships/notesSlide" Target="../notesSlides/notesSlide111.xml"/><Relationship Id="rId1" Type="http://schemas.openxmlformats.org/officeDocument/2006/relationships/slideLayout" Target="../slideLayouts/slideLayout139.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5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70.png"/></Relationships>
</file>

<file path=ppt/slides/_rels/slide120.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14.xml"/><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9.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9.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9.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139.xml"/><Relationship Id="rId1" Type="http://schemas.openxmlformats.org/officeDocument/2006/relationships/tags" Target="../tags/tag60.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39.xml"/><Relationship Id="rId1" Type="http://schemas.openxmlformats.org/officeDocument/2006/relationships/tags" Target="../tags/tag61.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139.xml"/><Relationship Id="rId1" Type="http://schemas.openxmlformats.org/officeDocument/2006/relationships/tags" Target="../tags/tag62.xml"/></Relationships>
</file>

<file path=ppt/slides/_rels/slide1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23.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72.png"/><Relationship Id="rId4" Type="http://schemas.openxmlformats.org/officeDocument/2006/relationships/image" Target="../media/image71.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2.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notesSlide" Target="../notesSlides/notesSlide125.xml"/><Relationship Id="rId7" Type="http://schemas.openxmlformats.org/officeDocument/2006/relationships/image" Target="../media/image183.svg"/><Relationship Id="rId2" Type="http://schemas.openxmlformats.org/officeDocument/2006/relationships/slideLayout" Target="../slideLayouts/slideLayout145.xml"/><Relationship Id="rId1" Type="http://schemas.openxmlformats.org/officeDocument/2006/relationships/tags" Target="../tags/tag63.xml"/><Relationship Id="rId6" Type="http://schemas.openxmlformats.org/officeDocument/2006/relationships/image" Target="../media/image182.png"/><Relationship Id="rId11" Type="http://schemas.openxmlformats.org/officeDocument/2006/relationships/image" Target="../media/image187.svg"/><Relationship Id="rId5" Type="http://schemas.openxmlformats.org/officeDocument/2006/relationships/image" Target="../media/image133.svg"/><Relationship Id="rId10" Type="http://schemas.openxmlformats.org/officeDocument/2006/relationships/image" Target="../media/image186.png"/><Relationship Id="rId4" Type="http://schemas.openxmlformats.org/officeDocument/2006/relationships/image" Target="../media/image132.png"/><Relationship Id="rId9" Type="http://schemas.openxmlformats.org/officeDocument/2006/relationships/image" Target="../media/image185.svg"/></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39.xml"/><Relationship Id="rId1" Type="http://schemas.openxmlformats.org/officeDocument/2006/relationships/tags" Target="../tags/tag64.xml"/></Relationships>
</file>

<file path=ppt/slides/_rels/slide13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7.xml"/><Relationship Id="rId1" Type="http://schemas.openxmlformats.org/officeDocument/2006/relationships/slideLayout" Target="../slideLayouts/slideLayout139.xml"/><Relationship Id="rId5" Type="http://schemas.openxmlformats.org/officeDocument/2006/relationships/image" Target="../media/image165.emf"/><Relationship Id="rId4" Type="http://schemas.openxmlformats.org/officeDocument/2006/relationships/image" Target="../media/image189.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00.xml"/></Relationships>
</file>

<file path=ppt/slides/_rels/slide136.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129.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slideLayout" Target="../slideLayouts/slideLayout9.xml"/><Relationship Id="rId16" Type="http://schemas.openxmlformats.org/officeDocument/2006/relationships/image" Target="../media/image47.png"/><Relationship Id="rId1" Type="http://schemas.openxmlformats.org/officeDocument/2006/relationships/tags" Target="../tags/tag65.xml"/><Relationship Id="rId6" Type="http://schemas.openxmlformats.org/officeDocument/2006/relationships/image" Target="../media/image37.svg"/><Relationship Id="rId11" Type="http://schemas.openxmlformats.org/officeDocument/2006/relationships/image" Target="../media/image42.svg"/><Relationship Id="rId5" Type="http://schemas.openxmlformats.org/officeDocument/2006/relationships/image" Target="../media/image36.pn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3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130.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131.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0.xml"/></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4.xml"/><Relationship Id="rId1" Type="http://schemas.openxmlformats.org/officeDocument/2006/relationships/tags" Target="../tags/tag66.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9.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8.xml"/></Relationships>
</file>

<file path=ppt/slides/_rels/slide146.xml.rels><?xml version="1.0" encoding="UTF-8" standalone="yes"?>
<Relationships xmlns="http://schemas.openxmlformats.org/package/2006/relationships"><Relationship Id="rId8" Type="http://schemas.microsoft.com/office/2007/relationships/diagramDrawing" Target="../diagrams/drawing20.xml"/><Relationship Id="rId3" Type="http://schemas.openxmlformats.org/officeDocument/2006/relationships/notesSlide" Target="../notesSlides/notesSlide139.xml"/><Relationship Id="rId7" Type="http://schemas.openxmlformats.org/officeDocument/2006/relationships/diagramColors" Target="../diagrams/colors20.xml"/><Relationship Id="rId2" Type="http://schemas.openxmlformats.org/officeDocument/2006/relationships/slideLayout" Target="../slideLayouts/slideLayout9.xml"/><Relationship Id="rId1" Type="http://schemas.openxmlformats.org/officeDocument/2006/relationships/tags" Target="../tags/tag67.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s>
</file>

<file path=ppt/slides/_rels/slide147.xml.rels><?xml version="1.0" encoding="UTF-8" standalone="yes"?>
<Relationships xmlns="http://schemas.openxmlformats.org/package/2006/relationships"><Relationship Id="rId8" Type="http://schemas.openxmlformats.org/officeDocument/2006/relationships/image" Target="../media/image209.svg"/><Relationship Id="rId13" Type="http://schemas.openxmlformats.org/officeDocument/2006/relationships/image" Target="../media/image214.png"/><Relationship Id="rId3" Type="http://schemas.openxmlformats.org/officeDocument/2006/relationships/image" Target="../media/image204.png"/><Relationship Id="rId7" Type="http://schemas.openxmlformats.org/officeDocument/2006/relationships/image" Target="../media/image208.png"/><Relationship Id="rId12" Type="http://schemas.openxmlformats.org/officeDocument/2006/relationships/image" Target="../media/image213.svg"/><Relationship Id="rId2" Type="http://schemas.openxmlformats.org/officeDocument/2006/relationships/notesSlide" Target="../notesSlides/notesSlide140.xml"/><Relationship Id="rId1" Type="http://schemas.openxmlformats.org/officeDocument/2006/relationships/slideLayout" Target="../slideLayouts/slideLayout18.xml"/><Relationship Id="rId6" Type="http://schemas.openxmlformats.org/officeDocument/2006/relationships/image" Target="../media/image207.svg"/><Relationship Id="rId11" Type="http://schemas.openxmlformats.org/officeDocument/2006/relationships/image" Target="../media/image212.png"/><Relationship Id="rId5" Type="http://schemas.openxmlformats.org/officeDocument/2006/relationships/image" Target="../media/image206.png"/><Relationship Id="rId10" Type="http://schemas.openxmlformats.org/officeDocument/2006/relationships/image" Target="../media/image211.svg"/><Relationship Id="rId4" Type="http://schemas.openxmlformats.org/officeDocument/2006/relationships/image" Target="../media/image205.svg"/><Relationship Id="rId9" Type="http://schemas.openxmlformats.org/officeDocument/2006/relationships/image" Target="../media/image210.png"/><Relationship Id="rId14" Type="http://schemas.openxmlformats.org/officeDocument/2006/relationships/image" Target="../media/image215.svg"/></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39.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94.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9.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95.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96.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94.xml"/></Relationships>
</file>

<file path=ppt/slides/_rels/slide15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47.xml"/><Relationship Id="rId1" Type="http://schemas.openxmlformats.org/officeDocument/2006/relationships/slideLayout" Target="../slideLayouts/slideLayout8.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9.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3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94.xml"/></Relationships>
</file>

<file path=ppt/slides/_rels/slide15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51.xml"/><Relationship Id="rId1" Type="http://schemas.openxmlformats.org/officeDocument/2006/relationships/slideLayout" Target="../slideLayouts/slideLayout196.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59.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7.png"/><Relationship Id="rId7" Type="http://schemas.openxmlformats.org/officeDocument/2006/relationships/image" Target="../media/image221.png"/><Relationship Id="rId2" Type="http://schemas.openxmlformats.org/officeDocument/2006/relationships/notesSlide" Target="../notesSlides/notesSlide152.xml"/><Relationship Id="rId1" Type="http://schemas.openxmlformats.org/officeDocument/2006/relationships/slideLayout" Target="../slideLayouts/slideLayout196.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223.png"/></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197.xml"/><Relationship Id="rId1" Type="http://schemas.openxmlformats.org/officeDocument/2006/relationships/tags" Target="../tags/tag68.xml"/><Relationship Id="rId6" Type="http://schemas.openxmlformats.org/officeDocument/2006/relationships/image" Target="../media/image226.png"/><Relationship Id="rId5" Type="http://schemas.openxmlformats.org/officeDocument/2006/relationships/image" Target="../media/image225.png"/><Relationship Id="rId4" Type="http://schemas.openxmlformats.org/officeDocument/2006/relationships/image" Target="../media/image224.png"/></Relationships>
</file>

<file path=ppt/slides/_rels/slide16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notesSlide" Target="../notesSlides/notesSlide154.xml"/><Relationship Id="rId7" Type="http://schemas.openxmlformats.org/officeDocument/2006/relationships/diagramColors" Target="../diagrams/colors21.xml"/><Relationship Id="rId2" Type="http://schemas.openxmlformats.org/officeDocument/2006/relationships/slideLayout" Target="../slideLayouts/slideLayout197.xml"/><Relationship Id="rId1" Type="http://schemas.openxmlformats.org/officeDocument/2006/relationships/tags" Target="../tags/tag69.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162.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notesSlide" Target="../notesSlides/notesSlide155.xml"/><Relationship Id="rId7" Type="http://schemas.openxmlformats.org/officeDocument/2006/relationships/diagramColors" Target="../diagrams/colors22.xml"/><Relationship Id="rId2" Type="http://schemas.openxmlformats.org/officeDocument/2006/relationships/slideLayout" Target="../slideLayouts/slideLayout197.xml"/><Relationship Id="rId1" Type="http://schemas.openxmlformats.org/officeDocument/2006/relationships/tags" Target="../tags/tag70.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163.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notesSlide" Target="../notesSlides/notesSlide156.xml"/><Relationship Id="rId7" Type="http://schemas.openxmlformats.org/officeDocument/2006/relationships/diagramColors" Target="../diagrams/colors23.xml"/><Relationship Id="rId2" Type="http://schemas.openxmlformats.org/officeDocument/2006/relationships/slideLayout" Target="../slideLayouts/slideLayout197.xml"/><Relationship Id="rId1" Type="http://schemas.openxmlformats.org/officeDocument/2006/relationships/tags" Target="../tags/tag71.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s>
</file>

<file path=ppt/slides/_rels/slide164.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notesSlide" Target="../notesSlides/notesSlide157.xml"/><Relationship Id="rId7" Type="http://schemas.openxmlformats.org/officeDocument/2006/relationships/diagramColors" Target="../diagrams/colors24.xml"/><Relationship Id="rId2" Type="http://schemas.openxmlformats.org/officeDocument/2006/relationships/slideLayout" Target="../slideLayouts/slideLayout197.xml"/><Relationship Id="rId1" Type="http://schemas.openxmlformats.org/officeDocument/2006/relationships/tags" Target="../tags/tag72.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s>
</file>

<file path=ppt/slides/_rels/slide165.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notesSlide" Target="../notesSlides/notesSlide158.xml"/><Relationship Id="rId7" Type="http://schemas.openxmlformats.org/officeDocument/2006/relationships/diagramColors" Target="../diagrams/colors25.xml"/><Relationship Id="rId2" Type="http://schemas.openxmlformats.org/officeDocument/2006/relationships/slideLayout" Target="../slideLayouts/slideLayout197.xml"/><Relationship Id="rId1" Type="http://schemas.openxmlformats.org/officeDocument/2006/relationships/tags" Target="../tags/tag73.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97.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97.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200.xml"/><Relationship Id="rId1" Type="http://schemas.openxmlformats.org/officeDocument/2006/relationships/tags" Target="../tags/tag74.xml"/></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200.xml"/><Relationship Id="rId2" Type="http://schemas.openxmlformats.org/officeDocument/2006/relationships/tags" Target="../tags/tag75.xml"/><Relationship Id="rId1" Type="http://schemas.openxmlformats.org/officeDocument/2006/relationships/themeOverride" Target="../theme/themeOverride6.xml"/><Relationship Id="rId4" Type="http://schemas.openxmlformats.org/officeDocument/2006/relationships/notesSlide" Target="../notesSlides/notesSlide1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200.xml"/><Relationship Id="rId2" Type="http://schemas.openxmlformats.org/officeDocument/2006/relationships/tags" Target="../tags/tag76.xml"/><Relationship Id="rId1" Type="http://schemas.openxmlformats.org/officeDocument/2006/relationships/themeOverride" Target="../theme/themeOverride7.xml"/><Relationship Id="rId4" Type="http://schemas.openxmlformats.org/officeDocument/2006/relationships/notesSlide" Target="../notesSlides/notesSlide16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13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0.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0.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0.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5.xml"/><Relationship Id="rId1" Type="http://schemas.openxmlformats.org/officeDocument/2006/relationships/tags" Target="../tags/tag77.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8.xml"/><Relationship Id="rId1" Type="http://schemas.openxmlformats.org/officeDocument/2006/relationships/tags" Target="../tags/tag79.xml"/><Relationship Id="rId4" Type="http://schemas.openxmlformats.org/officeDocument/2006/relationships/hyperlink" Target="https://docs.microsoft.com/en-us/office365/admin/create-groups/plan_for_groups_governance?view=o365-worldwide#control-who-can-create-office-365-groups" TargetMode="Externa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17.xml"/><Relationship Id="rId1" Type="http://schemas.openxmlformats.org/officeDocument/2006/relationships/themeOverride" Target="../theme/themeOverride8.xml"/><Relationship Id="rId6" Type="http://schemas.openxmlformats.org/officeDocument/2006/relationships/image" Target="../media/image232.png"/><Relationship Id="rId5" Type="http://schemas.openxmlformats.org/officeDocument/2006/relationships/image" Target="../media/image231.png"/><Relationship Id="rId4" Type="http://schemas.openxmlformats.org/officeDocument/2006/relationships/image" Target="../media/image230.png"/></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10.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xml"/><Relationship Id="rId1" Type="http://schemas.openxmlformats.org/officeDocument/2006/relationships/themeOverride" Target="../theme/themeOverride9.xml"/><Relationship Id="rId4" Type="http://schemas.openxmlformats.org/officeDocument/2006/relationships/notesSlide" Target="../notesSlides/notesSlide177.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17.xml"/><Relationship Id="rId1" Type="http://schemas.openxmlformats.org/officeDocument/2006/relationships/themeOverride" Target="../theme/themeOverride10.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3.xml"/><Relationship Id="rId1" Type="http://schemas.openxmlformats.org/officeDocument/2006/relationships/tags" Target="../tags/tag81.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3.xml"/><Relationship Id="rId1" Type="http://schemas.openxmlformats.org/officeDocument/2006/relationships/tags" Target="../tags/tag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5.xml"/><Relationship Id="rId1" Type="http://schemas.openxmlformats.org/officeDocument/2006/relationships/tags" Target="../tags/tag83.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91.xml.rels><?xml version="1.0" encoding="UTF-8" standalone="yes"?>
<Relationships xmlns="http://schemas.openxmlformats.org/package/2006/relationships"><Relationship Id="rId3" Type="http://schemas.openxmlformats.org/officeDocument/2006/relationships/hyperlink" Target="https://docs.microsoft.com/en-gb/intune/setup-steps" TargetMode="External"/><Relationship Id="rId2" Type="http://schemas.openxmlformats.org/officeDocument/2006/relationships/notesSlide" Target="../notesSlides/notesSlide182.xml"/><Relationship Id="rId1" Type="http://schemas.openxmlformats.org/officeDocument/2006/relationships/slideLayout" Target="../slideLayouts/slideLayout10.xml"/><Relationship Id="rId4" Type="http://schemas.openxmlformats.org/officeDocument/2006/relationships/hyperlink" Target="https://docs.microsoft.com/en-us/power-bi/service-admin-mobile-intune" TargetMode="Externa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83.xml"/><Relationship Id="rId1" Type="http://schemas.openxmlformats.org/officeDocument/2006/relationships/slideLayout" Target="../slideLayouts/slideLayout6.xml"/></Relationships>
</file>

<file path=ppt/slides/_rels/slide194.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43.svg"/><Relationship Id="rId18" Type="http://schemas.openxmlformats.org/officeDocument/2006/relationships/image" Target="../media/image248.png"/><Relationship Id="rId3" Type="http://schemas.openxmlformats.org/officeDocument/2006/relationships/image" Target="../media/image237.png"/><Relationship Id="rId7" Type="http://schemas.openxmlformats.org/officeDocument/2006/relationships/image" Target="../media/image239.svg"/><Relationship Id="rId12" Type="http://schemas.openxmlformats.org/officeDocument/2006/relationships/image" Target="../media/image116.png"/><Relationship Id="rId17" Type="http://schemas.openxmlformats.org/officeDocument/2006/relationships/image" Target="../media/image247.svg"/><Relationship Id="rId2" Type="http://schemas.openxmlformats.org/officeDocument/2006/relationships/notesSlide" Target="../notesSlides/notesSlide184.xml"/><Relationship Id="rId16" Type="http://schemas.openxmlformats.org/officeDocument/2006/relationships/image" Target="../media/image246.png"/><Relationship Id="rId1" Type="http://schemas.openxmlformats.org/officeDocument/2006/relationships/slideLayout" Target="../slideLayouts/slideLayout5.xml"/><Relationship Id="rId6" Type="http://schemas.openxmlformats.org/officeDocument/2006/relationships/image" Target="../media/image238.png"/><Relationship Id="rId11" Type="http://schemas.openxmlformats.org/officeDocument/2006/relationships/image" Target="../media/image242.svg"/><Relationship Id="rId5" Type="http://schemas.openxmlformats.org/officeDocument/2006/relationships/image" Target="../media/image158.svg"/><Relationship Id="rId15" Type="http://schemas.openxmlformats.org/officeDocument/2006/relationships/image" Target="../media/image245.svg"/><Relationship Id="rId10" Type="http://schemas.openxmlformats.org/officeDocument/2006/relationships/image" Target="../media/image130.png"/><Relationship Id="rId19" Type="http://schemas.openxmlformats.org/officeDocument/2006/relationships/image" Target="../media/image249.svg"/><Relationship Id="rId4" Type="http://schemas.openxmlformats.org/officeDocument/2006/relationships/image" Target="../media/image122.png"/><Relationship Id="rId9" Type="http://schemas.openxmlformats.org/officeDocument/2006/relationships/image" Target="../media/image241.svg"/><Relationship Id="rId14" Type="http://schemas.openxmlformats.org/officeDocument/2006/relationships/image" Target="../media/image244.png"/></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image" Target="../media/image253.png"/><Relationship Id="rId2" Type="http://schemas.openxmlformats.org/officeDocument/2006/relationships/slideLayout" Target="../slideLayouts/slideLayout9.xml"/><Relationship Id="rId1" Type="http://schemas.openxmlformats.org/officeDocument/2006/relationships/tags" Target="../tags/tag84.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250.png"/></Relationships>
</file>

<file path=ppt/slides/_rels/slide196.xml.rels><?xml version="1.0" encoding="UTF-8" standalone="yes"?>
<Relationships xmlns="http://schemas.openxmlformats.org/package/2006/relationships"><Relationship Id="rId8" Type="http://schemas.openxmlformats.org/officeDocument/2006/relationships/image" Target="../media/image258.png"/><Relationship Id="rId13" Type="http://schemas.openxmlformats.org/officeDocument/2006/relationships/image" Target="../media/image263.svg"/><Relationship Id="rId3" Type="http://schemas.openxmlformats.org/officeDocument/2006/relationships/image" Target="../media/image254.png"/><Relationship Id="rId7" Type="http://schemas.openxmlformats.org/officeDocument/2006/relationships/image" Target="../media/image257.svg"/><Relationship Id="rId12" Type="http://schemas.openxmlformats.org/officeDocument/2006/relationships/image" Target="../media/image262.png"/><Relationship Id="rId2" Type="http://schemas.openxmlformats.org/officeDocument/2006/relationships/notesSlide" Target="../notesSlides/notesSlide186.xml"/><Relationship Id="rId1" Type="http://schemas.openxmlformats.org/officeDocument/2006/relationships/slideLayout" Target="../slideLayouts/slideLayout5.xml"/><Relationship Id="rId6" Type="http://schemas.openxmlformats.org/officeDocument/2006/relationships/image" Target="../media/image134.png"/><Relationship Id="rId11" Type="http://schemas.openxmlformats.org/officeDocument/2006/relationships/image" Target="../media/image261.svg"/><Relationship Id="rId5" Type="http://schemas.openxmlformats.org/officeDocument/2006/relationships/image" Target="../media/image256.svg"/><Relationship Id="rId10" Type="http://schemas.openxmlformats.org/officeDocument/2006/relationships/image" Target="../media/image260.png"/><Relationship Id="rId4" Type="http://schemas.openxmlformats.org/officeDocument/2006/relationships/image" Target="../media/image255.png"/><Relationship Id="rId9" Type="http://schemas.openxmlformats.org/officeDocument/2006/relationships/image" Target="../media/image259.svg"/></Relationships>
</file>

<file path=ppt/slides/_rels/slide197.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31.svg"/><Relationship Id="rId2" Type="http://schemas.openxmlformats.org/officeDocument/2006/relationships/notesSlide" Target="../notesSlides/notesSlide187.xml"/><Relationship Id="rId1" Type="http://schemas.openxmlformats.org/officeDocument/2006/relationships/slideLayout" Target="../slideLayouts/slideLayout5.xml"/><Relationship Id="rId6" Type="http://schemas.openxmlformats.org/officeDocument/2006/relationships/image" Target="../media/image130.png"/><Relationship Id="rId5" Type="http://schemas.openxmlformats.org/officeDocument/2006/relationships/image" Target="../media/image266.svg"/><Relationship Id="rId4" Type="http://schemas.openxmlformats.org/officeDocument/2006/relationships/image" Target="../media/image265.png"/></Relationships>
</file>

<file path=ppt/slides/_rels/slide198.xml.rels><?xml version="1.0" encoding="UTF-8" standalone="yes"?>
<Relationships xmlns="http://schemas.openxmlformats.org/package/2006/relationships"><Relationship Id="rId8" Type="http://schemas.openxmlformats.org/officeDocument/2006/relationships/image" Target="../media/image271.svg"/><Relationship Id="rId3" Type="http://schemas.openxmlformats.org/officeDocument/2006/relationships/notesSlide" Target="../notesSlides/notesSlide188.xml"/><Relationship Id="rId7" Type="http://schemas.openxmlformats.org/officeDocument/2006/relationships/image" Target="../media/image270.png"/><Relationship Id="rId12" Type="http://schemas.openxmlformats.org/officeDocument/2006/relationships/image" Target="../media/image275.svg"/><Relationship Id="rId2" Type="http://schemas.openxmlformats.org/officeDocument/2006/relationships/slideLayout" Target="../slideLayouts/slideLayout5.xml"/><Relationship Id="rId1" Type="http://schemas.openxmlformats.org/officeDocument/2006/relationships/tags" Target="../tags/tag85.xml"/><Relationship Id="rId6" Type="http://schemas.openxmlformats.org/officeDocument/2006/relationships/image" Target="../media/image269.sv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svg"/><Relationship Id="rId4" Type="http://schemas.openxmlformats.org/officeDocument/2006/relationships/image" Target="../media/image267.png"/><Relationship Id="rId9" Type="http://schemas.openxmlformats.org/officeDocument/2006/relationships/image" Target="../media/image272.png"/></Relationships>
</file>

<file path=ppt/slides/_rels/slide199.xml.rels><?xml version="1.0" encoding="UTF-8" standalone="yes"?>
<Relationships xmlns="http://schemas.openxmlformats.org/package/2006/relationships"><Relationship Id="rId8" Type="http://schemas.openxmlformats.org/officeDocument/2006/relationships/image" Target="../media/image280.svg"/><Relationship Id="rId3" Type="http://schemas.openxmlformats.org/officeDocument/2006/relationships/notesSlide" Target="../notesSlides/notesSlide189.xml"/><Relationship Id="rId7" Type="http://schemas.openxmlformats.org/officeDocument/2006/relationships/image" Target="../media/image279.png"/><Relationship Id="rId12" Type="http://schemas.openxmlformats.org/officeDocument/2006/relationships/image" Target="../media/image283.svg"/><Relationship Id="rId2" Type="http://schemas.openxmlformats.org/officeDocument/2006/relationships/slideLayout" Target="../slideLayouts/slideLayout5.xml"/><Relationship Id="rId1" Type="http://schemas.openxmlformats.org/officeDocument/2006/relationships/tags" Target="../tags/tag86.xml"/><Relationship Id="rId6" Type="http://schemas.openxmlformats.org/officeDocument/2006/relationships/image" Target="../media/image278.svg"/><Relationship Id="rId11" Type="http://schemas.openxmlformats.org/officeDocument/2006/relationships/image" Target="../media/image144.png"/><Relationship Id="rId5" Type="http://schemas.openxmlformats.org/officeDocument/2006/relationships/image" Target="../media/image277.png"/><Relationship Id="rId10" Type="http://schemas.openxmlformats.org/officeDocument/2006/relationships/image" Target="../media/image282.svg"/><Relationship Id="rId4" Type="http://schemas.openxmlformats.org/officeDocument/2006/relationships/image" Target="../media/image276.png"/><Relationship Id="rId9" Type="http://schemas.openxmlformats.org/officeDocument/2006/relationships/image" Target="../media/image281.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3.xml"/></Relationships>
</file>

<file path=ppt/slides/_rels/slide200.xml.rels><?xml version="1.0" encoding="UTF-8" standalone="yes"?>
<Relationships xmlns="http://schemas.openxmlformats.org/package/2006/relationships"><Relationship Id="rId8" Type="http://schemas.openxmlformats.org/officeDocument/2006/relationships/image" Target="../media/image288.svg"/><Relationship Id="rId3" Type="http://schemas.openxmlformats.org/officeDocument/2006/relationships/notesSlide" Target="../notesSlides/notesSlide190.xml"/><Relationship Id="rId7" Type="http://schemas.openxmlformats.org/officeDocument/2006/relationships/image" Target="../media/image287.png"/><Relationship Id="rId2" Type="http://schemas.openxmlformats.org/officeDocument/2006/relationships/slideLayout" Target="../slideLayouts/slideLayout5.xml"/><Relationship Id="rId1" Type="http://schemas.openxmlformats.org/officeDocument/2006/relationships/tags" Target="../tags/tag87.xml"/><Relationship Id="rId6" Type="http://schemas.openxmlformats.org/officeDocument/2006/relationships/image" Target="../media/image286.svg"/><Relationship Id="rId5" Type="http://schemas.openxmlformats.org/officeDocument/2006/relationships/image" Target="../media/image285.png"/><Relationship Id="rId10" Type="http://schemas.openxmlformats.org/officeDocument/2006/relationships/image" Target="../media/image290.svg"/><Relationship Id="rId4" Type="http://schemas.openxmlformats.org/officeDocument/2006/relationships/image" Target="../media/image284.png"/><Relationship Id="rId9" Type="http://schemas.openxmlformats.org/officeDocument/2006/relationships/image" Target="../media/image289.png"/></Relationships>
</file>

<file path=ppt/slides/_rels/slide201.xml.rels><?xml version="1.0" encoding="UTF-8" standalone="yes"?>
<Relationships xmlns="http://schemas.openxmlformats.org/package/2006/relationships"><Relationship Id="rId8" Type="http://schemas.openxmlformats.org/officeDocument/2006/relationships/image" Target="../media/image293.svg"/><Relationship Id="rId3" Type="http://schemas.openxmlformats.org/officeDocument/2006/relationships/notesSlide" Target="../notesSlides/notesSlide191.xml"/><Relationship Id="rId7" Type="http://schemas.openxmlformats.org/officeDocument/2006/relationships/image" Target="../media/image292.png"/><Relationship Id="rId2" Type="http://schemas.openxmlformats.org/officeDocument/2006/relationships/slideLayout" Target="../slideLayouts/slideLayout5.xml"/><Relationship Id="rId1" Type="http://schemas.openxmlformats.org/officeDocument/2006/relationships/tags" Target="../tags/tag88.xml"/><Relationship Id="rId6" Type="http://schemas.openxmlformats.org/officeDocument/2006/relationships/image" Target="../media/image242.svg"/><Relationship Id="rId5" Type="http://schemas.openxmlformats.org/officeDocument/2006/relationships/image" Target="../media/image130.png"/><Relationship Id="rId10" Type="http://schemas.openxmlformats.org/officeDocument/2006/relationships/image" Target="../media/image295.svg"/><Relationship Id="rId4" Type="http://schemas.openxmlformats.org/officeDocument/2006/relationships/image" Target="../media/image291.png"/><Relationship Id="rId9" Type="http://schemas.openxmlformats.org/officeDocument/2006/relationships/image" Target="../media/image294.png"/></Relationships>
</file>

<file path=ppt/slides/_rels/slide202.xml.rels><?xml version="1.0" encoding="UTF-8" standalone="yes"?>
<Relationships xmlns="http://schemas.openxmlformats.org/package/2006/relationships"><Relationship Id="rId8" Type="http://schemas.openxmlformats.org/officeDocument/2006/relationships/image" Target="../media/image299.png"/><Relationship Id="rId3" Type="http://schemas.openxmlformats.org/officeDocument/2006/relationships/notesSlide" Target="../notesSlides/notesSlide192.xml"/><Relationship Id="rId7" Type="http://schemas.openxmlformats.org/officeDocument/2006/relationships/image" Target="../media/image298.svg"/><Relationship Id="rId2" Type="http://schemas.openxmlformats.org/officeDocument/2006/relationships/slideLayout" Target="../slideLayouts/slideLayout5.xml"/><Relationship Id="rId1" Type="http://schemas.openxmlformats.org/officeDocument/2006/relationships/tags" Target="../tags/tag89.xml"/><Relationship Id="rId6" Type="http://schemas.openxmlformats.org/officeDocument/2006/relationships/image" Target="../media/image204.png"/><Relationship Id="rId11" Type="http://schemas.openxmlformats.org/officeDocument/2006/relationships/image" Target="../media/image301.svg"/><Relationship Id="rId5" Type="http://schemas.openxmlformats.org/officeDocument/2006/relationships/image" Target="../media/image297.png"/><Relationship Id="rId10" Type="http://schemas.openxmlformats.org/officeDocument/2006/relationships/image" Target="../media/image159.png"/><Relationship Id="rId4" Type="http://schemas.openxmlformats.org/officeDocument/2006/relationships/image" Target="../media/image296.png"/><Relationship Id="rId9" Type="http://schemas.openxmlformats.org/officeDocument/2006/relationships/image" Target="../media/image300.svg"/></Relationships>
</file>

<file path=ppt/slides/_rels/slide203.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notesSlide" Target="../notesSlides/notesSlide193.xml"/><Relationship Id="rId7" Type="http://schemas.openxmlformats.org/officeDocument/2006/relationships/image" Target="../media/image124.png"/><Relationship Id="rId2" Type="http://schemas.openxmlformats.org/officeDocument/2006/relationships/slideLayout" Target="../slideLayouts/slideLayout5.xml"/><Relationship Id="rId1" Type="http://schemas.openxmlformats.org/officeDocument/2006/relationships/tags" Target="../tags/tag90.xml"/><Relationship Id="rId6" Type="http://schemas.openxmlformats.org/officeDocument/2006/relationships/image" Target="../media/image304.svg"/><Relationship Id="rId5" Type="http://schemas.openxmlformats.org/officeDocument/2006/relationships/image" Target="../media/image303.png"/><Relationship Id="rId10" Type="http://schemas.openxmlformats.org/officeDocument/2006/relationships/image" Target="../media/image306.svg"/><Relationship Id="rId4" Type="http://schemas.openxmlformats.org/officeDocument/2006/relationships/image" Target="../media/image302.png"/><Relationship Id="rId9" Type="http://schemas.openxmlformats.org/officeDocument/2006/relationships/image" Target="../media/image305.png"/></Relationships>
</file>

<file path=ppt/slides/_rels/slide204.xml.rels><?xml version="1.0" encoding="UTF-8" standalone="yes"?>
<Relationships xmlns="http://schemas.openxmlformats.org/package/2006/relationships"><Relationship Id="rId8" Type="http://schemas.openxmlformats.org/officeDocument/2006/relationships/image" Target="../media/image311.png"/><Relationship Id="rId13" Type="http://schemas.openxmlformats.org/officeDocument/2006/relationships/image" Target="../media/image316.svg"/><Relationship Id="rId3" Type="http://schemas.openxmlformats.org/officeDocument/2006/relationships/notesSlide" Target="../notesSlides/notesSlide194.xml"/><Relationship Id="rId7" Type="http://schemas.openxmlformats.org/officeDocument/2006/relationships/image" Target="../media/image310.png"/><Relationship Id="rId12" Type="http://schemas.openxmlformats.org/officeDocument/2006/relationships/image" Target="../media/image315.png"/><Relationship Id="rId2" Type="http://schemas.openxmlformats.org/officeDocument/2006/relationships/slideLayout" Target="../slideLayouts/slideLayout5.xml"/><Relationship Id="rId1" Type="http://schemas.openxmlformats.org/officeDocument/2006/relationships/tags" Target="../tags/tag91.xml"/><Relationship Id="rId6" Type="http://schemas.openxmlformats.org/officeDocument/2006/relationships/image" Target="../media/image309.png"/><Relationship Id="rId11" Type="http://schemas.openxmlformats.org/officeDocument/2006/relationships/image" Target="../media/image314.png"/><Relationship Id="rId5" Type="http://schemas.openxmlformats.org/officeDocument/2006/relationships/image" Target="../media/image308.png"/><Relationship Id="rId15" Type="http://schemas.openxmlformats.org/officeDocument/2006/relationships/image" Target="../media/image318.svg"/><Relationship Id="rId10" Type="http://schemas.openxmlformats.org/officeDocument/2006/relationships/image" Target="../media/image313.png"/><Relationship Id="rId4" Type="http://schemas.openxmlformats.org/officeDocument/2006/relationships/image" Target="../media/image307.png"/><Relationship Id="rId9" Type="http://schemas.openxmlformats.org/officeDocument/2006/relationships/image" Target="../media/image312.png"/><Relationship Id="rId14" Type="http://schemas.openxmlformats.org/officeDocument/2006/relationships/image" Target="../media/image317.png"/></Relationships>
</file>

<file path=ppt/slides/_rels/slide205.xml.rels><?xml version="1.0" encoding="UTF-8" standalone="yes"?>
<Relationships xmlns="http://schemas.openxmlformats.org/package/2006/relationships"><Relationship Id="rId8" Type="http://schemas.openxmlformats.org/officeDocument/2006/relationships/image" Target="../media/image322.svg"/><Relationship Id="rId3" Type="http://schemas.openxmlformats.org/officeDocument/2006/relationships/notesSlide" Target="../notesSlides/notesSlide195.xml"/><Relationship Id="rId7" Type="http://schemas.openxmlformats.org/officeDocument/2006/relationships/image" Target="../media/image321.png"/><Relationship Id="rId2" Type="http://schemas.openxmlformats.org/officeDocument/2006/relationships/slideLayout" Target="../slideLayouts/slideLayout5.xml"/><Relationship Id="rId1" Type="http://schemas.openxmlformats.org/officeDocument/2006/relationships/tags" Target="../tags/tag92.xml"/><Relationship Id="rId6" Type="http://schemas.openxmlformats.org/officeDocument/2006/relationships/image" Target="../media/image320.svg"/><Relationship Id="rId5" Type="http://schemas.openxmlformats.org/officeDocument/2006/relationships/image" Target="../media/image244.png"/><Relationship Id="rId10" Type="http://schemas.openxmlformats.org/officeDocument/2006/relationships/image" Target="../media/image324.svg"/><Relationship Id="rId4" Type="http://schemas.openxmlformats.org/officeDocument/2006/relationships/image" Target="../media/image319.png"/><Relationship Id="rId9" Type="http://schemas.openxmlformats.org/officeDocument/2006/relationships/image" Target="../media/image323.png"/></Relationships>
</file>

<file path=ppt/slides/_rels/slide206.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notesSlide" Target="../notesSlides/notesSlide196.xml"/><Relationship Id="rId7" Type="http://schemas.openxmlformats.org/officeDocument/2006/relationships/image" Target="../media/image328.svg"/><Relationship Id="rId2" Type="http://schemas.openxmlformats.org/officeDocument/2006/relationships/slideLayout" Target="../slideLayouts/slideLayout5.xml"/><Relationship Id="rId1" Type="http://schemas.openxmlformats.org/officeDocument/2006/relationships/tags" Target="../tags/tag93.xml"/><Relationship Id="rId6" Type="http://schemas.openxmlformats.org/officeDocument/2006/relationships/image" Target="../media/image327.png"/><Relationship Id="rId11" Type="http://schemas.openxmlformats.org/officeDocument/2006/relationships/image" Target="../media/image332.svg"/><Relationship Id="rId5" Type="http://schemas.openxmlformats.org/officeDocument/2006/relationships/image" Target="../media/image326.png"/><Relationship Id="rId10" Type="http://schemas.openxmlformats.org/officeDocument/2006/relationships/image" Target="../media/image331.png"/><Relationship Id="rId4" Type="http://schemas.openxmlformats.org/officeDocument/2006/relationships/image" Target="../media/image325.png"/><Relationship Id="rId9" Type="http://schemas.openxmlformats.org/officeDocument/2006/relationships/image" Target="../media/image330.svg"/></Relationships>
</file>

<file path=ppt/slides/_rels/slide20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4.xml"/><Relationship Id="rId1" Type="http://schemas.openxmlformats.org/officeDocument/2006/relationships/themeOverride" Target="../theme/themeOverride11.xml"/><Relationship Id="rId4" Type="http://schemas.openxmlformats.org/officeDocument/2006/relationships/notesSlide" Target="../notesSlides/notesSlide197.xml"/></Relationships>
</file>

<file path=ppt/slides/_rels/slide20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xml"/><Relationship Id="rId1" Type="http://schemas.openxmlformats.org/officeDocument/2006/relationships/themeOverride" Target="../theme/themeOverride12.xml"/><Relationship Id="rId4" Type="http://schemas.openxmlformats.org/officeDocument/2006/relationships/notesSlide" Target="../notesSlides/notesSlide198.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0.xml.rels><?xml version="1.0" encoding="UTF-8" standalone="yes"?>
<Relationships xmlns="http://schemas.openxmlformats.org/package/2006/relationships"><Relationship Id="rId8" Type="http://schemas.openxmlformats.org/officeDocument/2006/relationships/image" Target="../media/image336.png"/><Relationship Id="rId3" Type="http://schemas.openxmlformats.org/officeDocument/2006/relationships/image" Target="../media/image327.png"/><Relationship Id="rId7" Type="http://schemas.openxmlformats.org/officeDocument/2006/relationships/image" Target="../media/image335.svg"/><Relationship Id="rId2" Type="http://schemas.openxmlformats.org/officeDocument/2006/relationships/notesSlide" Target="../notesSlides/notesSlide200.xml"/><Relationship Id="rId1" Type="http://schemas.openxmlformats.org/officeDocument/2006/relationships/slideLayout" Target="../slideLayouts/slideLayout5.xml"/><Relationship Id="rId6" Type="http://schemas.openxmlformats.org/officeDocument/2006/relationships/image" Target="../media/image334.png"/><Relationship Id="rId5" Type="http://schemas.openxmlformats.org/officeDocument/2006/relationships/image" Target="../media/image333.png"/><Relationship Id="rId4" Type="http://schemas.openxmlformats.org/officeDocument/2006/relationships/image" Target="../media/image328.svg"/><Relationship Id="rId9" Type="http://schemas.openxmlformats.org/officeDocument/2006/relationships/image" Target="../media/image337.svg"/></Relationships>
</file>

<file path=ppt/slides/_rels/slide211.xml.rels><?xml version="1.0" encoding="UTF-8" standalone="yes"?>
<Relationships xmlns="http://schemas.openxmlformats.org/package/2006/relationships"><Relationship Id="rId3" Type="http://schemas.openxmlformats.org/officeDocument/2006/relationships/image" Target="../media/image338.png"/><Relationship Id="rId7" Type="http://schemas.openxmlformats.org/officeDocument/2006/relationships/image" Target="../media/image342.png"/><Relationship Id="rId2" Type="http://schemas.openxmlformats.org/officeDocument/2006/relationships/notesSlide" Target="../notesSlides/notesSlide201.xml"/><Relationship Id="rId1" Type="http://schemas.openxmlformats.org/officeDocument/2006/relationships/slideLayout" Target="../slideLayouts/slideLayout9.xml"/><Relationship Id="rId6" Type="http://schemas.openxmlformats.org/officeDocument/2006/relationships/image" Target="../media/image341.png"/><Relationship Id="rId5" Type="http://schemas.openxmlformats.org/officeDocument/2006/relationships/image" Target="../media/image340.png"/><Relationship Id="rId4" Type="http://schemas.openxmlformats.org/officeDocument/2006/relationships/image" Target="../media/image339.png"/></Relationships>
</file>

<file path=ppt/slides/_rels/slide212.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02.xml"/><Relationship Id="rId1" Type="http://schemas.openxmlformats.org/officeDocument/2006/relationships/slideLayout" Target="../slideLayouts/slideLayout9.xml"/></Relationships>
</file>

<file path=ppt/slides/_rels/slide213.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03.xml"/><Relationship Id="rId1" Type="http://schemas.openxmlformats.org/officeDocument/2006/relationships/slideLayout" Target="../slideLayouts/slideLayout5.xml"/></Relationships>
</file>

<file path=ppt/slides/_rels/slide214.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04.xml"/><Relationship Id="rId1" Type="http://schemas.openxmlformats.org/officeDocument/2006/relationships/slideLayout" Target="../slideLayouts/slideLayout9.xml"/><Relationship Id="rId4" Type="http://schemas.openxmlformats.org/officeDocument/2006/relationships/image" Target="../media/image345.png"/></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9.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10.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134.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37.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09.xml"/><Relationship Id="rId1" Type="http://schemas.openxmlformats.org/officeDocument/2006/relationships/slideLayout" Target="../slideLayouts/slideLayout9.xml"/></Relationships>
</file>

<file path=ppt/slides/_rels/slide222.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notesSlide" Target="../notesSlides/notesSlide210.xml"/><Relationship Id="rId7" Type="http://schemas.openxmlformats.org/officeDocument/2006/relationships/diagramColors" Target="../diagrams/colors26.xml"/><Relationship Id="rId2" Type="http://schemas.openxmlformats.org/officeDocument/2006/relationships/slideLayout" Target="../slideLayouts/slideLayout9.xml"/><Relationship Id="rId1" Type="http://schemas.openxmlformats.org/officeDocument/2006/relationships/tags" Target="../tags/tag96.xml"/><Relationship Id="rId6" Type="http://schemas.openxmlformats.org/officeDocument/2006/relationships/diagramQuickStyle" Target="../diagrams/quickStyle26.xml"/><Relationship Id="rId5" Type="http://schemas.openxmlformats.org/officeDocument/2006/relationships/diagramLayout" Target="../diagrams/layout26.xml"/><Relationship Id="rId4" Type="http://schemas.openxmlformats.org/officeDocument/2006/relationships/diagramData" Target="../diagrams/data26.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9.xml"/><Relationship Id="rId1" Type="http://schemas.openxmlformats.org/officeDocument/2006/relationships/tags" Target="../tags/tag97.xml"/><Relationship Id="rId5" Type="http://schemas.openxmlformats.org/officeDocument/2006/relationships/image" Target="../media/image348.png"/><Relationship Id="rId4" Type="http://schemas.openxmlformats.org/officeDocument/2006/relationships/image" Target="../media/image347.png"/></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9.xml"/><Relationship Id="rId1" Type="http://schemas.openxmlformats.org/officeDocument/2006/relationships/tags" Target="../tags/tag98.xml"/><Relationship Id="rId5" Type="http://schemas.openxmlformats.org/officeDocument/2006/relationships/image" Target="../media/image350.png"/><Relationship Id="rId4" Type="http://schemas.openxmlformats.org/officeDocument/2006/relationships/image" Target="../media/image349.png"/></Relationships>
</file>

<file path=ppt/slides/_rels/slide225.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13.xml"/><Relationship Id="rId1" Type="http://schemas.openxmlformats.org/officeDocument/2006/relationships/slideLayout" Target="../slideLayouts/slideLayout9.xml"/><Relationship Id="rId4" Type="http://schemas.openxmlformats.org/officeDocument/2006/relationships/image" Target="../media/image352.png"/></Relationships>
</file>

<file path=ppt/slides/_rels/slide226.xml.rels><?xml version="1.0" encoding="UTF-8" standalone="yes"?>
<Relationships xmlns="http://schemas.openxmlformats.org/package/2006/relationships"><Relationship Id="rId8" Type="http://schemas.openxmlformats.org/officeDocument/2006/relationships/image" Target="../media/image354.png"/><Relationship Id="rId13" Type="http://schemas.openxmlformats.org/officeDocument/2006/relationships/image" Target="../media/image359.svg"/><Relationship Id="rId3" Type="http://schemas.openxmlformats.org/officeDocument/2006/relationships/notesSlide" Target="../notesSlides/notesSlide214.xml"/><Relationship Id="rId7" Type="http://schemas.openxmlformats.org/officeDocument/2006/relationships/image" Target="../media/image353.svg"/><Relationship Id="rId12" Type="http://schemas.openxmlformats.org/officeDocument/2006/relationships/image" Target="../media/image358.png"/><Relationship Id="rId2" Type="http://schemas.openxmlformats.org/officeDocument/2006/relationships/slideLayout" Target="../slideLayouts/slideLayout5.xml"/><Relationship Id="rId1" Type="http://schemas.openxmlformats.org/officeDocument/2006/relationships/tags" Target="../tags/tag99.xml"/><Relationship Id="rId6" Type="http://schemas.openxmlformats.org/officeDocument/2006/relationships/image" Target="../media/image292.png"/><Relationship Id="rId11" Type="http://schemas.openxmlformats.org/officeDocument/2006/relationships/image" Target="../media/image357.svg"/><Relationship Id="rId5" Type="http://schemas.openxmlformats.org/officeDocument/2006/relationships/image" Target="../media/image135.svg"/><Relationship Id="rId10" Type="http://schemas.openxmlformats.org/officeDocument/2006/relationships/image" Target="../media/image356.png"/><Relationship Id="rId4" Type="http://schemas.openxmlformats.org/officeDocument/2006/relationships/image" Target="../media/image134.png"/><Relationship Id="rId9" Type="http://schemas.openxmlformats.org/officeDocument/2006/relationships/image" Target="../media/image355.svg"/></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5.xml"/><Relationship Id="rId1" Type="http://schemas.openxmlformats.org/officeDocument/2006/relationships/tags" Target="../tags/tag100.xml"/><Relationship Id="rId5" Type="http://schemas.openxmlformats.org/officeDocument/2006/relationships/image" Target="../media/image135.svg"/><Relationship Id="rId4" Type="http://schemas.openxmlformats.org/officeDocument/2006/relationships/image" Target="../media/image134.png"/></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5.xml"/><Relationship Id="rId1" Type="http://schemas.openxmlformats.org/officeDocument/2006/relationships/tags" Target="../tags/tag101.xml"/><Relationship Id="rId5" Type="http://schemas.openxmlformats.org/officeDocument/2006/relationships/image" Target="../media/image359.svg"/><Relationship Id="rId4" Type="http://schemas.openxmlformats.org/officeDocument/2006/relationships/image" Target="../media/image358.png"/></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5.xml"/><Relationship Id="rId1" Type="http://schemas.openxmlformats.org/officeDocument/2006/relationships/tags" Target="../tags/tag102.xml"/><Relationship Id="rId5" Type="http://schemas.openxmlformats.org/officeDocument/2006/relationships/image" Target="../media/image353.svg"/><Relationship Id="rId4" Type="http://schemas.openxmlformats.org/officeDocument/2006/relationships/image" Target="../media/image29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5.xml"/><Relationship Id="rId1" Type="http://schemas.openxmlformats.org/officeDocument/2006/relationships/tags" Target="../tags/tag103.xml"/><Relationship Id="rId5" Type="http://schemas.openxmlformats.org/officeDocument/2006/relationships/image" Target="../media/image355.svg"/><Relationship Id="rId4" Type="http://schemas.openxmlformats.org/officeDocument/2006/relationships/image" Target="../media/image354.png"/></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5.xml"/><Relationship Id="rId1" Type="http://schemas.openxmlformats.org/officeDocument/2006/relationships/tags" Target="../tags/tag104.xml"/><Relationship Id="rId5" Type="http://schemas.openxmlformats.org/officeDocument/2006/relationships/image" Target="../media/image357.svg"/><Relationship Id="rId4" Type="http://schemas.openxmlformats.org/officeDocument/2006/relationships/image" Target="../media/image356.png"/></Relationships>
</file>

<file path=ppt/slides/_rels/slide232.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notesSlide" Target="../notesSlides/notesSlide220.xml"/><Relationship Id="rId7" Type="http://schemas.openxmlformats.org/officeDocument/2006/relationships/diagramColors" Target="../diagrams/colors27.xml"/><Relationship Id="rId2" Type="http://schemas.openxmlformats.org/officeDocument/2006/relationships/slideLayout" Target="../slideLayouts/slideLayout9.xml"/><Relationship Id="rId1" Type="http://schemas.openxmlformats.org/officeDocument/2006/relationships/tags" Target="../tags/tag105.xml"/><Relationship Id="rId6" Type="http://schemas.openxmlformats.org/officeDocument/2006/relationships/diagramQuickStyle" Target="../diagrams/quickStyle27.xml"/><Relationship Id="rId5" Type="http://schemas.openxmlformats.org/officeDocument/2006/relationships/diagramLayout" Target="../diagrams/layout27.xml"/><Relationship Id="rId4" Type="http://schemas.openxmlformats.org/officeDocument/2006/relationships/diagramData" Target="../diagrams/data27.xml"/></Relationships>
</file>

<file path=ppt/slides/_rels/slide233.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notesSlide" Target="../notesSlides/notesSlide221.xml"/><Relationship Id="rId7" Type="http://schemas.openxmlformats.org/officeDocument/2006/relationships/diagramColors" Target="../diagrams/colors28.xml"/><Relationship Id="rId2" Type="http://schemas.openxmlformats.org/officeDocument/2006/relationships/slideLayout" Target="../slideLayouts/slideLayout9.xml"/><Relationship Id="rId1" Type="http://schemas.openxmlformats.org/officeDocument/2006/relationships/tags" Target="../tags/tag106.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3.xml"/><Relationship Id="rId1" Type="http://schemas.openxmlformats.org/officeDocument/2006/relationships/tags" Target="../tags/tag107.xml"/></Relationships>
</file>

<file path=ppt/slides/_rels/slide235.xml.rels><?xml version="1.0" encoding="UTF-8" standalone="yes"?>
<Relationships xmlns="http://schemas.openxmlformats.org/package/2006/relationships"><Relationship Id="rId8" Type="http://schemas.openxmlformats.org/officeDocument/2006/relationships/hyperlink" Target="https://docs.microsoft.com/en-us/power-bi/service-gateway-onprem-tshoot#performance-counters" TargetMode="External"/><Relationship Id="rId3" Type="http://schemas.openxmlformats.org/officeDocument/2006/relationships/hyperlink" Target="https://docs.microsoft.com/en-us/power-bi/service-gateway-install" TargetMode="External"/><Relationship Id="rId7" Type="http://schemas.openxmlformats.org/officeDocument/2006/relationships/hyperlink" Target="https://docs.microsoft.com/en-us/power-bi/service-gateway-manage#add-users-to-a-data-source" TargetMode="External"/><Relationship Id="rId2" Type="http://schemas.openxmlformats.org/officeDocument/2006/relationships/notesSlide" Target="../notesSlides/notesSlide223.xml"/><Relationship Id="rId1" Type="http://schemas.openxmlformats.org/officeDocument/2006/relationships/slideLayout" Target="../slideLayouts/slideLayout10.xml"/><Relationship Id="rId6" Type="http://schemas.openxmlformats.org/officeDocument/2006/relationships/hyperlink" Target="https://docs.microsoft.com/en-us/power-bi/service-gateway-manage#manage-data-sources" TargetMode="External"/><Relationship Id="rId5" Type="http://schemas.openxmlformats.org/officeDocument/2006/relationships/hyperlink" Target="https://docs.microsoft.com/en-us/power-bi/service-gateway-manage#add-and-remove-administrators" TargetMode="External"/><Relationship Id="rId4" Type="http://schemas.openxmlformats.org/officeDocument/2006/relationships/hyperlink" Target="https://docs.microsoft.com/en-us/power-bi/service-gateway-onprem#requirements" TargetMode="External"/><Relationship Id="rId9" Type="http://schemas.openxmlformats.org/officeDocument/2006/relationships/hyperlink" Target="https://docs.microsoft.com/en-us/power-bi/service-gateway-onprem-tshoot#reviewing-slow-performing-queries" TargetMode="Externa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5.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1.xml"/></Relationships>
</file>

<file path=ppt/slides/_rels/slide238.xml.rels><?xml version="1.0" encoding="UTF-8" standalone="yes"?>
<Relationships xmlns="http://schemas.openxmlformats.org/package/2006/relationships"><Relationship Id="rId3" Type="http://schemas.openxmlformats.org/officeDocument/2006/relationships/hyperlink" Target="https://docs.microsoft.com/en-us/power-bi/service-admin-premium-purchase" TargetMode="External"/><Relationship Id="rId2" Type="http://schemas.openxmlformats.org/officeDocument/2006/relationships/notesSlide" Target="../notesSlides/notesSlide226.xml"/><Relationship Id="rId1" Type="http://schemas.openxmlformats.org/officeDocument/2006/relationships/slideLayout" Target="../slideLayouts/slideLayout10.xml"/><Relationship Id="rId5" Type="http://schemas.openxmlformats.org/officeDocument/2006/relationships/slide" Target="slide211.xml"/><Relationship Id="rId4" Type="http://schemas.openxmlformats.org/officeDocument/2006/relationships/hyperlink" Target="https://docs.microsoft.com/en-us/power-bi/service-admin-premium-manage#setting-up-a-new-capacity-power-bi-premium" TargetMode="Externa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9.xml"/><Relationship Id="rId1" Type="http://schemas.openxmlformats.org/officeDocument/2006/relationships/tags" Target="../tags/tag108.xml"/><Relationship Id="rId6" Type="http://schemas.openxmlformats.org/officeDocument/2006/relationships/image" Target="../media/image362.png"/><Relationship Id="rId5" Type="http://schemas.openxmlformats.org/officeDocument/2006/relationships/image" Target="../media/image361.png"/><Relationship Id="rId4" Type="http://schemas.openxmlformats.org/officeDocument/2006/relationships/image" Target="../media/image36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8.xml"/></Relationships>
</file>

<file path=ppt/slides/_rels/slide241.xml.rels><?xml version="1.0" encoding="UTF-8" standalone="yes"?>
<Relationships xmlns="http://schemas.openxmlformats.org/package/2006/relationships"><Relationship Id="rId3" Type="http://schemas.openxmlformats.org/officeDocument/2006/relationships/hyperlink" Target="https://docs.microsoft.com/en-us/power-bi/service-admin-premium-purchase" TargetMode="External"/><Relationship Id="rId2" Type="http://schemas.openxmlformats.org/officeDocument/2006/relationships/notesSlide" Target="../notesSlides/notesSlide229.xml"/><Relationship Id="rId1" Type="http://schemas.openxmlformats.org/officeDocument/2006/relationships/slideLayout" Target="../slideLayouts/slideLayout10.xml"/><Relationship Id="rId5" Type="http://schemas.openxmlformats.org/officeDocument/2006/relationships/slide" Target="slide211.xml"/><Relationship Id="rId4" Type="http://schemas.openxmlformats.org/officeDocument/2006/relationships/hyperlink" Target="https://docs.microsoft.com/en-us/power-bi/service-admin-premium-manage#setting-up-a-new-capacity-power-bi-premium" TargetMode="Externa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9.xml"/><Relationship Id="rId1" Type="http://schemas.openxmlformats.org/officeDocument/2006/relationships/tags" Target="../tags/tag109.xml"/><Relationship Id="rId5" Type="http://schemas.openxmlformats.org/officeDocument/2006/relationships/image" Target="../media/image364.png"/><Relationship Id="rId4" Type="http://schemas.openxmlformats.org/officeDocument/2006/relationships/image" Target="../media/image363.png"/></Relationships>
</file>

<file path=ppt/slides/_rels/slide243.xml.rels><?xml version="1.0" encoding="UTF-8" standalone="yes"?>
<Relationships xmlns="http://schemas.openxmlformats.org/package/2006/relationships"><Relationship Id="rId3" Type="http://schemas.openxmlformats.org/officeDocument/2006/relationships/hyperlink" Target="https://docs.microsoft.com/en-us/power-bi/service-admin-premium-monitor-capacity" TargetMode="External"/><Relationship Id="rId2" Type="http://schemas.openxmlformats.org/officeDocument/2006/relationships/notesSlide" Target="../notesSlides/notesSlide231.xml"/><Relationship Id="rId1" Type="http://schemas.openxmlformats.org/officeDocument/2006/relationships/slideLayout" Target="../slideLayouts/slideLayout10.xml"/><Relationship Id="rId5" Type="http://schemas.openxmlformats.org/officeDocument/2006/relationships/hyperlink" Target="https://docs.microsoft.com/en-us/power-bi/power-bi-reports-performance" TargetMode="External"/><Relationship Id="rId4" Type="http://schemas.openxmlformats.org/officeDocument/2006/relationships/hyperlink" Target="https://docs.microsoft.com/en-us/power-bi/service-premium-understand-how-it-works" TargetMode="Externa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33.xml"/><Relationship Id="rId7" Type="http://schemas.openxmlformats.org/officeDocument/2006/relationships/image" Target="../media/image367.svg"/><Relationship Id="rId2" Type="http://schemas.openxmlformats.org/officeDocument/2006/relationships/slideLayout" Target="../slideLayouts/slideLayout172.xml"/><Relationship Id="rId1" Type="http://schemas.openxmlformats.org/officeDocument/2006/relationships/tags" Target="../tags/tag110.xml"/><Relationship Id="rId6" Type="http://schemas.openxmlformats.org/officeDocument/2006/relationships/image" Target="../media/image366.png"/><Relationship Id="rId5" Type="http://schemas.openxmlformats.org/officeDocument/2006/relationships/image" Target="../media/image365.png"/><Relationship Id="rId4" Type="http://schemas.openxmlformats.org/officeDocument/2006/relationships/image" Target="../media/image227.png"/></Relationships>
</file>

<file path=ppt/slides/_rels/slide247.xml.rels><?xml version="1.0" encoding="UTF-8" standalone="yes"?>
<Relationships xmlns="http://schemas.openxmlformats.org/package/2006/relationships"><Relationship Id="rId8" Type="http://schemas.openxmlformats.org/officeDocument/2006/relationships/image" Target="../media/image370.png"/><Relationship Id="rId3" Type="http://schemas.openxmlformats.org/officeDocument/2006/relationships/notesSlide" Target="../notesSlides/notesSlide234.xml"/><Relationship Id="rId7" Type="http://schemas.openxmlformats.org/officeDocument/2006/relationships/image" Target="../media/image369.svg"/><Relationship Id="rId2" Type="http://schemas.openxmlformats.org/officeDocument/2006/relationships/slideLayout" Target="../slideLayouts/slideLayout172.xml"/><Relationship Id="rId1" Type="http://schemas.openxmlformats.org/officeDocument/2006/relationships/tags" Target="../tags/tag111.xml"/><Relationship Id="rId6" Type="http://schemas.openxmlformats.org/officeDocument/2006/relationships/image" Target="../media/image368.png"/><Relationship Id="rId5" Type="http://schemas.openxmlformats.org/officeDocument/2006/relationships/image" Target="../media/image160.svg"/><Relationship Id="rId4" Type="http://schemas.openxmlformats.org/officeDocument/2006/relationships/image" Target="../media/image159.png"/><Relationship Id="rId9" Type="http://schemas.openxmlformats.org/officeDocument/2006/relationships/image" Target="../media/image371.svg"/></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175.xml"/><Relationship Id="rId1" Type="http://schemas.openxmlformats.org/officeDocument/2006/relationships/tags" Target="../tags/tag112.xml"/><Relationship Id="rId5" Type="http://schemas.openxmlformats.org/officeDocument/2006/relationships/image" Target="../media/image373.png"/><Relationship Id="rId4" Type="http://schemas.openxmlformats.org/officeDocument/2006/relationships/image" Target="../media/image372.png"/></Relationships>
</file>

<file path=ppt/slides/_rels/slide249.xml.rels><?xml version="1.0" encoding="UTF-8" standalone="yes"?>
<Relationships xmlns="http://schemas.openxmlformats.org/package/2006/relationships"><Relationship Id="rId8" Type="http://schemas.openxmlformats.org/officeDocument/2006/relationships/image" Target="../media/image378.svg"/><Relationship Id="rId3" Type="http://schemas.openxmlformats.org/officeDocument/2006/relationships/image" Target="../media/image227.png"/><Relationship Id="rId7" Type="http://schemas.openxmlformats.org/officeDocument/2006/relationships/image" Target="../media/image377.png"/><Relationship Id="rId2" Type="http://schemas.openxmlformats.org/officeDocument/2006/relationships/notesSlide" Target="../notesSlides/notesSlide236.xml"/><Relationship Id="rId1" Type="http://schemas.openxmlformats.org/officeDocument/2006/relationships/slideLayout" Target="../slideLayouts/slideLayout172.xml"/><Relationship Id="rId6" Type="http://schemas.openxmlformats.org/officeDocument/2006/relationships/image" Target="../media/image376.svg"/><Relationship Id="rId5" Type="http://schemas.openxmlformats.org/officeDocument/2006/relationships/image" Target="../media/image375.png"/><Relationship Id="rId10" Type="http://schemas.openxmlformats.org/officeDocument/2006/relationships/image" Target="../media/image380.svg"/><Relationship Id="rId4" Type="http://schemas.openxmlformats.org/officeDocument/2006/relationships/image" Target="../media/image374.png"/><Relationship Id="rId9" Type="http://schemas.openxmlformats.org/officeDocument/2006/relationships/image" Target="../media/image379.png"/></Relationships>
</file>

<file path=ppt/slides/_rels/slide2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78.svg"/><Relationship Id="rId4" Type="http://schemas.openxmlformats.org/officeDocument/2006/relationships/image" Target="../media/image77.png"/></Relationships>
</file>

<file path=ppt/slides/_rels/slide250.xml.rels><?xml version="1.0" encoding="UTF-8" standalone="yes"?>
<Relationships xmlns="http://schemas.openxmlformats.org/package/2006/relationships"><Relationship Id="rId3" Type="http://schemas.openxmlformats.org/officeDocument/2006/relationships/image" Target="../media/image381.png"/><Relationship Id="rId7" Type="http://schemas.openxmlformats.org/officeDocument/2006/relationships/image" Target="../media/image383.png"/><Relationship Id="rId2" Type="http://schemas.openxmlformats.org/officeDocument/2006/relationships/notesSlide" Target="../notesSlides/notesSlide237.xml"/><Relationship Id="rId1" Type="http://schemas.openxmlformats.org/officeDocument/2006/relationships/slideLayout" Target="../slideLayouts/slideLayout172.xml"/><Relationship Id="rId6" Type="http://schemas.openxmlformats.org/officeDocument/2006/relationships/image" Target="../media/image382.png"/><Relationship Id="rId5" Type="http://schemas.openxmlformats.org/officeDocument/2006/relationships/image" Target="../media/image378.svg"/><Relationship Id="rId4" Type="http://schemas.openxmlformats.org/officeDocument/2006/relationships/image" Target="../media/image377.png"/></Relationships>
</file>

<file path=ppt/slides/_rels/slide251.xml.rels><?xml version="1.0" encoding="UTF-8" standalone="yes"?>
<Relationships xmlns="http://schemas.openxmlformats.org/package/2006/relationships"><Relationship Id="rId8" Type="http://schemas.openxmlformats.org/officeDocument/2006/relationships/image" Target="../media/image385.png"/><Relationship Id="rId3" Type="http://schemas.openxmlformats.org/officeDocument/2006/relationships/notesSlide" Target="../notesSlides/notesSlide238.xml"/><Relationship Id="rId7" Type="http://schemas.openxmlformats.org/officeDocument/2006/relationships/image" Target="../media/image378.svg"/><Relationship Id="rId2" Type="http://schemas.openxmlformats.org/officeDocument/2006/relationships/slideLayout" Target="../slideLayouts/slideLayout172.xml"/><Relationship Id="rId1" Type="http://schemas.openxmlformats.org/officeDocument/2006/relationships/tags" Target="../tags/tag113.xml"/><Relationship Id="rId6" Type="http://schemas.openxmlformats.org/officeDocument/2006/relationships/image" Target="../media/image377.png"/><Relationship Id="rId5" Type="http://schemas.openxmlformats.org/officeDocument/2006/relationships/image" Target="../media/image384.svg"/><Relationship Id="rId4" Type="http://schemas.openxmlformats.org/officeDocument/2006/relationships/image" Target="../media/image366.png"/><Relationship Id="rId9" Type="http://schemas.openxmlformats.org/officeDocument/2006/relationships/image" Target="../media/image386.png"/></Relationships>
</file>

<file path=ppt/slides/_rels/slide252.xml.rels><?xml version="1.0" encoding="UTF-8" standalone="yes"?>
<Relationships xmlns="http://schemas.openxmlformats.org/package/2006/relationships"><Relationship Id="rId8" Type="http://schemas.openxmlformats.org/officeDocument/2006/relationships/image" Target="../media/image371.svg"/><Relationship Id="rId3" Type="http://schemas.openxmlformats.org/officeDocument/2006/relationships/image" Target="../media/image277.png"/><Relationship Id="rId7" Type="http://schemas.openxmlformats.org/officeDocument/2006/relationships/image" Target="../media/image370.png"/><Relationship Id="rId2" Type="http://schemas.openxmlformats.org/officeDocument/2006/relationships/notesSlide" Target="../notesSlides/notesSlide239.xml"/><Relationship Id="rId1" Type="http://schemas.openxmlformats.org/officeDocument/2006/relationships/slideLayout" Target="../slideLayouts/slideLayout172.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388.svg"/><Relationship Id="rId4" Type="http://schemas.openxmlformats.org/officeDocument/2006/relationships/image" Target="../media/image387.svg"/><Relationship Id="rId9" Type="http://schemas.openxmlformats.org/officeDocument/2006/relationships/image" Target="../media/image265.png"/></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177.xml"/><Relationship Id="rId1" Type="http://schemas.openxmlformats.org/officeDocument/2006/relationships/tags" Target="../tags/tag114.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55.xml.rels><?xml version="1.0" encoding="UTF-8" standalone="yes"?>
<Relationships xmlns="http://schemas.openxmlformats.org/package/2006/relationships"><Relationship Id="rId8" Type="http://schemas.microsoft.com/office/2007/relationships/diagramDrawing" Target="../diagrams/drawing29.xml"/><Relationship Id="rId3" Type="http://schemas.openxmlformats.org/officeDocument/2006/relationships/notesSlide" Target="../notesSlides/notesSlide241.xml"/><Relationship Id="rId7" Type="http://schemas.openxmlformats.org/officeDocument/2006/relationships/diagramColors" Target="../diagrams/colors29.xml"/><Relationship Id="rId2" Type="http://schemas.openxmlformats.org/officeDocument/2006/relationships/slideLayout" Target="../slideLayouts/slideLayout172.xml"/><Relationship Id="rId1" Type="http://schemas.openxmlformats.org/officeDocument/2006/relationships/tags" Target="../tags/tag115.xml"/><Relationship Id="rId6" Type="http://schemas.openxmlformats.org/officeDocument/2006/relationships/diagramQuickStyle" Target="../diagrams/quickStyle29.xml"/><Relationship Id="rId5" Type="http://schemas.openxmlformats.org/officeDocument/2006/relationships/diagramLayout" Target="../diagrams/layout29.xml"/><Relationship Id="rId4" Type="http://schemas.openxmlformats.org/officeDocument/2006/relationships/diagramData" Target="../diagrams/data29.xml"/></Relationships>
</file>

<file path=ppt/slides/_rels/slide25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393.svg"/><Relationship Id="rId3" Type="http://schemas.openxmlformats.org/officeDocument/2006/relationships/notesSlide" Target="../notesSlides/notesSlide242.xml"/><Relationship Id="rId7" Type="http://schemas.openxmlformats.org/officeDocument/2006/relationships/image" Target="../media/image391.svg"/><Relationship Id="rId12" Type="http://schemas.openxmlformats.org/officeDocument/2006/relationships/image" Target="../media/image130.png"/><Relationship Id="rId2" Type="http://schemas.openxmlformats.org/officeDocument/2006/relationships/slideLayout" Target="../slideLayouts/slideLayout172.xml"/><Relationship Id="rId1" Type="http://schemas.openxmlformats.org/officeDocument/2006/relationships/tags" Target="../tags/tag116.xml"/><Relationship Id="rId6" Type="http://schemas.openxmlformats.org/officeDocument/2006/relationships/image" Target="../media/image356.png"/><Relationship Id="rId11" Type="http://schemas.openxmlformats.org/officeDocument/2006/relationships/image" Target="../media/image392.svg"/><Relationship Id="rId5" Type="http://schemas.openxmlformats.org/officeDocument/2006/relationships/image" Target="../media/image390.svg"/><Relationship Id="rId10" Type="http://schemas.openxmlformats.org/officeDocument/2006/relationships/image" Target="../media/image358.png"/><Relationship Id="rId4" Type="http://schemas.openxmlformats.org/officeDocument/2006/relationships/image" Target="../media/image389.png"/><Relationship Id="rId9" Type="http://schemas.openxmlformats.org/officeDocument/2006/relationships/image" Target="../media/image146.svg"/></Relationships>
</file>

<file path=ppt/slides/_rels/slide257.xml.rels><?xml version="1.0" encoding="UTF-8" standalone="yes"?>
<Relationships xmlns="http://schemas.openxmlformats.org/package/2006/relationships"><Relationship Id="rId8" Type="http://schemas.openxmlformats.org/officeDocument/2006/relationships/image" Target="../media/image398.svg"/><Relationship Id="rId3" Type="http://schemas.openxmlformats.org/officeDocument/2006/relationships/image" Target="../media/image368.png"/><Relationship Id="rId7" Type="http://schemas.openxmlformats.org/officeDocument/2006/relationships/image" Target="../media/image397.png"/><Relationship Id="rId2" Type="http://schemas.openxmlformats.org/officeDocument/2006/relationships/notesSlide" Target="../notesSlides/notesSlide243.xml"/><Relationship Id="rId1" Type="http://schemas.openxmlformats.org/officeDocument/2006/relationships/slideLayout" Target="../slideLayouts/slideLayout181.xml"/><Relationship Id="rId6" Type="http://schemas.openxmlformats.org/officeDocument/2006/relationships/image" Target="../media/image396.svg"/><Relationship Id="rId5" Type="http://schemas.openxmlformats.org/officeDocument/2006/relationships/image" Target="../media/image395.png"/><Relationship Id="rId4" Type="http://schemas.openxmlformats.org/officeDocument/2006/relationships/image" Target="../media/image394.svg"/></Relationships>
</file>

<file path=ppt/slides/_rels/slide258.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notesSlide" Target="../notesSlides/notesSlide244.xml"/><Relationship Id="rId1" Type="http://schemas.openxmlformats.org/officeDocument/2006/relationships/slideLayout" Target="../slideLayouts/slideLayout174.xml"/><Relationship Id="rId4" Type="http://schemas.openxmlformats.org/officeDocument/2006/relationships/image" Target="../media/image400.svg"/></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60.xml.rels><?xml version="1.0" encoding="UTF-8" standalone="yes"?>
<Relationships xmlns="http://schemas.openxmlformats.org/package/2006/relationships"><Relationship Id="rId8" Type="http://schemas.openxmlformats.org/officeDocument/2006/relationships/image" Target="../media/image367.svg"/><Relationship Id="rId3" Type="http://schemas.openxmlformats.org/officeDocument/2006/relationships/image" Target="../media/image401.png"/><Relationship Id="rId7" Type="http://schemas.openxmlformats.org/officeDocument/2006/relationships/image" Target="../media/image366.png"/><Relationship Id="rId2" Type="http://schemas.openxmlformats.org/officeDocument/2006/relationships/notesSlide" Target="../notesSlides/notesSlide245.xml"/><Relationship Id="rId1" Type="http://schemas.openxmlformats.org/officeDocument/2006/relationships/slideLayout" Target="../slideLayouts/slideLayout172.xml"/><Relationship Id="rId6" Type="http://schemas.openxmlformats.org/officeDocument/2006/relationships/image" Target="../media/image403.svg"/><Relationship Id="rId5" Type="http://schemas.openxmlformats.org/officeDocument/2006/relationships/image" Target="../media/image159.png"/><Relationship Id="rId10" Type="http://schemas.openxmlformats.org/officeDocument/2006/relationships/image" Target="../media/image394.svg"/><Relationship Id="rId4" Type="http://schemas.openxmlformats.org/officeDocument/2006/relationships/image" Target="../media/image402.png"/><Relationship Id="rId9" Type="http://schemas.openxmlformats.org/officeDocument/2006/relationships/image" Target="../media/image368.png"/></Relationships>
</file>

<file path=ppt/slides/_rels/slide261.xml.rels><?xml version="1.0" encoding="UTF-8" standalone="yes"?>
<Relationships xmlns="http://schemas.openxmlformats.org/package/2006/relationships"><Relationship Id="rId8" Type="http://schemas.openxmlformats.org/officeDocument/2006/relationships/image" Target="../media/image406.svg"/><Relationship Id="rId3" Type="http://schemas.openxmlformats.org/officeDocument/2006/relationships/notesSlide" Target="../notesSlides/notesSlide246.xml"/><Relationship Id="rId7" Type="http://schemas.openxmlformats.org/officeDocument/2006/relationships/image" Target="../media/image405.png"/><Relationship Id="rId2" Type="http://schemas.openxmlformats.org/officeDocument/2006/relationships/slideLayout" Target="../slideLayouts/slideLayout172.xml"/><Relationship Id="rId1" Type="http://schemas.openxmlformats.org/officeDocument/2006/relationships/tags" Target="../tags/tag117.xml"/><Relationship Id="rId6" Type="http://schemas.openxmlformats.org/officeDocument/2006/relationships/image" Target="../media/image357.svg"/><Relationship Id="rId5" Type="http://schemas.openxmlformats.org/officeDocument/2006/relationships/image" Target="../media/image356.png"/><Relationship Id="rId10" Type="http://schemas.openxmlformats.org/officeDocument/2006/relationships/image" Target="../media/image408.svg"/><Relationship Id="rId4" Type="http://schemas.openxmlformats.org/officeDocument/2006/relationships/image" Target="../media/image404.png"/><Relationship Id="rId9" Type="http://schemas.openxmlformats.org/officeDocument/2006/relationships/image" Target="../media/image407.png"/></Relationships>
</file>

<file path=ppt/slides/_rels/slide262.xml.rels><?xml version="1.0" encoding="UTF-8" standalone="yes"?>
<Relationships xmlns="http://schemas.openxmlformats.org/package/2006/relationships"><Relationship Id="rId8" Type="http://schemas.openxmlformats.org/officeDocument/2006/relationships/image" Target="../media/image397.png"/><Relationship Id="rId3" Type="http://schemas.openxmlformats.org/officeDocument/2006/relationships/image" Target="../media/image409.png"/><Relationship Id="rId7" Type="http://schemas.openxmlformats.org/officeDocument/2006/relationships/image" Target="../media/image359.svg"/><Relationship Id="rId2" Type="http://schemas.openxmlformats.org/officeDocument/2006/relationships/notesSlide" Target="../notesSlides/notesSlide247.xml"/><Relationship Id="rId1" Type="http://schemas.openxmlformats.org/officeDocument/2006/relationships/slideLayout" Target="../slideLayouts/slideLayout172.xml"/><Relationship Id="rId6" Type="http://schemas.openxmlformats.org/officeDocument/2006/relationships/image" Target="../media/image358.png"/><Relationship Id="rId5" Type="http://schemas.openxmlformats.org/officeDocument/2006/relationships/image" Target="../media/image158.svg"/><Relationship Id="rId4" Type="http://schemas.openxmlformats.org/officeDocument/2006/relationships/image" Target="../media/image122.png"/><Relationship Id="rId9" Type="http://schemas.openxmlformats.org/officeDocument/2006/relationships/image" Target="../media/image410.svg"/></Relationships>
</file>

<file path=ppt/slides/_rels/slide263.xml.rels><?xml version="1.0" encoding="UTF-8" standalone="yes"?>
<Relationships xmlns="http://schemas.openxmlformats.org/package/2006/relationships"><Relationship Id="rId3" Type="http://schemas.openxmlformats.org/officeDocument/2006/relationships/image" Target="../media/image411.png"/><Relationship Id="rId2" Type="http://schemas.openxmlformats.org/officeDocument/2006/relationships/notesSlide" Target="../notesSlides/notesSlide248.xml"/><Relationship Id="rId1" Type="http://schemas.openxmlformats.org/officeDocument/2006/relationships/slideLayout" Target="../slideLayouts/slideLayout172.xml"/><Relationship Id="rId6" Type="http://schemas.openxmlformats.org/officeDocument/2006/relationships/image" Target="../media/image414.svg"/><Relationship Id="rId5" Type="http://schemas.openxmlformats.org/officeDocument/2006/relationships/image" Target="../media/image413.png"/><Relationship Id="rId4" Type="http://schemas.openxmlformats.org/officeDocument/2006/relationships/image" Target="../media/image412.svg"/></Relationships>
</file>

<file path=ppt/slides/_rels/slide264.xml.rels><?xml version="1.0" encoding="UTF-8" standalone="yes"?>
<Relationships xmlns="http://schemas.openxmlformats.org/package/2006/relationships"><Relationship Id="rId8" Type="http://schemas.openxmlformats.org/officeDocument/2006/relationships/image" Target="../media/image397.png"/><Relationship Id="rId3" Type="http://schemas.openxmlformats.org/officeDocument/2006/relationships/notesSlide" Target="../notesSlides/notesSlide249.xml"/><Relationship Id="rId7" Type="http://schemas.openxmlformats.org/officeDocument/2006/relationships/image" Target="../media/image158.svg"/><Relationship Id="rId2" Type="http://schemas.openxmlformats.org/officeDocument/2006/relationships/slideLayout" Target="../slideLayouts/slideLayout172.xml"/><Relationship Id="rId1" Type="http://schemas.openxmlformats.org/officeDocument/2006/relationships/tags" Target="../tags/tag118.xml"/><Relationship Id="rId6" Type="http://schemas.openxmlformats.org/officeDocument/2006/relationships/image" Target="../media/image122.png"/><Relationship Id="rId5" Type="http://schemas.openxmlformats.org/officeDocument/2006/relationships/image" Target="../media/image242.svg"/><Relationship Id="rId4" Type="http://schemas.openxmlformats.org/officeDocument/2006/relationships/image" Target="../media/image130.png"/><Relationship Id="rId9" Type="http://schemas.openxmlformats.org/officeDocument/2006/relationships/image" Target="../media/image410.svg"/></Relationships>
</file>

<file path=ppt/slides/_rels/slide265.xml.rels><?xml version="1.0" encoding="UTF-8" standalone="yes"?>
<Relationships xmlns="http://schemas.openxmlformats.org/package/2006/relationships"><Relationship Id="rId3" Type="http://schemas.openxmlformats.org/officeDocument/2006/relationships/image" Target="../media/image415.png"/><Relationship Id="rId2" Type="http://schemas.openxmlformats.org/officeDocument/2006/relationships/notesSlide" Target="../notesSlides/notesSlide250.xml"/><Relationship Id="rId1" Type="http://schemas.openxmlformats.org/officeDocument/2006/relationships/slideLayout" Target="../slideLayouts/slideLayout172.xml"/><Relationship Id="rId4" Type="http://schemas.openxmlformats.org/officeDocument/2006/relationships/image" Target="../media/image416.png"/></Relationships>
</file>

<file path=ppt/slides/_rels/slide266.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384.svg"/><Relationship Id="rId2" Type="http://schemas.openxmlformats.org/officeDocument/2006/relationships/notesSlide" Target="../notesSlides/notesSlide251.xml"/><Relationship Id="rId1" Type="http://schemas.openxmlformats.org/officeDocument/2006/relationships/slideLayout" Target="../slideLayouts/slideLayout172.xml"/><Relationship Id="rId6" Type="http://schemas.openxmlformats.org/officeDocument/2006/relationships/image" Target="../media/image366.png"/><Relationship Id="rId5" Type="http://schemas.openxmlformats.org/officeDocument/2006/relationships/image" Target="../media/image417.png"/><Relationship Id="rId4" Type="http://schemas.openxmlformats.org/officeDocument/2006/relationships/image" Target="../media/image158.svg"/></Relationships>
</file>

<file path=ppt/slides/_rels/slide267.xml.rels><?xml version="1.0" encoding="UTF-8" standalone="yes"?>
<Relationships xmlns="http://schemas.openxmlformats.org/package/2006/relationships"><Relationship Id="rId3" Type="http://schemas.openxmlformats.org/officeDocument/2006/relationships/image" Target="../media/image418.png"/><Relationship Id="rId2" Type="http://schemas.openxmlformats.org/officeDocument/2006/relationships/notesSlide" Target="../notesSlides/notesSlide252.xml"/><Relationship Id="rId1" Type="http://schemas.openxmlformats.org/officeDocument/2006/relationships/slideLayout" Target="../slideLayouts/slideLayout175.xml"/><Relationship Id="rId5" Type="http://schemas.openxmlformats.org/officeDocument/2006/relationships/image" Target="../media/image419.png"/><Relationship Id="rId4" Type="http://schemas.openxmlformats.org/officeDocument/2006/relationships/hyperlink" Target="http://www.microsoftvolumelicensing.com/DocumentSearch.aspx?Mode=3&amp;DocumentTypeId=31" TargetMode="External"/></Relationships>
</file>

<file path=ppt/slides/_rels/slide268.xml.rels><?xml version="1.0" encoding="UTF-8" standalone="yes"?>
<Relationships xmlns="http://schemas.openxmlformats.org/package/2006/relationships"><Relationship Id="rId8" Type="http://schemas.openxmlformats.org/officeDocument/2006/relationships/image" Target="../media/image423.svg"/><Relationship Id="rId3" Type="http://schemas.openxmlformats.org/officeDocument/2006/relationships/notesSlide" Target="../notesSlides/notesSlide253.xml"/><Relationship Id="rId7" Type="http://schemas.openxmlformats.org/officeDocument/2006/relationships/image" Target="../media/image395.png"/><Relationship Id="rId2" Type="http://schemas.openxmlformats.org/officeDocument/2006/relationships/slideLayout" Target="../slideLayouts/slideLayout172.xml"/><Relationship Id="rId1" Type="http://schemas.openxmlformats.org/officeDocument/2006/relationships/tags" Target="../tags/tag119.xml"/><Relationship Id="rId6" Type="http://schemas.openxmlformats.org/officeDocument/2006/relationships/image" Target="../media/image422.svg"/><Relationship Id="rId5" Type="http://schemas.openxmlformats.org/officeDocument/2006/relationships/image" Target="../media/image421.png"/><Relationship Id="rId10" Type="http://schemas.openxmlformats.org/officeDocument/2006/relationships/image" Target="../media/image141.svg"/><Relationship Id="rId4" Type="http://schemas.openxmlformats.org/officeDocument/2006/relationships/image" Target="../media/image420.png"/><Relationship Id="rId9" Type="http://schemas.openxmlformats.org/officeDocument/2006/relationships/image" Target="../media/image140.png"/></Relationships>
</file>

<file path=ppt/slides/_rels/slide269.xml.rels><?xml version="1.0" encoding="UTF-8" standalone="yes"?>
<Relationships xmlns="http://schemas.openxmlformats.org/package/2006/relationships"><Relationship Id="rId8" Type="http://schemas.openxmlformats.org/officeDocument/2006/relationships/image" Target="../media/image384.svg"/><Relationship Id="rId13" Type="http://schemas.openxmlformats.org/officeDocument/2006/relationships/image" Target="../media/image426.png"/><Relationship Id="rId3" Type="http://schemas.openxmlformats.org/officeDocument/2006/relationships/notesSlide" Target="../notesSlides/notesSlide254.xml"/><Relationship Id="rId7" Type="http://schemas.openxmlformats.org/officeDocument/2006/relationships/image" Target="../media/image366.png"/><Relationship Id="rId12" Type="http://schemas.openxmlformats.org/officeDocument/2006/relationships/image" Target="../media/image185.svg"/><Relationship Id="rId2" Type="http://schemas.openxmlformats.org/officeDocument/2006/relationships/slideLayout" Target="../slideLayouts/slideLayout172.xml"/><Relationship Id="rId16" Type="http://schemas.openxmlformats.org/officeDocument/2006/relationships/image" Target="../media/image429.svg"/><Relationship Id="rId1" Type="http://schemas.openxmlformats.org/officeDocument/2006/relationships/tags" Target="../tags/tag120.xml"/><Relationship Id="rId6" Type="http://schemas.openxmlformats.org/officeDocument/2006/relationships/image" Target="../media/image282.svg"/><Relationship Id="rId11" Type="http://schemas.openxmlformats.org/officeDocument/2006/relationships/image" Target="../media/image184.png"/><Relationship Id="rId5" Type="http://schemas.openxmlformats.org/officeDocument/2006/relationships/image" Target="../media/image281.png"/><Relationship Id="rId15" Type="http://schemas.openxmlformats.org/officeDocument/2006/relationships/image" Target="../media/image428.png"/><Relationship Id="rId10" Type="http://schemas.openxmlformats.org/officeDocument/2006/relationships/image" Target="../media/image425.svg"/><Relationship Id="rId4" Type="http://schemas.openxmlformats.org/officeDocument/2006/relationships/image" Target="../media/image420.png"/><Relationship Id="rId9" Type="http://schemas.openxmlformats.org/officeDocument/2006/relationships/image" Target="../media/image424.png"/><Relationship Id="rId14" Type="http://schemas.openxmlformats.org/officeDocument/2006/relationships/image" Target="../media/image427.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177.xml"/><Relationship Id="rId1" Type="http://schemas.openxmlformats.org/officeDocument/2006/relationships/tags" Target="../tags/tag121.xml"/></Relationships>
</file>

<file path=ppt/slides/_rels/slide271.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product=PowerBI" TargetMode="External"/><Relationship Id="rId2" Type="http://schemas.openxmlformats.org/officeDocument/2006/relationships/notesSlide" Target="../notesSlides/notesSlide256.xml"/><Relationship Id="rId1" Type="http://schemas.openxmlformats.org/officeDocument/2006/relationships/slideLayout" Target="../slideLayouts/slideLayout175.xml"/><Relationship Id="rId4" Type="http://schemas.openxmlformats.org/officeDocument/2006/relationships/hyperlink" Target="https://www.microsoft.com/en-us/trustcenter/privacy/powerbi-location" TargetMode="External"/></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177.xml"/></Relationships>
</file>

<file path=ppt/slides/_rels/slide273.xml.rels><?xml version="1.0" encoding="UTF-8" standalone="yes"?>
<Relationships xmlns="http://schemas.openxmlformats.org/package/2006/relationships"><Relationship Id="rId8" Type="http://schemas.openxmlformats.org/officeDocument/2006/relationships/image" Target="../media/image366.png"/><Relationship Id="rId3" Type="http://schemas.openxmlformats.org/officeDocument/2006/relationships/notesSlide" Target="../notesSlides/notesSlide258.xml"/><Relationship Id="rId7" Type="http://schemas.openxmlformats.org/officeDocument/2006/relationships/image" Target="../media/image430.svg"/><Relationship Id="rId2" Type="http://schemas.openxmlformats.org/officeDocument/2006/relationships/slideLayout" Target="../slideLayouts/slideLayout172.xml"/><Relationship Id="rId1" Type="http://schemas.openxmlformats.org/officeDocument/2006/relationships/tags" Target="../tags/tag122.xml"/><Relationship Id="rId6" Type="http://schemas.openxmlformats.org/officeDocument/2006/relationships/image" Target="../media/image281.png"/><Relationship Id="rId11" Type="http://schemas.openxmlformats.org/officeDocument/2006/relationships/image" Target="../media/image432.svg"/><Relationship Id="rId5" Type="http://schemas.openxmlformats.org/officeDocument/2006/relationships/image" Target="../media/image391.svg"/><Relationship Id="rId10" Type="http://schemas.openxmlformats.org/officeDocument/2006/relationships/image" Target="../media/image431.png"/><Relationship Id="rId4" Type="http://schemas.openxmlformats.org/officeDocument/2006/relationships/image" Target="../media/image356.png"/><Relationship Id="rId9" Type="http://schemas.openxmlformats.org/officeDocument/2006/relationships/image" Target="../media/image367.svg"/></Relationships>
</file>

<file path=ppt/slides/_rels/slide274.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image" Target="../media/image433.png"/><Relationship Id="rId7" Type="http://schemas.openxmlformats.org/officeDocument/2006/relationships/image" Target="../media/image138.png"/><Relationship Id="rId2" Type="http://schemas.openxmlformats.org/officeDocument/2006/relationships/notesSlide" Target="../notesSlides/notesSlide259.xml"/><Relationship Id="rId1" Type="http://schemas.openxmlformats.org/officeDocument/2006/relationships/slideLayout" Target="../slideLayouts/slideLayout172.xml"/><Relationship Id="rId6" Type="http://schemas.openxmlformats.org/officeDocument/2006/relationships/image" Target="../media/image243.svg"/><Relationship Id="rId5" Type="http://schemas.openxmlformats.org/officeDocument/2006/relationships/image" Target="../media/image116.png"/><Relationship Id="rId10" Type="http://schemas.openxmlformats.org/officeDocument/2006/relationships/image" Target="../media/image436.svg"/><Relationship Id="rId4" Type="http://schemas.openxmlformats.org/officeDocument/2006/relationships/image" Target="../media/image434.svg"/><Relationship Id="rId9" Type="http://schemas.openxmlformats.org/officeDocument/2006/relationships/image" Target="../media/image435.png"/></Relationships>
</file>

<file path=ppt/slides/_rels/slide275.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260.xml"/><Relationship Id="rId1" Type="http://schemas.openxmlformats.org/officeDocument/2006/relationships/slideLayout" Target="../slideLayouts/slideLayout173.xml"/></Relationships>
</file>

<file path=ppt/slides/_rels/slide276.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439.svg"/><Relationship Id="rId3" Type="http://schemas.openxmlformats.org/officeDocument/2006/relationships/notesSlide" Target="../notesSlides/notesSlide261.xml"/><Relationship Id="rId7" Type="http://schemas.openxmlformats.org/officeDocument/2006/relationships/image" Target="../media/image437.svg"/><Relationship Id="rId12" Type="http://schemas.openxmlformats.org/officeDocument/2006/relationships/image" Target="../media/image438.png"/><Relationship Id="rId2" Type="http://schemas.openxmlformats.org/officeDocument/2006/relationships/slideLayout" Target="../slideLayouts/slideLayout172.xml"/><Relationship Id="rId1" Type="http://schemas.openxmlformats.org/officeDocument/2006/relationships/tags" Target="../tags/tag123.xml"/><Relationship Id="rId6" Type="http://schemas.openxmlformats.org/officeDocument/2006/relationships/image" Target="../media/image144.png"/><Relationship Id="rId11" Type="http://schemas.openxmlformats.org/officeDocument/2006/relationships/image" Target="../media/image141.svg"/><Relationship Id="rId5" Type="http://schemas.openxmlformats.org/officeDocument/2006/relationships/image" Target="../media/image384.svg"/><Relationship Id="rId10" Type="http://schemas.openxmlformats.org/officeDocument/2006/relationships/image" Target="../media/image140.png"/><Relationship Id="rId4" Type="http://schemas.openxmlformats.org/officeDocument/2006/relationships/image" Target="../media/image366.png"/><Relationship Id="rId9" Type="http://schemas.openxmlformats.org/officeDocument/2006/relationships/image" Target="../media/image135.svg"/><Relationship Id="rId14" Type="http://schemas.openxmlformats.org/officeDocument/2006/relationships/image" Target="../media/image440.png"/></Relationships>
</file>

<file path=ppt/slides/_rels/slide277.xml.rels><?xml version="1.0" encoding="UTF-8" standalone="yes"?>
<Relationships xmlns="http://schemas.openxmlformats.org/package/2006/relationships"><Relationship Id="rId8" Type="http://schemas.openxmlformats.org/officeDocument/2006/relationships/image" Target="../media/image245.svg"/><Relationship Id="rId13" Type="http://schemas.openxmlformats.org/officeDocument/2006/relationships/image" Target="../media/image159.png"/><Relationship Id="rId18" Type="http://schemas.openxmlformats.org/officeDocument/2006/relationships/image" Target="../media/image439.svg"/><Relationship Id="rId3" Type="http://schemas.openxmlformats.org/officeDocument/2006/relationships/notesSlide" Target="../notesSlides/notesSlide262.xml"/><Relationship Id="rId7" Type="http://schemas.openxmlformats.org/officeDocument/2006/relationships/image" Target="../media/image244.png"/><Relationship Id="rId12" Type="http://schemas.openxmlformats.org/officeDocument/2006/relationships/image" Target="../media/image443.svg"/><Relationship Id="rId17" Type="http://schemas.openxmlformats.org/officeDocument/2006/relationships/image" Target="../media/image438.png"/><Relationship Id="rId2" Type="http://schemas.openxmlformats.org/officeDocument/2006/relationships/slideLayout" Target="../slideLayouts/slideLayout172.xml"/><Relationship Id="rId16" Type="http://schemas.openxmlformats.org/officeDocument/2006/relationships/image" Target="../media/image445.svg"/><Relationship Id="rId1" Type="http://schemas.openxmlformats.org/officeDocument/2006/relationships/tags" Target="../tags/tag124.xml"/><Relationship Id="rId6" Type="http://schemas.openxmlformats.org/officeDocument/2006/relationships/image" Target="../media/image135.svg"/><Relationship Id="rId11" Type="http://schemas.openxmlformats.org/officeDocument/2006/relationships/image" Target="../media/image442.png"/><Relationship Id="rId5" Type="http://schemas.openxmlformats.org/officeDocument/2006/relationships/image" Target="../media/image134.png"/><Relationship Id="rId15" Type="http://schemas.openxmlformats.org/officeDocument/2006/relationships/image" Target="../media/image444.png"/><Relationship Id="rId10" Type="http://schemas.openxmlformats.org/officeDocument/2006/relationships/image" Target="../media/image256.svg"/><Relationship Id="rId4" Type="http://schemas.openxmlformats.org/officeDocument/2006/relationships/image" Target="../media/image441.png"/><Relationship Id="rId9" Type="http://schemas.openxmlformats.org/officeDocument/2006/relationships/image" Target="../media/image255.png"/><Relationship Id="rId14" Type="http://schemas.openxmlformats.org/officeDocument/2006/relationships/image" Target="../media/image160.svg"/></Relationships>
</file>

<file path=ppt/slides/_rels/slide278.xml.rels><?xml version="1.0" encoding="UTF-8" standalone="yes"?>
<Relationships xmlns="http://schemas.openxmlformats.org/package/2006/relationships"><Relationship Id="rId8" Type="http://schemas.openxmlformats.org/officeDocument/2006/relationships/image" Target="../media/image370.png"/><Relationship Id="rId13" Type="http://schemas.openxmlformats.org/officeDocument/2006/relationships/image" Target="../media/image448.svg"/><Relationship Id="rId3" Type="http://schemas.openxmlformats.org/officeDocument/2006/relationships/notesSlide" Target="../notesSlides/notesSlide263.xml"/><Relationship Id="rId7" Type="http://schemas.openxmlformats.org/officeDocument/2006/relationships/image" Target="../media/image439.svg"/><Relationship Id="rId12" Type="http://schemas.openxmlformats.org/officeDocument/2006/relationships/image" Target="../media/image260.png"/><Relationship Id="rId2" Type="http://schemas.openxmlformats.org/officeDocument/2006/relationships/slideLayout" Target="../slideLayouts/slideLayout172.xml"/><Relationship Id="rId1" Type="http://schemas.openxmlformats.org/officeDocument/2006/relationships/tags" Target="../tags/tag125.xml"/><Relationship Id="rId6" Type="http://schemas.openxmlformats.org/officeDocument/2006/relationships/image" Target="../media/image438.png"/><Relationship Id="rId11" Type="http://schemas.openxmlformats.org/officeDocument/2006/relationships/image" Target="../media/image436.svg"/><Relationship Id="rId5" Type="http://schemas.openxmlformats.org/officeDocument/2006/relationships/image" Target="../media/image447.png"/><Relationship Id="rId15" Type="http://schemas.openxmlformats.org/officeDocument/2006/relationships/image" Target="../media/image245.svg"/><Relationship Id="rId10" Type="http://schemas.openxmlformats.org/officeDocument/2006/relationships/image" Target="../media/image435.png"/><Relationship Id="rId4" Type="http://schemas.openxmlformats.org/officeDocument/2006/relationships/image" Target="../media/image446.png"/><Relationship Id="rId9" Type="http://schemas.openxmlformats.org/officeDocument/2006/relationships/image" Target="../media/image371.svg"/><Relationship Id="rId14" Type="http://schemas.openxmlformats.org/officeDocument/2006/relationships/image" Target="../media/image244.png"/></Relationships>
</file>

<file path=ppt/slides/_rels/slide279.xml.rels><?xml version="1.0" encoding="UTF-8" standalone="yes"?>
<Relationships xmlns="http://schemas.openxmlformats.org/package/2006/relationships"><Relationship Id="rId8" Type="http://schemas.openxmlformats.org/officeDocument/2006/relationships/image" Target="../media/image370.png"/><Relationship Id="rId3" Type="http://schemas.openxmlformats.org/officeDocument/2006/relationships/notesSlide" Target="../notesSlides/notesSlide264.xml"/><Relationship Id="rId7" Type="http://schemas.openxmlformats.org/officeDocument/2006/relationships/image" Target="../media/image439.svg"/><Relationship Id="rId12" Type="http://schemas.openxmlformats.org/officeDocument/2006/relationships/image" Target="../media/image449.png"/><Relationship Id="rId2" Type="http://schemas.openxmlformats.org/officeDocument/2006/relationships/slideLayout" Target="../slideLayouts/slideLayout172.xml"/><Relationship Id="rId1" Type="http://schemas.openxmlformats.org/officeDocument/2006/relationships/tags" Target="../tags/tag126.xml"/><Relationship Id="rId6" Type="http://schemas.openxmlformats.org/officeDocument/2006/relationships/image" Target="../media/image438.png"/><Relationship Id="rId11" Type="http://schemas.openxmlformats.org/officeDocument/2006/relationships/image" Target="../media/image256.svg"/><Relationship Id="rId5" Type="http://schemas.openxmlformats.org/officeDocument/2006/relationships/image" Target="../media/image141.svg"/><Relationship Id="rId10" Type="http://schemas.openxmlformats.org/officeDocument/2006/relationships/image" Target="../media/image255.png"/><Relationship Id="rId4" Type="http://schemas.openxmlformats.org/officeDocument/2006/relationships/image" Target="../media/image140.png"/><Relationship Id="rId9" Type="http://schemas.openxmlformats.org/officeDocument/2006/relationships/image" Target="../media/image371.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80.xml.rels><?xml version="1.0" encoding="UTF-8" standalone="yes"?>
<Relationships xmlns="http://schemas.openxmlformats.org/package/2006/relationships"><Relationship Id="rId8" Type="http://schemas.openxmlformats.org/officeDocument/2006/relationships/image" Target="../media/image452.svg"/><Relationship Id="rId13" Type="http://schemas.openxmlformats.org/officeDocument/2006/relationships/image" Target="../media/image248.png"/><Relationship Id="rId3" Type="http://schemas.openxmlformats.org/officeDocument/2006/relationships/notesSlide" Target="../notesSlides/notesSlide265.xml"/><Relationship Id="rId7" Type="http://schemas.openxmlformats.org/officeDocument/2006/relationships/image" Target="../media/image451.png"/><Relationship Id="rId12" Type="http://schemas.openxmlformats.org/officeDocument/2006/relationships/image" Target="../media/image275.svg"/><Relationship Id="rId2" Type="http://schemas.openxmlformats.org/officeDocument/2006/relationships/slideLayout" Target="../slideLayouts/slideLayout172.xml"/><Relationship Id="rId1" Type="http://schemas.openxmlformats.org/officeDocument/2006/relationships/tags" Target="../tags/tag127.xml"/><Relationship Id="rId6" Type="http://schemas.openxmlformats.org/officeDocument/2006/relationships/image" Target="../media/image450.png"/><Relationship Id="rId11" Type="http://schemas.openxmlformats.org/officeDocument/2006/relationships/image" Target="../media/image274.png"/><Relationship Id="rId5" Type="http://schemas.openxmlformats.org/officeDocument/2006/relationships/image" Target="../media/image439.svg"/><Relationship Id="rId10" Type="http://schemas.openxmlformats.org/officeDocument/2006/relationships/image" Target="../media/image454.svg"/><Relationship Id="rId4" Type="http://schemas.openxmlformats.org/officeDocument/2006/relationships/image" Target="../media/image438.png"/><Relationship Id="rId9" Type="http://schemas.openxmlformats.org/officeDocument/2006/relationships/image" Target="../media/image453.png"/><Relationship Id="rId14" Type="http://schemas.openxmlformats.org/officeDocument/2006/relationships/image" Target="../media/image455.svg"/></Relationships>
</file>

<file path=ppt/slides/_rels/slide281.xml.rels><?xml version="1.0" encoding="UTF-8" standalone="yes"?>
<Relationships xmlns="http://schemas.openxmlformats.org/package/2006/relationships"><Relationship Id="rId8" Type="http://schemas.openxmlformats.org/officeDocument/2006/relationships/image" Target="../media/image410.svg"/><Relationship Id="rId3" Type="http://schemas.openxmlformats.org/officeDocument/2006/relationships/notesSlide" Target="../notesSlides/notesSlide266.xml"/><Relationship Id="rId7" Type="http://schemas.openxmlformats.org/officeDocument/2006/relationships/image" Target="../media/image397.png"/><Relationship Id="rId2" Type="http://schemas.openxmlformats.org/officeDocument/2006/relationships/slideLayout" Target="../slideLayouts/slideLayout172.xml"/><Relationship Id="rId1" Type="http://schemas.openxmlformats.org/officeDocument/2006/relationships/tags" Target="../tags/tag128.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187.svg"/><Relationship Id="rId4" Type="http://schemas.openxmlformats.org/officeDocument/2006/relationships/image" Target="../media/image456.png"/><Relationship Id="rId9" Type="http://schemas.openxmlformats.org/officeDocument/2006/relationships/image" Target="../media/image186.png"/></Relationships>
</file>

<file path=ppt/slides/_rels/slide282.xml.rels><?xml version="1.0" encoding="UTF-8" standalone="yes"?>
<Relationships xmlns="http://schemas.openxmlformats.org/package/2006/relationships"><Relationship Id="rId8" Type="http://schemas.openxmlformats.org/officeDocument/2006/relationships/image" Target="../media/image457.png"/><Relationship Id="rId13" Type="http://schemas.openxmlformats.org/officeDocument/2006/relationships/customXml" Target="../ink/ink2.xml"/><Relationship Id="rId3" Type="http://schemas.openxmlformats.org/officeDocument/2006/relationships/notesSlide" Target="../notesSlides/notesSlide267.xml"/><Relationship Id="rId7" Type="http://schemas.openxmlformats.org/officeDocument/2006/relationships/image" Target="../media/image158.svg"/><Relationship Id="rId12" Type="http://schemas.openxmlformats.org/officeDocument/2006/relationships/image" Target="../media/image461.png"/><Relationship Id="rId2" Type="http://schemas.openxmlformats.org/officeDocument/2006/relationships/slideLayout" Target="../slideLayouts/slideLayout172.xml"/><Relationship Id="rId1" Type="http://schemas.openxmlformats.org/officeDocument/2006/relationships/tags" Target="../tags/tag129.xml"/><Relationship Id="rId6" Type="http://schemas.openxmlformats.org/officeDocument/2006/relationships/image" Target="../media/image122.png"/><Relationship Id="rId11" Type="http://schemas.openxmlformats.org/officeDocument/2006/relationships/customXml" Target="../ink/ink1.xml"/><Relationship Id="rId5" Type="http://schemas.openxmlformats.org/officeDocument/2006/relationships/image" Target="../media/image300.svg"/><Relationship Id="rId10" Type="http://schemas.openxmlformats.org/officeDocument/2006/relationships/image" Target="../media/image459.png"/><Relationship Id="rId4" Type="http://schemas.openxmlformats.org/officeDocument/2006/relationships/image" Target="../media/image299.png"/><Relationship Id="rId9" Type="http://schemas.openxmlformats.org/officeDocument/2006/relationships/image" Target="../media/image458.svg"/><Relationship Id="rId14" Type="http://schemas.openxmlformats.org/officeDocument/2006/relationships/image" Target="../media/image462.png"/></Relationships>
</file>

<file path=ppt/slides/_rels/slide283.xml.rels><?xml version="1.0" encoding="UTF-8" standalone="yes"?>
<Relationships xmlns="http://schemas.openxmlformats.org/package/2006/relationships"><Relationship Id="rId8" Type="http://schemas.openxmlformats.org/officeDocument/2006/relationships/image" Target="../media/image465.png"/><Relationship Id="rId13" Type="http://schemas.openxmlformats.org/officeDocument/2006/relationships/image" Target="../media/image470.png"/><Relationship Id="rId18" Type="http://schemas.openxmlformats.org/officeDocument/2006/relationships/image" Target="../media/image471.png"/><Relationship Id="rId3" Type="http://schemas.openxmlformats.org/officeDocument/2006/relationships/notesSlide" Target="../notesSlides/notesSlide268.xml"/><Relationship Id="rId7" Type="http://schemas.openxmlformats.org/officeDocument/2006/relationships/image" Target="../media/image464.svg"/><Relationship Id="rId12" Type="http://schemas.openxmlformats.org/officeDocument/2006/relationships/customXml" Target="../ink/ink3.xml"/><Relationship Id="rId17" Type="http://schemas.openxmlformats.org/officeDocument/2006/relationships/customXml" Target="../ink/ink6.xml"/><Relationship Id="rId2" Type="http://schemas.openxmlformats.org/officeDocument/2006/relationships/slideLayout" Target="../slideLayouts/slideLayout172.xml"/><Relationship Id="rId16" Type="http://schemas.openxmlformats.org/officeDocument/2006/relationships/image" Target="../media/image459.png"/><Relationship Id="rId1" Type="http://schemas.openxmlformats.org/officeDocument/2006/relationships/tags" Target="../tags/tag130.xml"/><Relationship Id="rId6" Type="http://schemas.openxmlformats.org/officeDocument/2006/relationships/image" Target="../media/image463.png"/><Relationship Id="rId11" Type="http://schemas.openxmlformats.org/officeDocument/2006/relationships/image" Target="../media/image467.svg"/><Relationship Id="rId5" Type="http://schemas.openxmlformats.org/officeDocument/2006/relationships/image" Target="../media/image461.svg"/><Relationship Id="rId15" Type="http://schemas.openxmlformats.org/officeDocument/2006/relationships/customXml" Target="../ink/ink5.xml"/><Relationship Id="rId10" Type="http://schemas.openxmlformats.org/officeDocument/2006/relationships/image" Target="../media/image428.png"/><Relationship Id="rId4" Type="http://schemas.openxmlformats.org/officeDocument/2006/relationships/image" Target="../media/image460.png"/><Relationship Id="rId9" Type="http://schemas.openxmlformats.org/officeDocument/2006/relationships/image" Target="../media/image466.svg"/><Relationship Id="rId14" Type="http://schemas.openxmlformats.org/officeDocument/2006/relationships/customXml" Target="../ink/ink4.xml"/></Relationships>
</file>

<file path=ppt/slides/_rels/slide284.xml.rels><?xml version="1.0" encoding="UTF-8" standalone="yes"?>
<Relationships xmlns="http://schemas.openxmlformats.org/package/2006/relationships"><Relationship Id="rId3" Type="http://schemas.openxmlformats.org/officeDocument/2006/relationships/hyperlink" Target="https://docs.microsoft.com/en-us/power-bi/service-create-workspaces" TargetMode="External"/><Relationship Id="rId2" Type="http://schemas.openxmlformats.org/officeDocument/2006/relationships/notesSlide" Target="../notesSlides/notesSlide269.xml"/><Relationship Id="rId1" Type="http://schemas.openxmlformats.org/officeDocument/2006/relationships/slideLayout" Target="../slideLayouts/slideLayout175.xml"/><Relationship Id="rId6" Type="http://schemas.openxmlformats.org/officeDocument/2006/relationships/hyperlink" Target="https://docs.microsoft.com/en-us/power-bi/service-create-distribute-apps" TargetMode="External"/><Relationship Id="rId5" Type="http://schemas.openxmlformats.org/officeDocument/2006/relationships/hyperlink" Target="https://docs.microsoft.com/en-us/power-bi/service-share-dashboards" TargetMode="External"/><Relationship Id="rId4" Type="http://schemas.openxmlformats.org/officeDocument/2006/relationships/hyperlink" Target="https://docs.microsoft.com/en-us/power-bi/service-create-the-new-workspaces" TargetMode="Externa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270.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290.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9.xml"/></Relationships>
</file>

<file path=ppt/slides/_rels/slide291.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9.xml"/></Relationships>
</file>

<file path=ppt/slides/_rels/slide292.xml.rels><?xml version="1.0" encoding="UTF-8" standalone="yes"?>
<Relationships xmlns="http://schemas.openxmlformats.org/package/2006/relationships"><Relationship Id="rId8" Type="http://schemas.openxmlformats.org/officeDocument/2006/relationships/image" Target="../media/image475.svg"/><Relationship Id="rId13" Type="http://schemas.openxmlformats.org/officeDocument/2006/relationships/image" Target="../media/image480.png"/><Relationship Id="rId18" Type="http://schemas.openxmlformats.org/officeDocument/2006/relationships/image" Target="../media/image485.svg"/><Relationship Id="rId3" Type="http://schemas.openxmlformats.org/officeDocument/2006/relationships/image" Target="../media/image468.png"/><Relationship Id="rId7" Type="http://schemas.openxmlformats.org/officeDocument/2006/relationships/image" Target="../media/image474.png"/><Relationship Id="rId12" Type="http://schemas.openxmlformats.org/officeDocument/2006/relationships/image" Target="../media/image479.svg"/><Relationship Id="rId17" Type="http://schemas.openxmlformats.org/officeDocument/2006/relationships/image" Target="../media/image484.png"/><Relationship Id="rId2" Type="http://schemas.openxmlformats.org/officeDocument/2006/relationships/notesSlide" Target="../notesSlides/notesSlide273.xml"/><Relationship Id="rId16" Type="http://schemas.openxmlformats.org/officeDocument/2006/relationships/image" Target="../media/image483.svg"/><Relationship Id="rId20" Type="http://schemas.openxmlformats.org/officeDocument/2006/relationships/image" Target="../media/image487.svg"/><Relationship Id="rId1" Type="http://schemas.openxmlformats.org/officeDocument/2006/relationships/slideLayout" Target="../slideLayouts/slideLayout9.xml"/><Relationship Id="rId6" Type="http://schemas.openxmlformats.org/officeDocument/2006/relationships/image" Target="../media/image473.svg"/><Relationship Id="rId11" Type="http://schemas.openxmlformats.org/officeDocument/2006/relationships/image" Target="../media/image478.png"/><Relationship Id="rId5" Type="http://schemas.openxmlformats.org/officeDocument/2006/relationships/image" Target="../media/image472.png"/><Relationship Id="rId15" Type="http://schemas.openxmlformats.org/officeDocument/2006/relationships/image" Target="../media/image482.png"/><Relationship Id="rId10" Type="http://schemas.openxmlformats.org/officeDocument/2006/relationships/image" Target="../media/image477.svg"/><Relationship Id="rId19" Type="http://schemas.openxmlformats.org/officeDocument/2006/relationships/image" Target="../media/image486.png"/><Relationship Id="rId4" Type="http://schemas.openxmlformats.org/officeDocument/2006/relationships/image" Target="../media/image469.svg"/><Relationship Id="rId9" Type="http://schemas.openxmlformats.org/officeDocument/2006/relationships/image" Target="../media/image476.png"/><Relationship Id="rId14" Type="http://schemas.openxmlformats.org/officeDocument/2006/relationships/image" Target="../media/image481.svg"/></Relationships>
</file>

<file path=ppt/slides/_rels/slide2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1.xml"/><Relationship Id="rId1" Type="http://schemas.openxmlformats.org/officeDocument/2006/relationships/themeOverride" Target="../theme/themeOverride13.xml"/><Relationship Id="rId4" Type="http://schemas.openxmlformats.org/officeDocument/2006/relationships/notesSlide" Target="../notesSlides/notesSlide274.xml"/></Relationships>
</file>

<file path=ppt/slides/_rels/slide294.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3.xml"/><Relationship Id="rId1" Type="http://schemas.openxmlformats.org/officeDocument/2006/relationships/tags" Target="../tags/tag132.xml"/></Relationships>
</file>

<file path=ppt/slides/_rels/slide295.xml.rels><?xml version="1.0" encoding="UTF-8" standalone="yes"?>
<Relationships xmlns="http://schemas.openxmlformats.org/package/2006/relationships"><Relationship Id="rId3" Type="http://schemas.openxmlformats.org/officeDocument/2006/relationships/image" Target="../media/image488.png"/><Relationship Id="rId7" Type="http://schemas.openxmlformats.org/officeDocument/2006/relationships/image" Target="../media/image492.emf"/><Relationship Id="rId2" Type="http://schemas.openxmlformats.org/officeDocument/2006/relationships/notesSlide" Target="../notesSlides/notesSlide276.xml"/><Relationship Id="rId1" Type="http://schemas.openxmlformats.org/officeDocument/2006/relationships/slideLayout" Target="../slideLayouts/slideLayout9.xml"/><Relationship Id="rId6" Type="http://schemas.openxmlformats.org/officeDocument/2006/relationships/image" Target="../media/image491.svg"/><Relationship Id="rId5" Type="http://schemas.openxmlformats.org/officeDocument/2006/relationships/image" Target="../media/image490.png"/><Relationship Id="rId4" Type="http://schemas.openxmlformats.org/officeDocument/2006/relationships/image" Target="../media/image489.svg"/></Relationships>
</file>

<file path=ppt/slides/_rels/slide296.xml.rels><?xml version="1.0" encoding="UTF-8" standalone="yes"?>
<Relationships xmlns="http://schemas.openxmlformats.org/package/2006/relationships"><Relationship Id="rId8" Type="http://schemas.openxmlformats.org/officeDocument/2006/relationships/image" Target="../media/image496.svg"/><Relationship Id="rId13" Type="http://schemas.openxmlformats.org/officeDocument/2006/relationships/image" Target="../media/image492.emf"/><Relationship Id="rId3" Type="http://schemas.openxmlformats.org/officeDocument/2006/relationships/image" Target="../media/image493.png"/><Relationship Id="rId7" Type="http://schemas.openxmlformats.org/officeDocument/2006/relationships/image" Target="../media/image495.png"/><Relationship Id="rId12" Type="http://schemas.openxmlformats.org/officeDocument/2006/relationships/image" Target="../media/image491.svg"/><Relationship Id="rId2" Type="http://schemas.openxmlformats.org/officeDocument/2006/relationships/notesSlide" Target="../notesSlides/notesSlide277.xml"/><Relationship Id="rId1" Type="http://schemas.openxmlformats.org/officeDocument/2006/relationships/slideLayout" Target="../slideLayouts/slideLayout9.xml"/><Relationship Id="rId6" Type="http://schemas.openxmlformats.org/officeDocument/2006/relationships/image" Target="../media/image489.svg"/><Relationship Id="rId11" Type="http://schemas.openxmlformats.org/officeDocument/2006/relationships/image" Target="../media/image490.png"/><Relationship Id="rId5" Type="http://schemas.openxmlformats.org/officeDocument/2006/relationships/image" Target="../media/image488.png"/><Relationship Id="rId10" Type="http://schemas.openxmlformats.org/officeDocument/2006/relationships/image" Target="../media/image498.svg"/><Relationship Id="rId4" Type="http://schemas.openxmlformats.org/officeDocument/2006/relationships/image" Target="../media/image494.svg"/><Relationship Id="rId9" Type="http://schemas.openxmlformats.org/officeDocument/2006/relationships/image" Target="../media/image497.png"/></Relationships>
</file>

<file path=ppt/slides/_rels/slide297.xml.rels><?xml version="1.0" encoding="UTF-8" standalone="yes"?>
<Relationships xmlns="http://schemas.openxmlformats.org/package/2006/relationships"><Relationship Id="rId8" Type="http://schemas.openxmlformats.org/officeDocument/2006/relationships/image" Target="../media/image495.png"/><Relationship Id="rId3" Type="http://schemas.openxmlformats.org/officeDocument/2006/relationships/image" Target="../media/image492.emf"/><Relationship Id="rId7" Type="http://schemas.openxmlformats.org/officeDocument/2006/relationships/image" Target="../media/image489.svg"/><Relationship Id="rId12" Type="http://schemas.openxmlformats.org/officeDocument/2006/relationships/image" Target="../media/image499.png"/><Relationship Id="rId2" Type="http://schemas.openxmlformats.org/officeDocument/2006/relationships/notesSlide" Target="../notesSlides/notesSlide278.xml"/><Relationship Id="rId1" Type="http://schemas.openxmlformats.org/officeDocument/2006/relationships/slideLayout" Target="../slideLayouts/slideLayout9.xml"/><Relationship Id="rId6" Type="http://schemas.openxmlformats.org/officeDocument/2006/relationships/image" Target="../media/image488.png"/><Relationship Id="rId11" Type="http://schemas.openxmlformats.org/officeDocument/2006/relationships/image" Target="../media/image498.svg"/><Relationship Id="rId5" Type="http://schemas.openxmlformats.org/officeDocument/2006/relationships/image" Target="../media/image494.svg"/><Relationship Id="rId10" Type="http://schemas.openxmlformats.org/officeDocument/2006/relationships/image" Target="../media/image497.png"/><Relationship Id="rId4" Type="http://schemas.openxmlformats.org/officeDocument/2006/relationships/image" Target="../media/image493.png"/><Relationship Id="rId9" Type="http://schemas.openxmlformats.org/officeDocument/2006/relationships/image" Target="../media/image496.svg"/></Relationships>
</file>

<file path=ppt/slides/_rels/slide298.xml.rels><?xml version="1.0" encoding="UTF-8" standalone="yes"?>
<Relationships xmlns="http://schemas.openxmlformats.org/package/2006/relationships"><Relationship Id="rId8" Type="http://schemas.openxmlformats.org/officeDocument/2006/relationships/image" Target="../media/image495.png"/><Relationship Id="rId3" Type="http://schemas.openxmlformats.org/officeDocument/2006/relationships/image" Target="../media/image492.emf"/><Relationship Id="rId7" Type="http://schemas.openxmlformats.org/officeDocument/2006/relationships/image" Target="../media/image489.svg"/><Relationship Id="rId12" Type="http://schemas.openxmlformats.org/officeDocument/2006/relationships/image" Target="../media/image499.png"/><Relationship Id="rId2" Type="http://schemas.openxmlformats.org/officeDocument/2006/relationships/notesSlide" Target="../notesSlides/notesSlide279.xml"/><Relationship Id="rId1" Type="http://schemas.openxmlformats.org/officeDocument/2006/relationships/slideLayout" Target="../slideLayouts/slideLayout9.xml"/><Relationship Id="rId6" Type="http://schemas.openxmlformats.org/officeDocument/2006/relationships/image" Target="../media/image488.png"/><Relationship Id="rId11" Type="http://schemas.openxmlformats.org/officeDocument/2006/relationships/image" Target="../media/image498.svg"/><Relationship Id="rId5" Type="http://schemas.openxmlformats.org/officeDocument/2006/relationships/image" Target="../media/image494.svg"/><Relationship Id="rId10" Type="http://schemas.openxmlformats.org/officeDocument/2006/relationships/image" Target="../media/image497.png"/><Relationship Id="rId4" Type="http://schemas.openxmlformats.org/officeDocument/2006/relationships/image" Target="../media/image493.png"/><Relationship Id="rId9" Type="http://schemas.openxmlformats.org/officeDocument/2006/relationships/image" Target="../media/image496.svg"/></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3.xml"/><Relationship Id="rId1" Type="http://schemas.openxmlformats.org/officeDocument/2006/relationships/tags" Target="../tags/tag133.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3.xml"/><Relationship Id="rId1" Type="http://schemas.openxmlformats.org/officeDocument/2006/relationships/tags" Target="../tags/tag134.xml"/></Relationships>
</file>

<file path=ppt/slides/_rels/slide301.xml.rels><?xml version="1.0" encoding="UTF-8" standalone="yes"?>
<Relationships xmlns="http://schemas.openxmlformats.org/package/2006/relationships"><Relationship Id="rId2" Type="http://schemas.openxmlformats.org/officeDocument/2006/relationships/notesSlide" Target="../notesSlides/notesSlide282.xml"/><Relationship Id="rId1" Type="http://schemas.openxmlformats.org/officeDocument/2006/relationships/slideLayout" Target="../slideLayouts/slideLayout10.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03.xml.rels><?xml version="1.0" encoding="UTF-8" standalone="yes"?>
<Relationships xmlns="http://schemas.openxmlformats.org/package/2006/relationships"><Relationship Id="rId2" Type="http://schemas.openxmlformats.org/officeDocument/2006/relationships/notesSlide" Target="../notesSlides/notesSlide283.xml"/><Relationship Id="rId1" Type="http://schemas.openxmlformats.org/officeDocument/2006/relationships/slideLayout" Target="../slideLayouts/slideLayout177.xml"/></Relationships>
</file>

<file path=ppt/slides/_rels/slide304.xml.rels><?xml version="1.0" encoding="UTF-8" standalone="yes"?>
<Relationships xmlns="http://schemas.openxmlformats.org/package/2006/relationships"><Relationship Id="rId8" Type="http://schemas.microsoft.com/office/2007/relationships/diagramDrawing" Target="../diagrams/drawing30.xml"/><Relationship Id="rId3" Type="http://schemas.openxmlformats.org/officeDocument/2006/relationships/notesSlide" Target="../notesSlides/notesSlide284.xml"/><Relationship Id="rId7" Type="http://schemas.openxmlformats.org/officeDocument/2006/relationships/diagramColors" Target="../diagrams/colors30.xml"/><Relationship Id="rId2" Type="http://schemas.openxmlformats.org/officeDocument/2006/relationships/slideLayout" Target="../slideLayouts/slideLayout197.xml"/><Relationship Id="rId1" Type="http://schemas.openxmlformats.org/officeDocument/2006/relationships/tags" Target="../tags/tag135.xml"/><Relationship Id="rId6" Type="http://schemas.openxmlformats.org/officeDocument/2006/relationships/diagramQuickStyle" Target="../diagrams/quickStyle30.xml"/><Relationship Id="rId5" Type="http://schemas.openxmlformats.org/officeDocument/2006/relationships/diagramLayout" Target="../diagrams/layout30.xml"/><Relationship Id="rId4" Type="http://schemas.openxmlformats.org/officeDocument/2006/relationships/diagramData" Target="../diagrams/data30.xml"/></Relationships>
</file>

<file path=ppt/slides/_rels/slide305.xml.rels><?xml version="1.0" encoding="UTF-8" standalone="yes"?>
<Relationships xmlns="http://schemas.openxmlformats.org/package/2006/relationships"><Relationship Id="rId8" Type="http://schemas.openxmlformats.org/officeDocument/2006/relationships/image" Target="../media/image502.svg"/><Relationship Id="rId13" Type="http://schemas.openxmlformats.org/officeDocument/2006/relationships/image" Target="../media/image506.png"/><Relationship Id="rId3" Type="http://schemas.openxmlformats.org/officeDocument/2006/relationships/image" Target="../media/image500.png"/><Relationship Id="rId7" Type="http://schemas.openxmlformats.org/officeDocument/2006/relationships/image" Target="../media/image116.png"/><Relationship Id="rId12" Type="http://schemas.openxmlformats.org/officeDocument/2006/relationships/image" Target="../media/image505.svg"/><Relationship Id="rId2" Type="http://schemas.openxmlformats.org/officeDocument/2006/relationships/notesSlide" Target="../notesSlides/notesSlide285.xml"/><Relationship Id="rId16" Type="http://schemas.openxmlformats.org/officeDocument/2006/relationships/image" Target="../media/image509.svg"/><Relationship Id="rId1" Type="http://schemas.openxmlformats.org/officeDocument/2006/relationships/slideLayout" Target="../slideLayouts/slideLayout197.xml"/><Relationship Id="rId6" Type="http://schemas.openxmlformats.org/officeDocument/2006/relationships/image" Target="../media/image390.svg"/><Relationship Id="rId11" Type="http://schemas.openxmlformats.org/officeDocument/2006/relationships/image" Target="../media/image504.png"/><Relationship Id="rId5" Type="http://schemas.openxmlformats.org/officeDocument/2006/relationships/image" Target="../media/image389.png"/><Relationship Id="rId15" Type="http://schemas.openxmlformats.org/officeDocument/2006/relationships/image" Target="../media/image508.png"/><Relationship Id="rId10" Type="http://schemas.openxmlformats.org/officeDocument/2006/relationships/image" Target="../media/image503.svg"/><Relationship Id="rId4" Type="http://schemas.openxmlformats.org/officeDocument/2006/relationships/image" Target="../media/image501.svg"/><Relationship Id="rId9" Type="http://schemas.openxmlformats.org/officeDocument/2006/relationships/image" Target="../media/image163.png"/><Relationship Id="rId14" Type="http://schemas.openxmlformats.org/officeDocument/2006/relationships/image" Target="../media/image507.svg"/></Relationships>
</file>

<file path=ppt/slides/_rels/slide306.xml.rels><?xml version="1.0" encoding="UTF-8" standalone="yes"?>
<Relationships xmlns="http://schemas.openxmlformats.org/package/2006/relationships"><Relationship Id="rId8" Type="http://schemas.microsoft.com/office/2007/relationships/diagramDrawing" Target="../diagrams/drawing31.xml"/><Relationship Id="rId3" Type="http://schemas.openxmlformats.org/officeDocument/2006/relationships/notesSlide" Target="../notesSlides/notesSlide286.xml"/><Relationship Id="rId7" Type="http://schemas.openxmlformats.org/officeDocument/2006/relationships/diagramColors" Target="../diagrams/colors31.xml"/><Relationship Id="rId2" Type="http://schemas.openxmlformats.org/officeDocument/2006/relationships/slideLayout" Target="../slideLayouts/slideLayout9.xml"/><Relationship Id="rId1" Type="http://schemas.openxmlformats.org/officeDocument/2006/relationships/tags" Target="../tags/tag136.xml"/><Relationship Id="rId6" Type="http://schemas.openxmlformats.org/officeDocument/2006/relationships/diagramQuickStyle" Target="../diagrams/quickStyle31.xml"/><Relationship Id="rId5" Type="http://schemas.openxmlformats.org/officeDocument/2006/relationships/diagramLayout" Target="../diagrams/layout31.xml"/><Relationship Id="rId4" Type="http://schemas.openxmlformats.org/officeDocument/2006/relationships/diagramData" Target="../diagrams/data31.xml"/></Relationships>
</file>

<file path=ppt/slides/_rels/slide307.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287.xml"/><Relationship Id="rId1" Type="http://schemas.openxmlformats.org/officeDocument/2006/relationships/slideLayout" Target="../slideLayouts/slideLayout9.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9.xml"/><Relationship Id="rId1" Type="http://schemas.openxmlformats.org/officeDocument/2006/relationships/tags" Target="../tags/tag137.xml"/></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9.xml"/><Relationship Id="rId1" Type="http://schemas.openxmlformats.org/officeDocument/2006/relationships/tags" Target="../tags/tag1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200.xml"/><Relationship Id="rId1" Type="http://schemas.openxmlformats.org/officeDocument/2006/relationships/tags" Target="../tags/tag139.xml"/></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198.xml"/><Relationship Id="rId1" Type="http://schemas.openxmlformats.org/officeDocument/2006/relationships/tags" Target="../tags/tag140.xml"/></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198.xml"/><Relationship Id="rId1" Type="http://schemas.openxmlformats.org/officeDocument/2006/relationships/tags" Target="../tags/tag141.xml"/></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198.xml"/><Relationship Id="rId1" Type="http://schemas.openxmlformats.org/officeDocument/2006/relationships/tags" Target="../tags/tag142.xml"/></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198.xml"/><Relationship Id="rId1" Type="http://schemas.openxmlformats.org/officeDocument/2006/relationships/tags" Target="../tags/tag143.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316.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295.xml"/><Relationship Id="rId1" Type="http://schemas.openxmlformats.org/officeDocument/2006/relationships/slideLayout" Target="../slideLayouts/slideLayout195.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195.xml"/><Relationship Id="rId1" Type="http://schemas.openxmlformats.org/officeDocument/2006/relationships/tags" Target="../tags/tag144.xml"/></Relationships>
</file>

<file path=ppt/slides/_rels/slide318.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195.xml"/><Relationship Id="rId1" Type="http://schemas.openxmlformats.org/officeDocument/2006/relationships/tags" Target="../tags/tag145.xml"/></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195.xml"/><Relationship Id="rId1" Type="http://schemas.openxmlformats.org/officeDocument/2006/relationships/tags" Target="../tags/tag1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0.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195.xml"/><Relationship Id="rId1" Type="http://schemas.openxmlformats.org/officeDocument/2006/relationships/tags" Target="../tags/tag147.xml"/></Relationships>
</file>

<file path=ppt/slides/_rels/slide321.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195.xml"/><Relationship Id="rId1" Type="http://schemas.openxmlformats.org/officeDocument/2006/relationships/tags" Target="../tags/tag148.xml"/></Relationships>
</file>

<file path=ppt/slides/_rels/slide322.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195.xml"/><Relationship Id="rId1" Type="http://schemas.openxmlformats.org/officeDocument/2006/relationships/tags" Target="../tags/tag149.xml"/></Relationships>
</file>

<file path=ppt/slides/_rels/slide323.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195.xml"/><Relationship Id="rId1" Type="http://schemas.openxmlformats.org/officeDocument/2006/relationships/tags" Target="../tags/tag150.xml"/></Relationships>
</file>

<file path=ppt/slides/_rels/slide324.xml.rels><?xml version="1.0" encoding="UTF-8" standalone="yes"?>
<Relationships xmlns="http://schemas.openxmlformats.org/package/2006/relationships"><Relationship Id="rId2" Type="http://schemas.openxmlformats.org/officeDocument/2006/relationships/notesSlide" Target="../notesSlides/notesSlide303.xml"/><Relationship Id="rId1" Type="http://schemas.openxmlformats.org/officeDocument/2006/relationships/slideLayout" Target="../slideLayouts/slideLayout194.xml"/></Relationships>
</file>

<file path=ppt/slides/_rels/slide325.xml.rels><?xml version="1.0" encoding="UTF-8" standalone="yes"?>
<Relationships xmlns="http://schemas.openxmlformats.org/package/2006/relationships"><Relationship Id="rId8" Type="http://schemas.openxmlformats.org/officeDocument/2006/relationships/image" Target="../media/image514.emf"/><Relationship Id="rId3" Type="http://schemas.openxmlformats.org/officeDocument/2006/relationships/notesSlide" Target="../notesSlides/notesSlide304.xml"/><Relationship Id="rId7" Type="http://schemas.openxmlformats.org/officeDocument/2006/relationships/image" Target="../media/image513.emf"/><Relationship Id="rId2" Type="http://schemas.openxmlformats.org/officeDocument/2006/relationships/slideLayout" Target="../slideLayouts/slideLayout139.xml"/><Relationship Id="rId1" Type="http://schemas.openxmlformats.org/officeDocument/2006/relationships/tags" Target="../tags/tag151.xml"/><Relationship Id="rId6" Type="http://schemas.openxmlformats.org/officeDocument/2006/relationships/image" Target="../media/image512.emf"/><Relationship Id="rId11" Type="http://schemas.openxmlformats.org/officeDocument/2006/relationships/image" Target="../media/image517.png"/><Relationship Id="rId5" Type="http://schemas.openxmlformats.org/officeDocument/2006/relationships/image" Target="../media/image511.emf"/><Relationship Id="rId10" Type="http://schemas.openxmlformats.org/officeDocument/2006/relationships/image" Target="../media/image516.png"/><Relationship Id="rId4" Type="http://schemas.openxmlformats.org/officeDocument/2006/relationships/image" Target="../media/image510.emf"/><Relationship Id="rId9" Type="http://schemas.openxmlformats.org/officeDocument/2006/relationships/image" Target="../media/image515.emf"/></Relationships>
</file>

<file path=ppt/slides/_rels/slide3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5.xml"/><Relationship Id="rId1" Type="http://schemas.openxmlformats.org/officeDocument/2006/relationships/slideLayout" Target="../slideLayouts/slideLayout137.xml"/></Relationships>
</file>

<file path=ppt/slides/_rels/slide327.xml.rels><?xml version="1.0" encoding="UTF-8" standalone="yes"?>
<Relationships xmlns="http://schemas.openxmlformats.org/package/2006/relationships"><Relationship Id="rId2" Type="http://schemas.openxmlformats.org/officeDocument/2006/relationships/notesSlide" Target="../notesSlides/notesSlide306.xml"/><Relationship Id="rId1" Type="http://schemas.openxmlformats.org/officeDocument/2006/relationships/slideLayout" Target="../slideLayouts/slideLayout151.xml"/></Relationships>
</file>

<file path=ppt/slides/_rels/slide328.xml.rels><?xml version="1.0" encoding="UTF-8" standalone="yes"?>
<Relationships xmlns="http://schemas.openxmlformats.org/package/2006/relationships"><Relationship Id="rId2" Type="http://schemas.openxmlformats.org/officeDocument/2006/relationships/notesSlide" Target="../notesSlides/notesSlide307.xml"/><Relationship Id="rId1" Type="http://schemas.openxmlformats.org/officeDocument/2006/relationships/slideLayout" Target="../slideLayouts/slideLayout139.xml"/></Relationships>
</file>

<file path=ppt/slides/_rels/slide329.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139.xml"/><Relationship Id="rId1" Type="http://schemas.openxmlformats.org/officeDocument/2006/relationships/tags" Target="../tags/tag152.xml"/><Relationship Id="rId5" Type="http://schemas.openxmlformats.org/officeDocument/2006/relationships/image" Target="../media/image72.png"/><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notesSlide" Target="../notesSlides/notesSlide32.xml"/><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slideLayout" Target="../slideLayouts/slideLayout13.xml"/><Relationship Id="rId1" Type="http://schemas.openxmlformats.org/officeDocument/2006/relationships/tags" Target="../tags/tag2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94.svg"/><Relationship Id="rId3" Type="http://schemas.openxmlformats.org/officeDocument/2006/relationships/notesSlide" Target="../notesSlides/notesSlide33.xml"/><Relationship Id="rId7" Type="http://schemas.openxmlformats.org/officeDocument/2006/relationships/image" Target="../media/image90.svg"/><Relationship Id="rId12" Type="http://schemas.openxmlformats.org/officeDocument/2006/relationships/image" Target="../media/image93.png"/><Relationship Id="rId2" Type="http://schemas.openxmlformats.org/officeDocument/2006/relationships/slideLayout" Target="../slideLayouts/slideLayout13.xml"/><Relationship Id="rId1" Type="http://schemas.openxmlformats.org/officeDocument/2006/relationships/tags" Target="../tags/tag22.xml"/><Relationship Id="rId6" Type="http://schemas.openxmlformats.org/officeDocument/2006/relationships/image" Target="../media/image89.png"/><Relationship Id="rId11" Type="http://schemas.openxmlformats.org/officeDocument/2006/relationships/image" Target="../media/image92.svg"/><Relationship Id="rId5" Type="http://schemas.openxmlformats.org/officeDocument/2006/relationships/image" Target="../media/image52.svg"/><Relationship Id="rId10" Type="http://schemas.openxmlformats.org/officeDocument/2006/relationships/image" Target="../media/image91.png"/><Relationship Id="rId4" Type="http://schemas.openxmlformats.org/officeDocument/2006/relationships/image" Target="../media/image51.png"/><Relationship Id="rId9" Type="http://schemas.openxmlformats.org/officeDocument/2006/relationships/image" Target="../media/image62.svg"/></Relationships>
</file>

<file path=ppt/slides/_rels/slide35.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0.svg"/><Relationship Id="rId3" Type="http://schemas.openxmlformats.org/officeDocument/2006/relationships/notesSlide" Target="../notesSlides/notesSlide34.xml"/><Relationship Id="rId7" Type="http://schemas.openxmlformats.org/officeDocument/2006/relationships/image" Target="../media/image96.svg"/><Relationship Id="rId12" Type="http://schemas.openxmlformats.org/officeDocument/2006/relationships/image" Target="../media/image99.png"/><Relationship Id="rId2" Type="http://schemas.openxmlformats.org/officeDocument/2006/relationships/slideLayout" Target="../slideLayouts/slideLayout13.xml"/><Relationship Id="rId1" Type="http://schemas.openxmlformats.org/officeDocument/2006/relationships/tags" Target="../tags/tag23.xml"/><Relationship Id="rId6" Type="http://schemas.openxmlformats.org/officeDocument/2006/relationships/image" Target="../media/image95.png"/><Relationship Id="rId11" Type="http://schemas.openxmlformats.org/officeDocument/2006/relationships/image" Target="../media/image62.svg"/><Relationship Id="rId5" Type="http://schemas.openxmlformats.org/officeDocument/2006/relationships/image" Target="../media/image54.svg"/><Relationship Id="rId10" Type="http://schemas.openxmlformats.org/officeDocument/2006/relationships/image" Target="../media/image61.png"/><Relationship Id="rId4" Type="http://schemas.openxmlformats.org/officeDocument/2006/relationships/image" Target="../media/image53.png"/><Relationship Id="rId9" Type="http://schemas.openxmlformats.org/officeDocument/2006/relationships/image" Target="../media/image98.svg"/></Relationships>
</file>

<file path=ppt/slides/_rels/slide3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35.xml"/><Relationship Id="rId7" Type="http://schemas.openxmlformats.org/officeDocument/2006/relationships/image" Target="../media/image104.svg"/><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s>
</file>

<file path=ppt/slides/_rels/slide3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36.xml"/><Relationship Id="rId7" Type="http://schemas.openxmlformats.org/officeDocument/2006/relationships/image" Target="../media/image110.sv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9.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s>
</file>

<file path=ppt/slides/_rels/slide38.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notesSlide" Target="../notesSlides/notesSlide37.xml"/><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slideLayout" Target="../slideLayouts/slideLayout13.xml"/><Relationship Id="rId1" Type="http://schemas.openxmlformats.org/officeDocument/2006/relationships/tags" Target="../tags/tag26.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4.xml"/><Relationship Id="rId7" Type="http://schemas.openxmlformats.org/officeDocument/2006/relationships/diagramColors" Target="../diagrams/colors3.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slideLayout" Target="../slideLayouts/slideLayout13.xml"/><Relationship Id="rId7" Type="http://schemas.openxmlformats.org/officeDocument/2006/relationships/diagramQuickStyle" Target="../diagrams/quickStyle14.xml"/><Relationship Id="rId2" Type="http://schemas.openxmlformats.org/officeDocument/2006/relationships/tags" Target="../tags/tag27.xml"/><Relationship Id="rId1" Type="http://schemas.openxmlformats.org/officeDocument/2006/relationships/themeOverride" Target="../theme/themeOverride1.x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notesSlide" Target="../notesSlides/notesSlide39.xml"/><Relationship Id="rId9" Type="http://schemas.microsoft.com/office/2007/relationships/diagramDrawing" Target="../diagrams/drawing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41.xml"/><Relationship Id="rId7" Type="http://schemas.openxmlformats.org/officeDocument/2006/relationships/diagramColors" Target="../diagrams/colors15.xml"/><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43.xml"/><Relationship Id="rId1" Type="http://schemas.openxmlformats.org/officeDocument/2006/relationships/slideLayout" Target="../slideLayouts/slideLayout1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8.xml"/></Relationships>
</file>

<file path=ppt/slides/_rels/slide5.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5.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slideLayout" Target="../slideLayouts/slideLayout9.xml"/><Relationship Id="rId16" Type="http://schemas.openxmlformats.org/officeDocument/2006/relationships/image" Target="../media/image47.png"/><Relationship Id="rId1" Type="http://schemas.openxmlformats.org/officeDocument/2006/relationships/tags" Target="../tags/tag13.xml"/><Relationship Id="rId6" Type="http://schemas.openxmlformats.org/officeDocument/2006/relationships/image" Target="../media/image37.svg"/><Relationship Id="rId11" Type="http://schemas.openxmlformats.org/officeDocument/2006/relationships/image" Target="../media/image42.svg"/><Relationship Id="rId5" Type="http://schemas.openxmlformats.org/officeDocument/2006/relationships/image" Target="../media/image36.pn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6.xml"/></Relationships>
</file>

<file path=ppt/slides/_rels/slide51.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7.xml"/><Relationship Id="rId1" Type="http://schemas.openxmlformats.org/officeDocument/2006/relationships/slideLayout" Target="../slideLayouts/slideLayout14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53.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18" Type="http://schemas.openxmlformats.org/officeDocument/2006/relationships/image" Target="../media/image130.png"/><Relationship Id="rId3" Type="http://schemas.openxmlformats.org/officeDocument/2006/relationships/notesSlide" Target="../notesSlides/notesSlide49.xml"/><Relationship Id="rId7" Type="http://schemas.openxmlformats.org/officeDocument/2006/relationships/image" Target="../media/image119.svg"/><Relationship Id="rId12" Type="http://schemas.openxmlformats.org/officeDocument/2006/relationships/image" Target="../media/image124.png"/><Relationship Id="rId17" Type="http://schemas.openxmlformats.org/officeDocument/2006/relationships/image" Target="../media/image129.svg"/><Relationship Id="rId2" Type="http://schemas.openxmlformats.org/officeDocument/2006/relationships/slideLayout" Target="../slideLayouts/slideLayout137.xml"/><Relationship Id="rId16" Type="http://schemas.openxmlformats.org/officeDocument/2006/relationships/image" Target="../media/image128.png"/><Relationship Id="rId1" Type="http://schemas.openxmlformats.org/officeDocument/2006/relationships/tags" Target="../tags/tag30.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5" Type="http://schemas.openxmlformats.org/officeDocument/2006/relationships/image" Target="../media/image127.svg"/><Relationship Id="rId10" Type="http://schemas.openxmlformats.org/officeDocument/2006/relationships/image" Target="../media/image122.png"/><Relationship Id="rId19" Type="http://schemas.openxmlformats.org/officeDocument/2006/relationships/image" Target="../media/image131.svg"/><Relationship Id="rId4" Type="http://schemas.openxmlformats.org/officeDocument/2006/relationships/image" Target="../media/image116.png"/><Relationship Id="rId9" Type="http://schemas.openxmlformats.org/officeDocument/2006/relationships/image" Target="../media/image121.svg"/><Relationship Id="rId14" Type="http://schemas.openxmlformats.org/officeDocument/2006/relationships/image" Target="../media/image126.png"/></Relationships>
</file>

<file path=ppt/slides/_rels/slide5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50.xml"/><Relationship Id="rId7" Type="http://schemas.openxmlformats.org/officeDocument/2006/relationships/diagramColors" Target="../diagrams/colors16.xml"/><Relationship Id="rId2" Type="http://schemas.openxmlformats.org/officeDocument/2006/relationships/slideLayout" Target="../slideLayouts/slideLayout137.xml"/><Relationship Id="rId1" Type="http://schemas.openxmlformats.org/officeDocument/2006/relationships/tags" Target="../tags/tag31.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3.xml"/></Relationships>
</file>

<file path=ppt/slides/_rels/slide57.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svg"/><Relationship Id="rId3" Type="http://schemas.openxmlformats.org/officeDocument/2006/relationships/notesSlide" Target="../notesSlides/notesSlide53.xml"/><Relationship Id="rId7" Type="http://schemas.openxmlformats.org/officeDocument/2006/relationships/image" Target="../media/image135.svg"/><Relationship Id="rId12" Type="http://schemas.openxmlformats.org/officeDocument/2006/relationships/image" Target="../media/image140.png"/><Relationship Id="rId2" Type="http://schemas.openxmlformats.org/officeDocument/2006/relationships/slideLayout" Target="../slideLayouts/slideLayout137.xml"/><Relationship Id="rId1" Type="http://schemas.openxmlformats.org/officeDocument/2006/relationships/tags" Target="../tags/tag32.xml"/><Relationship Id="rId6" Type="http://schemas.openxmlformats.org/officeDocument/2006/relationships/image" Target="../media/image134.png"/><Relationship Id="rId11" Type="http://schemas.openxmlformats.org/officeDocument/2006/relationships/image" Target="../media/image139.svg"/><Relationship Id="rId5" Type="http://schemas.openxmlformats.org/officeDocument/2006/relationships/image" Target="../media/image133.svg"/><Relationship Id="rId15" Type="http://schemas.openxmlformats.org/officeDocument/2006/relationships/image" Target="../media/image143.sv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svg"/><Relationship Id="rId14" Type="http://schemas.openxmlformats.org/officeDocument/2006/relationships/image" Target="../media/image14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68.xml"/><Relationship Id="rId2" Type="http://schemas.openxmlformats.org/officeDocument/2006/relationships/tags" Target="../tags/tag33.xml"/><Relationship Id="rId1" Type="http://schemas.openxmlformats.org/officeDocument/2006/relationships/themeOverride" Target="../theme/themeOverride2.xml"/><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8.xml"/><Relationship Id="rId1" Type="http://schemas.openxmlformats.org/officeDocument/2006/relationships/tags" Target="../tags/tag3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5.xml"/><Relationship Id="rId1" Type="http://schemas.openxmlformats.org/officeDocument/2006/relationships/tags" Target="../tags/tag3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46.svg"/><Relationship Id="rId2" Type="http://schemas.openxmlformats.org/officeDocument/2006/relationships/slideLayout" Target="../slideLayouts/slideLayout165.xml"/><Relationship Id="rId1" Type="http://schemas.openxmlformats.org/officeDocument/2006/relationships/tags" Target="../tags/tag36.xml"/><Relationship Id="rId6" Type="http://schemas.openxmlformats.org/officeDocument/2006/relationships/image" Target="../media/image132.png"/><Relationship Id="rId5" Type="http://schemas.openxmlformats.org/officeDocument/2006/relationships/image" Target="../media/image145.svg"/><Relationship Id="rId4" Type="http://schemas.openxmlformats.org/officeDocument/2006/relationships/image" Target="../media/image144.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8.xml"/><Relationship Id="rId1" Type="http://schemas.openxmlformats.org/officeDocument/2006/relationships/tags" Target="../tags/tag3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37.xml"/><Relationship Id="rId1" Type="http://schemas.openxmlformats.org/officeDocument/2006/relationships/tags" Target="../tags/tag38.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61.xml"/><Relationship Id="rId1" Type="http://schemas.openxmlformats.org/officeDocument/2006/relationships/slideLayout" Target="../slideLayouts/slideLayout137.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6.xml"/></Relationships>
</file>

<file path=ppt/slides/_rels/slide68.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54.png"/><Relationship Id="rId3" Type="http://schemas.openxmlformats.org/officeDocument/2006/relationships/notesSlide" Target="../notesSlides/notesSlide63.xml"/><Relationship Id="rId7" Type="http://schemas.openxmlformats.org/officeDocument/2006/relationships/image" Target="../media/image149.png"/><Relationship Id="rId12" Type="http://schemas.openxmlformats.org/officeDocument/2006/relationships/image" Target="../media/image153.png"/><Relationship Id="rId2" Type="http://schemas.openxmlformats.org/officeDocument/2006/relationships/slideLayout" Target="../slideLayouts/slideLayout170.xml"/><Relationship Id="rId1" Type="http://schemas.openxmlformats.org/officeDocument/2006/relationships/tags" Target="../tags/tag39.xml"/><Relationship Id="rId6" Type="http://schemas.openxmlformats.org/officeDocument/2006/relationships/image" Target="../media/image148.png"/><Relationship Id="rId11" Type="http://schemas.openxmlformats.org/officeDocument/2006/relationships/image" Target="../media/image152.png"/><Relationship Id="rId5" Type="http://schemas.microsoft.com/office/2007/relationships/hdphoto" Target="../media/hdphoto2.wdp"/><Relationship Id="rId15" Type="http://schemas.openxmlformats.org/officeDocument/2006/relationships/image" Target="../media/image155.png"/><Relationship Id="rId10" Type="http://schemas.openxmlformats.org/officeDocument/2006/relationships/image" Target="../media/image151.png"/><Relationship Id="rId4" Type="http://schemas.openxmlformats.org/officeDocument/2006/relationships/image" Target="../media/image147.png"/><Relationship Id="rId9" Type="http://schemas.openxmlformats.org/officeDocument/2006/relationships/image" Target="../media/image150.png"/><Relationship Id="rId14" Type="http://schemas.microsoft.com/office/2007/relationships/hdphoto" Target="../media/hdphoto4.wdp"/></Relationships>
</file>

<file path=ppt/slides/_rels/slide6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64.xml"/><Relationship Id="rId1" Type="http://schemas.openxmlformats.org/officeDocument/2006/relationships/slideLayout" Target="../slideLayouts/slideLayout170.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5.png"/></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7.xml"/><Relationship Id="rId7" Type="http://schemas.openxmlformats.org/officeDocument/2006/relationships/diagramColors" Target="../diagrams/colors4.xml"/><Relationship Id="rId2" Type="http://schemas.openxmlformats.org/officeDocument/2006/relationships/slideLayout" Target="../slideLayouts/slideLayout9.xml"/><Relationship Id="rId1" Type="http://schemas.openxmlformats.org/officeDocument/2006/relationships/tags" Target="../tags/tag1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5.xml"/><Relationship Id="rId1" Type="http://schemas.openxmlformats.org/officeDocument/2006/relationships/slideLayout" Target="../slideLayouts/slideLayout14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3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9.xml"/></Relationships>
</file>

<file path=ppt/slides/_rels/slide73.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notesSlide" Target="../notesSlides/notesSlide68.xml"/><Relationship Id="rId7" Type="http://schemas.openxmlformats.org/officeDocument/2006/relationships/image" Target="../media/image159.png"/><Relationship Id="rId12" Type="http://schemas.openxmlformats.org/officeDocument/2006/relationships/image" Target="../media/image164.svg"/><Relationship Id="rId2" Type="http://schemas.openxmlformats.org/officeDocument/2006/relationships/slideLayout" Target="../slideLayouts/slideLayout182.xml"/><Relationship Id="rId1" Type="http://schemas.openxmlformats.org/officeDocument/2006/relationships/tags" Target="../tags/tag40.xml"/><Relationship Id="rId6" Type="http://schemas.openxmlformats.org/officeDocument/2006/relationships/image" Target="../media/image158.svg"/><Relationship Id="rId11" Type="http://schemas.openxmlformats.org/officeDocument/2006/relationships/image" Target="../media/image163.png"/><Relationship Id="rId5" Type="http://schemas.openxmlformats.org/officeDocument/2006/relationships/image" Target="../media/image122.png"/><Relationship Id="rId10" Type="http://schemas.openxmlformats.org/officeDocument/2006/relationships/image" Target="../media/image162.svg"/><Relationship Id="rId4" Type="http://schemas.openxmlformats.org/officeDocument/2006/relationships/image" Target="../media/image157.png"/><Relationship Id="rId9" Type="http://schemas.openxmlformats.org/officeDocument/2006/relationships/image" Target="../media/image161.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72.xml"/><Relationship Id="rId1" Type="http://schemas.openxmlformats.org/officeDocument/2006/relationships/tags" Target="../tags/tag4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45.xml"/><Relationship Id="rId1" Type="http://schemas.openxmlformats.org/officeDocument/2006/relationships/tags" Target="../tags/tag42.xml"/><Relationship Id="rId4" Type="http://schemas.openxmlformats.org/officeDocument/2006/relationships/image" Target="../media/image165.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38.xml"/><Relationship Id="rId1" Type="http://schemas.openxmlformats.org/officeDocument/2006/relationships/tags" Target="../tags/tag43.xml"/></Relationships>
</file>

<file path=ppt/slides/_rels/slide7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2.xml"/><Relationship Id="rId1" Type="http://schemas.openxmlformats.org/officeDocument/2006/relationships/slideLayout" Target="../slideLayouts/slideLayout13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4.xml"/><Relationship Id="rId1" Type="http://schemas.openxmlformats.org/officeDocument/2006/relationships/themeOverride" Target="../theme/themeOverride3.xml"/><Relationship Id="rId4" Type="http://schemas.openxmlformats.org/officeDocument/2006/relationships/notesSlide" Target="../notesSlides/notesSlide73.xml"/></Relationships>
</file>

<file path=ppt/slides/_rels/slide7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74.xml"/><Relationship Id="rId1" Type="http://schemas.openxmlformats.org/officeDocument/2006/relationships/slideLayout" Target="../slideLayouts/slideLayout138.xml"/><Relationship Id="rId5" Type="http://schemas.microsoft.com/office/2007/relationships/hdphoto" Target="../media/hdphoto5.wdp"/><Relationship Id="rId4" Type="http://schemas.openxmlformats.org/officeDocument/2006/relationships/image" Target="../media/image168.png"/></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8.xml"/><Relationship Id="rId7" Type="http://schemas.openxmlformats.org/officeDocument/2006/relationships/image" Target="../media/image54.svg"/><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5.xml"/><Relationship Id="rId1" Type="http://schemas.openxmlformats.org/officeDocument/2006/relationships/themeOverride" Target="../theme/themeOverride4.xml"/><Relationship Id="rId4" Type="http://schemas.openxmlformats.org/officeDocument/2006/relationships/notesSlide" Target="../notesSlides/notesSlide7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38.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tags" Target="../tags/tag46.xml"/><Relationship Id="rId1" Type="http://schemas.openxmlformats.org/officeDocument/2006/relationships/themeOverride" Target="../theme/themeOverride5.xml"/><Relationship Id="rId4" Type="http://schemas.openxmlformats.org/officeDocument/2006/relationships/notesSlide" Target="../notesSlides/notesSlide77.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169.jpe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169.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170.jpe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171.jpe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71.jpe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172.jpeg"/></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notesSlide" Target="../notesSlides/notesSlide9.xml"/><Relationship Id="rId7" Type="http://schemas.openxmlformats.org/officeDocument/2006/relationships/image" Target="../media/image58.svg"/><Relationship Id="rId12" Type="http://schemas.openxmlformats.org/officeDocument/2006/relationships/image" Target="../media/image63.png"/><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56.svg"/><Relationship Id="rId15" Type="http://schemas.openxmlformats.org/officeDocument/2006/relationships/image" Target="../media/image66.sv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svg"/><Relationship Id="rId14" Type="http://schemas.openxmlformats.org/officeDocument/2006/relationships/image" Target="../media/image65.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4.xml"/><Relationship Id="rId1" Type="http://schemas.openxmlformats.org/officeDocument/2006/relationships/tags" Target="../tags/tag54.xml"/><Relationship Id="rId4" Type="http://schemas.openxmlformats.org/officeDocument/2006/relationships/image" Target="../media/image169.jpe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169.jpe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4.xml"/><Relationship Id="rId1" Type="http://schemas.openxmlformats.org/officeDocument/2006/relationships/tags" Target="../tags/tag56.xml"/><Relationship Id="rId4" Type="http://schemas.openxmlformats.org/officeDocument/2006/relationships/image" Target="../media/image171.jpe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70.jpe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170.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69.jpe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91.xml"/><Relationship Id="rId1" Type="http://schemas.openxmlformats.org/officeDocument/2006/relationships/slideLayout" Target="../slideLayouts/slideLayout18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1080999" y="1170446"/>
            <a:ext cx="9788342" cy="2387600"/>
          </a:xfrm>
        </p:spPr>
        <p:txBody>
          <a:bodyPr>
            <a:normAutofit/>
          </a:bodyPr>
          <a:lstStyle/>
          <a:p>
            <a:pPr algn="l"/>
            <a:r>
              <a:rPr lang="en-US">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t>
            </a:r>
            <a:r>
              <a:rPr lang="en-US" sz="5400">
                <a:solidFill>
                  <a:srgbClr val="282828"/>
                </a:solidFill>
                <a:latin typeface="Segoe UI Light" panose="020B0502040204020203" pitchFamily="34" charset="0"/>
                <a:cs typeface="Segoe UI Light" panose="020B0502040204020203" pitchFamily="34" charset="0"/>
              </a:rPr>
              <a:t>Adoption Framework</a:t>
            </a:r>
            <a:endParaRPr lang="en-US" sz="4800">
              <a:solidFill>
                <a:srgbClr val="282828"/>
              </a:solidFill>
              <a:latin typeface="Segoe UI Light" panose="020B0502040204020203" pitchFamily="34" charset="0"/>
              <a:cs typeface="Segoe UI Light" panose="020B0502040204020203" pitchFamily="34" charset="0"/>
            </a:endParaRPr>
          </a:p>
        </p:txBody>
      </p:sp>
      <p:sp>
        <p:nvSpPr>
          <p:cNvPr id="4" name="Subtitle 2">
            <a:extLst>
              <a:ext uri="{FF2B5EF4-FFF2-40B4-BE49-F238E27FC236}">
                <a16:creationId xmlns:a16="http://schemas.microsoft.com/office/drawing/2014/main" id="{AC1E7656-E20F-406F-86AF-94364F704489}"/>
              </a:ext>
            </a:extLst>
          </p:cNvPr>
          <p:cNvSpPr>
            <a:spLocks noGrp="1"/>
          </p:cNvSpPr>
          <p:nvPr>
            <p:ph type="subTitle" idx="1"/>
          </p:nvPr>
        </p:nvSpPr>
        <p:spPr>
          <a:xfrm>
            <a:off x="1201829" y="3039204"/>
            <a:ext cx="9788342" cy="2648350"/>
          </a:xfrm>
        </p:spPr>
        <p:txBody>
          <a:bodyPr>
            <a:normAutofit/>
          </a:bodyPr>
          <a:lstStyle/>
          <a:p>
            <a:r>
              <a:rPr lang="en-US" sz="2000"/>
              <a:t>Empower every decision maker</a:t>
            </a:r>
          </a:p>
          <a:p>
            <a:endParaRPr lang="en-US" sz="2000"/>
          </a:p>
          <a:p>
            <a:r>
              <a:rPr lang="en-US" sz="2000"/>
              <a:t>Speaker:</a:t>
            </a:r>
          </a:p>
          <a:p>
            <a:r>
              <a:rPr lang="en-US" sz="2000"/>
              <a:t>Mariana Logvinenko</a:t>
            </a:r>
          </a:p>
          <a:p>
            <a:r>
              <a:rPr lang="en-US" sz="2000"/>
              <a:t>Nicole Pham</a:t>
            </a:r>
          </a:p>
          <a:p>
            <a:endParaRPr lang="en-US" sz="2000"/>
          </a:p>
          <a:p>
            <a:r>
              <a:rPr lang="en-US" sz="2000"/>
              <a:t>Date: 08.09.2021</a:t>
            </a:r>
          </a:p>
        </p:txBody>
      </p:sp>
    </p:spTree>
    <p:custDataLst>
      <p:tags r:id="rId1"/>
    </p:custDataLst>
    <p:extLst>
      <p:ext uri="{BB962C8B-B14F-4D97-AF65-F5344CB8AC3E}">
        <p14:creationId xmlns:p14="http://schemas.microsoft.com/office/powerpoint/2010/main" val="3342699643"/>
      </p:ext>
    </p:extLst>
  </p:cSld>
  <p:clrMapOvr>
    <a:masterClrMapping/>
  </p:clrMapOvr>
  <mc:AlternateContent xmlns:mc="http://schemas.openxmlformats.org/markup-compatibility/2006" xmlns:p14="http://schemas.microsoft.com/office/powerpoint/2010/main">
    <mc:Choice Requires="p14">
      <p:transition spd="med" p14:dur="700" advTm="19151">
        <p:fade/>
      </p:transition>
    </mc:Choice>
    <mc:Fallback xmlns="">
      <p:transition spd="med" advTm="19151">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 name="Group 1">
            <a:extLst>
              <a:ext uri="{FF2B5EF4-FFF2-40B4-BE49-F238E27FC236}">
                <a16:creationId xmlns:a16="http://schemas.microsoft.com/office/drawing/2014/main" id="{228EEA4C-2DD4-4DFC-8D38-64E23F940910}"/>
              </a:ext>
            </a:extLst>
          </p:cNvPr>
          <p:cNvGrpSpPr/>
          <p:nvPr/>
        </p:nvGrpSpPr>
        <p:grpSpPr>
          <a:xfrm>
            <a:off x="816761" y="1613480"/>
            <a:ext cx="1485598" cy="1458913"/>
            <a:chOff x="816761" y="1613480"/>
            <a:chExt cx="1485598" cy="1458913"/>
          </a:xfrm>
        </p:grpSpPr>
        <p:sp>
          <p:nvSpPr>
            <p:cNvPr id="9" name="Oval 8">
              <a:extLst>
                <a:ext uri="{FF2B5EF4-FFF2-40B4-BE49-F238E27FC236}">
                  <a16:creationId xmlns:a16="http://schemas.microsoft.com/office/drawing/2014/main" id="{2136DDD4-FAA5-418C-890C-F2C2771DB8DE}"/>
                </a:ext>
              </a:extLst>
            </p:cNvPr>
            <p:cNvSpPr/>
            <p:nvPr/>
          </p:nvSpPr>
          <p:spPr>
            <a:xfrm>
              <a:off x="1106453" y="214623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0" name="Rectangle 9" descr="Lightbulb">
              <a:extLst>
                <a:ext uri="{FF2B5EF4-FFF2-40B4-BE49-F238E27FC236}">
                  <a16:creationId xmlns:a16="http://schemas.microsoft.com/office/drawing/2014/main" id="{B3706D24-28CE-43E6-966A-2804B48DE704}"/>
                </a:ext>
              </a:extLst>
            </p:cNvPr>
            <p:cNvSpPr/>
            <p:nvPr/>
          </p:nvSpPr>
          <p:spPr>
            <a:xfrm>
              <a:off x="1299581" y="2343613"/>
              <a:ext cx="519959" cy="531402"/>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2BEDC0A8-0B3D-4E2B-A4D1-2AA704C5A84D}"/>
                </a:ext>
              </a:extLst>
            </p:cNvPr>
            <p:cNvSpPr/>
            <p:nvPr/>
          </p:nvSpPr>
          <p:spPr>
            <a:xfrm>
              <a:off x="816761" y="161348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01EA8E7B-CCC5-4D1A-BC84-F2A33699B687}"/>
              </a:ext>
            </a:extLst>
          </p:cNvPr>
          <p:cNvGrpSpPr/>
          <p:nvPr/>
        </p:nvGrpSpPr>
        <p:grpSpPr>
          <a:xfrm>
            <a:off x="816761" y="3390612"/>
            <a:ext cx="1485598" cy="1329282"/>
            <a:chOff x="816761" y="3390612"/>
            <a:chExt cx="1485598" cy="1329282"/>
          </a:xfrm>
        </p:grpSpPr>
        <p:sp>
          <p:nvSpPr>
            <p:cNvPr id="12" name="Oval 11">
              <a:extLst>
                <a:ext uri="{FF2B5EF4-FFF2-40B4-BE49-F238E27FC236}">
                  <a16:creationId xmlns:a16="http://schemas.microsoft.com/office/drawing/2014/main" id="{B32C8DAD-A6DF-477B-B4EC-4AA315E433F7}"/>
                </a:ext>
              </a:extLst>
            </p:cNvPr>
            <p:cNvSpPr/>
            <p:nvPr/>
          </p:nvSpPr>
          <p:spPr>
            <a:xfrm>
              <a:off x="1106453" y="3793736"/>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3" name="Rectangle 12" descr="Meeting">
              <a:extLst>
                <a:ext uri="{FF2B5EF4-FFF2-40B4-BE49-F238E27FC236}">
                  <a16:creationId xmlns:a16="http://schemas.microsoft.com/office/drawing/2014/main" id="{811C7E6C-79E4-4D82-9A62-A564EC9B7CCF}"/>
                </a:ext>
              </a:extLst>
            </p:cNvPr>
            <p:cNvSpPr/>
            <p:nvPr/>
          </p:nvSpPr>
          <p:spPr>
            <a:xfrm>
              <a:off x="1299581" y="3991114"/>
              <a:ext cx="519959" cy="531402"/>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24E3B02E-5951-49FF-BFAD-7082C0F18455}"/>
                </a:ext>
              </a:extLst>
            </p:cNvPr>
            <p:cNvSpPr/>
            <p:nvPr/>
          </p:nvSpPr>
          <p:spPr>
            <a:xfrm>
              <a:off x="816761" y="3390612"/>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68643AEF-EC90-439B-972C-C5C1D104434F}"/>
              </a:ext>
            </a:extLst>
          </p:cNvPr>
          <p:cNvGrpSpPr/>
          <p:nvPr/>
        </p:nvGrpSpPr>
        <p:grpSpPr>
          <a:xfrm>
            <a:off x="816761" y="5047560"/>
            <a:ext cx="1485598" cy="1331913"/>
            <a:chOff x="816761" y="5047560"/>
            <a:chExt cx="1485598" cy="1331913"/>
          </a:xfrm>
        </p:grpSpPr>
        <p:sp>
          <p:nvSpPr>
            <p:cNvPr id="15" name="Oval 14">
              <a:extLst>
                <a:ext uri="{FF2B5EF4-FFF2-40B4-BE49-F238E27FC236}">
                  <a16:creationId xmlns:a16="http://schemas.microsoft.com/office/drawing/2014/main" id="{98169B2A-2A27-4696-B9B9-85F7358E31A8}"/>
                </a:ext>
              </a:extLst>
            </p:cNvPr>
            <p:cNvSpPr/>
            <p:nvPr/>
          </p:nvSpPr>
          <p:spPr>
            <a:xfrm>
              <a:off x="1106453" y="545331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6" name="Rectangle 15" descr="Head with Gears">
              <a:extLst>
                <a:ext uri="{FF2B5EF4-FFF2-40B4-BE49-F238E27FC236}">
                  <a16:creationId xmlns:a16="http://schemas.microsoft.com/office/drawing/2014/main" id="{368DD1BF-1123-4B0A-909D-0BA59EDF69A6}"/>
                </a:ext>
              </a:extLst>
            </p:cNvPr>
            <p:cNvSpPr/>
            <p:nvPr/>
          </p:nvSpPr>
          <p:spPr>
            <a:xfrm>
              <a:off x="1299581" y="5650693"/>
              <a:ext cx="519959" cy="53140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0A29352A-E545-4E13-851C-AA2FE86CC4BE}"/>
                </a:ext>
              </a:extLst>
            </p:cNvPr>
            <p:cNvSpPr/>
            <p:nvPr/>
          </p:nvSpPr>
          <p:spPr>
            <a:xfrm>
              <a:off x="816761" y="504756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20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aphicFrame>
        <p:nvGraphicFramePr>
          <p:cNvPr id="21" name="Diagram 20">
            <a:extLst>
              <a:ext uri="{FF2B5EF4-FFF2-40B4-BE49-F238E27FC236}">
                <a16:creationId xmlns:a16="http://schemas.microsoft.com/office/drawing/2014/main" id="{F610FFF2-23D6-4978-B1EC-C03FA6E54578}"/>
              </a:ext>
            </a:extLst>
          </p:cNvPr>
          <p:cNvGraphicFramePr/>
          <p:nvPr/>
        </p:nvGraphicFramePr>
        <p:xfrm>
          <a:off x="2769718" y="3305945"/>
          <a:ext cx="9117481" cy="190173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2" name="Diagram 21">
            <a:extLst>
              <a:ext uri="{FF2B5EF4-FFF2-40B4-BE49-F238E27FC236}">
                <a16:creationId xmlns:a16="http://schemas.microsoft.com/office/drawing/2014/main" id="{9F489416-7161-4416-BEB2-549B2B10914B}"/>
              </a:ext>
            </a:extLst>
          </p:cNvPr>
          <p:cNvGraphicFramePr/>
          <p:nvPr>
            <p:extLst>
              <p:ext uri="{D42A27DB-BD31-4B8C-83A1-F6EECF244321}">
                <p14:modId xmlns:p14="http://schemas.microsoft.com/office/powerpoint/2010/main" val="535209681"/>
              </p:ext>
            </p:extLst>
          </p:nvPr>
        </p:nvGraphicFramePr>
        <p:xfrm>
          <a:off x="2748280" y="1690688"/>
          <a:ext cx="9138920" cy="1746784"/>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23" name="Diagram 22">
            <a:extLst>
              <a:ext uri="{FF2B5EF4-FFF2-40B4-BE49-F238E27FC236}">
                <a16:creationId xmlns:a16="http://schemas.microsoft.com/office/drawing/2014/main" id="{CFC833C9-7D5E-4A6F-B3DE-36889960662E}"/>
              </a:ext>
            </a:extLst>
          </p:cNvPr>
          <p:cNvGraphicFramePr/>
          <p:nvPr/>
        </p:nvGraphicFramePr>
        <p:xfrm>
          <a:off x="2769719" y="5001363"/>
          <a:ext cx="9117480" cy="1830062"/>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Tree>
    <p:custDataLst>
      <p:tags r:id="rId1"/>
    </p:custDataLst>
    <p:extLst>
      <p:ext uri="{BB962C8B-B14F-4D97-AF65-F5344CB8AC3E}">
        <p14:creationId xmlns:p14="http://schemas.microsoft.com/office/powerpoint/2010/main" val="2252042619"/>
      </p:ext>
    </p:extLst>
  </p:cSld>
  <p:clrMapOvr>
    <a:masterClrMapping/>
  </p:clrMapOvr>
  <mc:AlternateContent xmlns:mc="http://schemas.openxmlformats.org/markup-compatibility/2006" xmlns:p14="http://schemas.microsoft.com/office/powerpoint/2010/main">
    <mc:Choice Requires="p14">
      <p:transition spd="med" p14:dur="700" advTm="21665">
        <p:fade/>
      </p:transition>
    </mc:Choice>
    <mc:Fallback xmlns="">
      <p:transition spd="med" advTm="216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1" grpId="0">
        <p:bldAsOne/>
      </p:bldGraphic>
      <p:bldGraphic spid="22" grpId="0">
        <p:bldAsOne/>
      </p:bldGraphic>
      <p:bldGraphic spid="23" grpId="0">
        <p:bldAsOne/>
      </p:bldGraphic>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extfeld 46">
            <a:extLst>
              <a:ext uri="{FF2B5EF4-FFF2-40B4-BE49-F238E27FC236}">
                <a16:creationId xmlns:a16="http://schemas.microsoft.com/office/drawing/2014/main" id="{79DBE107-6CAC-4F1C-86CA-C7E9C9D84193}"/>
              </a:ext>
            </a:extLst>
          </p:cNvPr>
          <p:cNvSpPr txBox="1"/>
          <p:nvPr/>
        </p:nvSpPr>
        <p:spPr>
          <a:xfrm>
            <a:off x="6325564" y="1545262"/>
            <a:ext cx="5729551" cy="3970318"/>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prioritie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lect one data domain or business unit at a tim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Timeline:</a:t>
            </a: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ork in iterations long enough to accomplish meaningful progress, yet short enough to periodically adjus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Quick win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ocus on tangible, tactical, and incremental progres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Success metric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reate measurable metrics to evaluate progress.</a:t>
            </a:r>
          </a:p>
        </p:txBody>
      </p:sp>
      <p:sp>
        <p:nvSpPr>
          <p:cNvPr id="22" name="Freeform: Shape 78">
            <a:extLst>
              <a:ext uri="{FF2B5EF4-FFF2-40B4-BE49-F238E27FC236}">
                <a16:creationId xmlns:a16="http://schemas.microsoft.com/office/drawing/2014/main" id="{C409C20F-E460-4EAB-8903-3DE4D7B7C35F}"/>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itel 2">
            <a:extLst>
              <a:ext uri="{FF2B5EF4-FFF2-40B4-BE49-F238E27FC236}">
                <a16:creationId xmlns:a16="http://schemas.microsoft.com/office/drawing/2014/main" id="{1A683CD2-49BF-4869-9CCC-97776E7F4828}"/>
              </a:ext>
            </a:extLst>
          </p:cNvPr>
          <p:cNvSpPr txBox="1">
            <a:spLocks/>
          </p:cNvSpPr>
          <p:nvPr/>
        </p:nvSpPr>
        <p:spPr>
          <a:xfrm>
            <a:off x="361548" y="2616040"/>
            <a:ext cx="56024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4400" b="1" i="0" u="none" strike="noStrike" kern="1200" cap="none" spc="0" normalizeH="0" baseline="0" noProof="0">
                <a:ln>
                  <a:noFill/>
                </a:ln>
                <a:solidFill>
                  <a:prstClr val="black"/>
                </a:solidFill>
                <a:effectLst/>
                <a:uLnTx/>
                <a:uFillTx/>
                <a:latin typeface="Segoe"/>
                <a:ea typeface="+mj-ea"/>
                <a:cs typeface="+mj-cs"/>
              </a:rPr>
              <a:t>Action Plan</a:t>
            </a:r>
            <a:endParaRPr kumimoji="0" lang="en-US" sz="4400" b="1" i="0" u="none" strike="noStrike" kern="1200" cap="none" spc="0" normalizeH="0" baseline="0" noProof="0">
              <a:ln>
                <a:noFill/>
              </a:ln>
              <a:solidFill>
                <a:prstClr val="black"/>
              </a:solidFill>
              <a:effectLst/>
              <a:uLnTx/>
              <a:uFillTx/>
              <a:latin typeface="Segoe"/>
              <a:ea typeface="+mj-ea"/>
              <a:cs typeface="+mj-cs"/>
            </a:endParaRPr>
          </a:p>
        </p:txBody>
      </p:sp>
    </p:spTree>
    <p:extLst>
      <p:ext uri="{BB962C8B-B14F-4D97-AF65-F5344CB8AC3E}">
        <p14:creationId xmlns:p14="http://schemas.microsoft.com/office/powerpoint/2010/main" val="32593366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a:t>
            </a:r>
            <a:r>
              <a:rPr lang="de-DE" err="1"/>
              <a:t>Governance</a:t>
            </a:r>
            <a:endParaRPr lang="en-US"/>
          </a:p>
        </p:txBody>
      </p:sp>
      <p:graphicFrame>
        <p:nvGraphicFramePr>
          <p:cNvPr id="4" name="Tabelle 3">
            <a:extLst>
              <a:ext uri="{FF2B5EF4-FFF2-40B4-BE49-F238E27FC236}">
                <a16:creationId xmlns:a16="http://schemas.microsoft.com/office/drawing/2014/main" id="{23A31F71-8C9C-4866-B51B-05BF5F765C71}"/>
              </a:ext>
            </a:extLst>
          </p:cNvPr>
          <p:cNvGraphicFramePr/>
          <p:nvPr/>
        </p:nvGraphicFramePr>
        <p:xfrm>
          <a:off x="835378" y="1189096"/>
          <a:ext cx="10690578" cy="5475006"/>
        </p:xfrm>
        <a:graphic>
          <a:graphicData uri="http://schemas.openxmlformats.org/drawingml/2006/table">
            <a:tbl>
              <a:tblPr>
                <a:tableStyleId>{5C22544A-7EE6-4342-B048-85BDC9FD1C3A}</a:tableStyleId>
              </a:tblPr>
              <a:tblGrid>
                <a:gridCol w="1659466">
                  <a:extLst>
                    <a:ext uri="{9D8B030D-6E8A-4147-A177-3AD203B41FA5}">
                      <a16:colId xmlns:a16="http://schemas.microsoft.com/office/drawing/2014/main" val="4114328864"/>
                    </a:ext>
                  </a:extLst>
                </a:gridCol>
                <a:gridCol w="9031112">
                  <a:extLst>
                    <a:ext uri="{9D8B030D-6E8A-4147-A177-3AD203B41FA5}">
                      <a16:colId xmlns:a16="http://schemas.microsoft.com/office/drawing/2014/main" val="3455535731"/>
                    </a:ext>
                  </a:extLst>
                </a:gridCol>
              </a:tblGrid>
              <a:tr h="413926">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b="1" u="none" strike="noStrike">
                          <a:effectLst/>
                        </a:rPr>
                        <a:t>State of Power BI governance</a:t>
                      </a:r>
                      <a:endParaRPr lang="en-US" sz="1600" b="1"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157367088"/>
                  </a:ext>
                </a:extLst>
              </a:tr>
              <a:tr h="966062">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Due to a lack of governance planning, the good data management and informal governance practices that are occurring are overly reliant on judgment and experience level of individuals.</a:t>
                      </a:r>
                      <a:br>
                        <a:rPr lang="en-US" sz="1600" u="none" strike="noStrike">
                          <a:effectLst/>
                        </a:rPr>
                      </a:br>
                      <a:r>
                        <a:rPr lang="en-US" sz="1600" u="none" strike="noStrike">
                          <a:effectLst/>
                        </a:rPr>
                        <a:t>There's a significant reliance on undocumented tribal knowledge.</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3927012596"/>
                  </a:ext>
                </a:extLst>
              </a:tr>
              <a:tr h="772427">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Certain areas of the organization have made a purposeful effort to standardize, improve, and document their data management and governance practices.</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2190646774"/>
                  </a:ext>
                </a:extLst>
              </a:tr>
              <a:tr h="1501422">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An approved plan with governance focus, objectives, and priorities is in place and broadly communicated.</a:t>
                      </a:r>
                      <a:br>
                        <a:rPr lang="en-US" sz="1600" u="none" strike="noStrike">
                          <a:effectLst/>
                        </a:rPr>
                      </a:br>
                      <a:r>
                        <a:rPr lang="en-US" sz="1600" u="none" strike="noStrike">
                          <a:effectLst/>
                        </a:rPr>
                        <a:t>Roles and responsibilities are documented and understood.</a:t>
                      </a:r>
                      <a:br>
                        <a:rPr lang="en-US" sz="1600" u="none" strike="noStrike">
                          <a:effectLst/>
                        </a:rPr>
                      </a:br>
                      <a:r>
                        <a:rPr lang="en-US" sz="1600" u="none" strike="noStrike">
                          <a:effectLst/>
                        </a:rPr>
                        <a:t>Governance guidelines and policies are implemented for the top few priorities (pain points or opportunities) and are actively followed by the COE and the community of users.</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765272664"/>
                  </a:ext>
                </a:extLst>
              </a:tr>
              <a:tr h="801041">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Learnings from existing practices are continually enacted and scaled throughout the organization.</a:t>
                      </a:r>
                      <a:br>
                        <a:rPr lang="en-US" sz="1600" u="none" strike="noStrike">
                          <a:effectLst/>
                        </a:rPr>
                      </a:br>
                      <a:r>
                        <a:rPr lang="en-US" sz="1600" u="none" strike="noStrike">
                          <a:effectLst/>
                        </a:rPr>
                        <a:t>It's clear where Power BI fits in to the overall BI strategy for the organization.</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2292756712"/>
                  </a:ext>
                </a:extLst>
              </a:tr>
              <a:tr h="1020128">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3059" marR="23059" marT="11529" marB="11529"/>
                </a:tc>
                <a:tc>
                  <a:txBody>
                    <a:bodyPr/>
                    <a:lstStyle/>
                    <a:p>
                      <a:pPr algn="l" fontAlgn="t">
                        <a:spcBef>
                          <a:spcPts val="0"/>
                        </a:spcBef>
                        <a:spcAft>
                          <a:spcPts val="0"/>
                        </a:spcAft>
                      </a:pPr>
                      <a:r>
                        <a:rPr lang="en-US" sz="1600" u="none" strike="noStrike">
                          <a:effectLst/>
                        </a:rPr>
                        <a:t>All Power BI governance priorities align with business objectives.</a:t>
                      </a:r>
                      <a:br>
                        <a:rPr lang="en-US" sz="1600" u="none" strike="noStrike">
                          <a:effectLst/>
                        </a:rPr>
                      </a:br>
                      <a:r>
                        <a:rPr lang="en-US" sz="1600" u="none" strike="noStrike">
                          <a:effectLst/>
                        </a:rPr>
                        <a:t>Measurable governance goals are clear and tracked regularly for iterative, continual progress. Transparency and communication are a priority.</a:t>
                      </a:r>
                      <a:endParaRPr lang="en-US" sz="1600" b="0" i="0" u="none" strike="noStrike">
                        <a:effectLst/>
                        <a:latin typeface="Arial" panose="020B0604020202020204" pitchFamily="34" charset="0"/>
                      </a:endParaRPr>
                    </a:p>
                  </a:txBody>
                  <a:tcPr marL="23059" marR="23059" marT="11529" marB="11529"/>
                </a:tc>
                <a:extLst>
                  <a:ext uri="{0D108BD9-81ED-4DB2-BD59-A6C34878D82A}">
                    <a16:rowId xmlns:a16="http://schemas.microsoft.com/office/drawing/2014/main" val="16709878"/>
                  </a:ext>
                </a:extLst>
              </a:tr>
            </a:tbl>
          </a:graphicData>
        </a:graphic>
      </p:graphicFrame>
    </p:spTree>
    <p:extLst>
      <p:ext uri="{BB962C8B-B14F-4D97-AF65-F5344CB8AC3E}">
        <p14:creationId xmlns:p14="http://schemas.microsoft.com/office/powerpoint/2010/main" val="23038352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87930" y="1140469"/>
            <a:ext cx="10408581" cy="1655108"/>
          </a:xfrm>
        </p:spPr>
        <p:txBody>
          <a:bodyPr/>
          <a:lstStyle/>
          <a:p>
            <a:r>
              <a:rPr lang="de-DE" sz="5400"/>
              <a:t>Content </a:t>
            </a:r>
            <a:r>
              <a:rPr lang="de-DE" sz="5400" err="1"/>
              <a:t>Delivery</a:t>
            </a:r>
            <a:r>
              <a:rPr lang="de-DE" sz="5400"/>
              <a:t> </a:t>
            </a:r>
            <a:r>
              <a:rPr lang="de-DE" sz="5400" err="1"/>
              <a:t>Scope</a:t>
            </a:r>
            <a:endParaRPr lang="de-DE" sz="5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3</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69104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FCA133-295D-4CCA-9861-7AF98AC3BD91}"/>
              </a:ext>
            </a:extLst>
          </p:cNvPr>
          <p:cNvSpPr>
            <a:spLocks noGrp="1"/>
          </p:cNvSpPr>
          <p:nvPr>
            <p:ph type="title"/>
          </p:nvPr>
        </p:nvSpPr>
        <p:spPr/>
        <p:txBody>
          <a:bodyPr/>
          <a:lstStyle/>
          <a:p>
            <a:br>
              <a:rPr lang="de-DE"/>
            </a:br>
            <a:r>
              <a:rPr lang="de-DE"/>
              <a:t>Content Ownership and Management</a:t>
            </a:r>
            <a:br>
              <a:rPr lang="de-DE"/>
            </a:br>
            <a:endParaRPr lang="de-DE"/>
          </a:p>
        </p:txBody>
      </p:sp>
      <p:pic>
        <p:nvPicPr>
          <p:cNvPr id="5" name="Grafik 4">
            <a:extLst>
              <a:ext uri="{FF2B5EF4-FFF2-40B4-BE49-F238E27FC236}">
                <a16:creationId xmlns:a16="http://schemas.microsoft.com/office/drawing/2014/main" id="{F907F599-6D88-4D11-B7E9-D62FB59BA4F2}"/>
              </a:ext>
            </a:extLst>
          </p:cNvPr>
          <p:cNvPicPr>
            <a:picLocks noChangeAspect="1"/>
          </p:cNvPicPr>
          <p:nvPr/>
        </p:nvPicPr>
        <p:blipFill>
          <a:blip r:embed="rId3"/>
          <a:stretch>
            <a:fillRect/>
          </a:stretch>
        </p:blipFill>
        <p:spPr>
          <a:xfrm>
            <a:off x="1042987" y="1947892"/>
            <a:ext cx="10106025" cy="3257550"/>
          </a:xfrm>
          <a:prstGeom prst="rect">
            <a:avLst/>
          </a:prstGeom>
        </p:spPr>
      </p:pic>
    </p:spTree>
    <p:extLst>
      <p:ext uri="{BB962C8B-B14F-4D97-AF65-F5344CB8AC3E}">
        <p14:creationId xmlns:p14="http://schemas.microsoft.com/office/powerpoint/2010/main" val="14941391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B6FB60-72BA-4D33-80C7-39329AA42C99}"/>
              </a:ext>
            </a:extLst>
          </p:cNvPr>
          <p:cNvSpPr>
            <a:spLocks noGrp="1"/>
          </p:cNvSpPr>
          <p:nvPr>
            <p:ph type="title"/>
          </p:nvPr>
        </p:nvSpPr>
        <p:spPr/>
        <p:txBody>
          <a:bodyPr/>
          <a:lstStyle/>
          <a:p>
            <a:r>
              <a:rPr lang="de-DE" sz="4400" err="1"/>
              <a:t>Governance</a:t>
            </a:r>
            <a:r>
              <a:rPr lang="de-DE" sz="4400"/>
              <a:t> Level </a:t>
            </a:r>
            <a:r>
              <a:rPr lang="de-DE" sz="4400" err="1"/>
              <a:t>based</a:t>
            </a:r>
            <a:r>
              <a:rPr lang="de-DE" sz="4400"/>
              <a:t> on Content Ownership</a:t>
            </a:r>
          </a:p>
        </p:txBody>
      </p:sp>
      <p:sp>
        <p:nvSpPr>
          <p:cNvPr id="84" name="Rectangle 9">
            <a:extLst>
              <a:ext uri="{FF2B5EF4-FFF2-40B4-BE49-F238E27FC236}">
                <a16:creationId xmlns:a16="http://schemas.microsoft.com/office/drawing/2014/main" id="{0538DD50-10AD-4BE1-A49C-BDF42D83019E}"/>
              </a:ext>
            </a:extLst>
          </p:cNvPr>
          <p:cNvSpPr>
            <a:spLocks noChangeArrowheads="1"/>
          </p:cNvSpPr>
          <p:nvPr/>
        </p:nvSpPr>
        <p:spPr bwMode="auto">
          <a:xfrm>
            <a:off x="5031617" y="1936711"/>
            <a:ext cx="1147681" cy="1050156"/>
          </a:xfrm>
          <a:prstGeom prst="rect">
            <a:avLst/>
          </a:prstGeom>
          <a:solidFill>
            <a:srgbClr val="E937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85" name="Rectangle 10">
            <a:extLst>
              <a:ext uri="{FF2B5EF4-FFF2-40B4-BE49-F238E27FC236}">
                <a16:creationId xmlns:a16="http://schemas.microsoft.com/office/drawing/2014/main" id="{D7F70943-4B5A-4B0D-B65C-837BE4E635D6}"/>
              </a:ext>
            </a:extLst>
          </p:cNvPr>
          <p:cNvSpPr>
            <a:spLocks noChangeArrowheads="1"/>
          </p:cNvSpPr>
          <p:nvPr/>
        </p:nvSpPr>
        <p:spPr bwMode="auto">
          <a:xfrm>
            <a:off x="5165279" y="2068020"/>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86" name="Rectangle 18">
            <a:extLst>
              <a:ext uri="{FF2B5EF4-FFF2-40B4-BE49-F238E27FC236}">
                <a16:creationId xmlns:a16="http://schemas.microsoft.com/office/drawing/2014/main" id="{69C96894-EC51-4DC3-A380-6D13150714E0}"/>
              </a:ext>
            </a:extLst>
          </p:cNvPr>
          <p:cNvSpPr/>
          <p:nvPr/>
        </p:nvSpPr>
        <p:spPr>
          <a:xfrm>
            <a:off x="5165278" y="2068020"/>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87" name="Rectangle 66">
            <a:extLst>
              <a:ext uri="{FF2B5EF4-FFF2-40B4-BE49-F238E27FC236}">
                <a16:creationId xmlns:a16="http://schemas.microsoft.com/office/drawing/2014/main" id="{22F21CB3-BC1F-4B32-BB66-8043D5791D61}"/>
              </a:ext>
            </a:extLst>
          </p:cNvPr>
          <p:cNvSpPr/>
          <p:nvPr/>
        </p:nvSpPr>
        <p:spPr>
          <a:xfrm>
            <a:off x="5209092" y="2356192"/>
            <a:ext cx="3548827"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Least stringent governance and oversight controls for the content</a:t>
            </a:r>
          </a:p>
        </p:txBody>
      </p:sp>
      <p:sp>
        <p:nvSpPr>
          <p:cNvPr id="89" name="Rectangle 1">
            <a:extLst>
              <a:ext uri="{FF2B5EF4-FFF2-40B4-BE49-F238E27FC236}">
                <a16:creationId xmlns:a16="http://schemas.microsoft.com/office/drawing/2014/main" id="{B56A7E2B-470F-4F41-A5C4-E04F20BF54BF}"/>
              </a:ext>
            </a:extLst>
          </p:cNvPr>
          <p:cNvSpPr/>
          <p:nvPr/>
        </p:nvSpPr>
        <p:spPr>
          <a:xfrm>
            <a:off x="5205032" y="2118785"/>
            <a:ext cx="3187128"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E93756"/>
                </a:solidFill>
                <a:effectLst/>
                <a:uLnTx/>
                <a:uFillTx/>
                <a:latin typeface="Arial" panose="020B0604020202020204"/>
                <a:ea typeface="+mn-ea"/>
                <a:cs typeface="+mn-cs"/>
              </a:rPr>
              <a:t>Business-led self-service BI </a:t>
            </a:r>
          </a:p>
        </p:txBody>
      </p:sp>
      <p:sp>
        <p:nvSpPr>
          <p:cNvPr id="90" name="Rectangle 9">
            <a:extLst>
              <a:ext uri="{FF2B5EF4-FFF2-40B4-BE49-F238E27FC236}">
                <a16:creationId xmlns:a16="http://schemas.microsoft.com/office/drawing/2014/main" id="{95BD16E8-DB00-46F0-B81B-61FC392B41E9}"/>
              </a:ext>
            </a:extLst>
          </p:cNvPr>
          <p:cNvSpPr>
            <a:spLocks noChangeArrowheads="1"/>
          </p:cNvSpPr>
          <p:nvPr/>
        </p:nvSpPr>
        <p:spPr bwMode="auto">
          <a:xfrm flipH="1">
            <a:off x="4499421" y="3110199"/>
            <a:ext cx="1147681" cy="1050156"/>
          </a:xfrm>
          <a:prstGeom prst="rect">
            <a:avLst/>
          </a:prstGeom>
          <a:solidFill>
            <a:srgbClr val="95C43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1" name="Rectangle 10">
            <a:extLst>
              <a:ext uri="{FF2B5EF4-FFF2-40B4-BE49-F238E27FC236}">
                <a16:creationId xmlns:a16="http://schemas.microsoft.com/office/drawing/2014/main" id="{878C91B4-5329-489C-9DEF-A6206EAE4E37}"/>
              </a:ext>
            </a:extLst>
          </p:cNvPr>
          <p:cNvSpPr>
            <a:spLocks noChangeArrowheads="1"/>
          </p:cNvSpPr>
          <p:nvPr/>
        </p:nvSpPr>
        <p:spPr bwMode="auto">
          <a:xfrm flipH="1">
            <a:off x="4634309" y="3241508"/>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2" name="Rectangle 55">
            <a:extLst>
              <a:ext uri="{FF2B5EF4-FFF2-40B4-BE49-F238E27FC236}">
                <a16:creationId xmlns:a16="http://schemas.microsoft.com/office/drawing/2014/main" id="{D1112A2A-ED00-412B-AD59-A5F75F8461B2}"/>
              </a:ext>
            </a:extLst>
          </p:cNvPr>
          <p:cNvSpPr/>
          <p:nvPr/>
        </p:nvSpPr>
        <p:spPr>
          <a:xfrm flipH="1">
            <a:off x="1553024" y="3241508"/>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93" name="Rectangle 56">
            <a:extLst>
              <a:ext uri="{FF2B5EF4-FFF2-40B4-BE49-F238E27FC236}">
                <a16:creationId xmlns:a16="http://schemas.microsoft.com/office/drawing/2014/main" id="{BC2D08F1-25A1-4FBA-8840-D10150D82166}"/>
              </a:ext>
            </a:extLst>
          </p:cNvPr>
          <p:cNvSpPr/>
          <p:nvPr/>
        </p:nvSpPr>
        <p:spPr>
          <a:xfrm flipH="1">
            <a:off x="2067339" y="3529680"/>
            <a:ext cx="3546960"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Moderately stringent governance and oversight controls for the content</a:t>
            </a:r>
          </a:p>
        </p:txBody>
      </p:sp>
      <p:sp>
        <p:nvSpPr>
          <p:cNvPr id="95" name="Rectangle 58">
            <a:extLst>
              <a:ext uri="{FF2B5EF4-FFF2-40B4-BE49-F238E27FC236}">
                <a16:creationId xmlns:a16="http://schemas.microsoft.com/office/drawing/2014/main" id="{AA1B2120-ABBC-4E29-8465-20AF1BAF9C13}"/>
              </a:ext>
            </a:extLst>
          </p:cNvPr>
          <p:cNvSpPr/>
          <p:nvPr/>
        </p:nvSpPr>
        <p:spPr>
          <a:xfrm flipH="1">
            <a:off x="2682239" y="3292273"/>
            <a:ext cx="2803447"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97C344"/>
                </a:solidFill>
                <a:effectLst/>
                <a:uLnTx/>
                <a:uFillTx/>
                <a:latin typeface="Arial" panose="020B0604020202020204"/>
                <a:ea typeface="+mn-ea"/>
                <a:cs typeface="+mn-cs"/>
              </a:rPr>
              <a:t>Managed- self-service BI</a:t>
            </a:r>
          </a:p>
        </p:txBody>
      </p:sp>
      <p:sp>
        <p:nvSpPr>
          <p:cNvPr id="96" name="Rectangle 9">
            <a:extLst>
              <a:ext uri="{FF2B5EF4-FFF2-40B4-BE49-F238E27FC236}">
                <a16:creationId xmlns:a16="http://schemas.microsoft.com/office/drawing/2014/main" id="{D8690061-3472-4A05-AEB0-597D96D7091C}"/>
              </a:ext>
            </a:extLst>
          </p:cNvPr>
          <p:cNvSpPr>
            <a:spLocks noChangeArrowheads="1"/>
          </p:cNvSpPr>
          <p:nvPr/>
        </p:nvSpPr>
        <p:spPr bwMode="auto">
          <a:xfrm>
            <a:off x="5031617" y="4305741"/>
            <a:ext cx="1147681" cy="1050156"/>
          </a:xfrm>
          <a:prstGeom prst="rect">
            <a:avLst/>
          </a:prstGeom>
          <a:solidFill>
            <a:srgbClr val="F7924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7" name="Rectangle 10">
            <a:extLst>
              <a:ext uri="{FF2B5EF4-FFF2-40B4-BE49-F238E27FC236}">
                <a16:creationId xmlns:a16="http://schemas.microsoft.com/office/drawing/2014/main" id="{A22F11DA-0428-4028-BAA1-58E112A48D06}"/>
              </a:ext>
            </a:extLst>
          </p:cNvPr>
          <p:cNvSpPr>
            <a:spLocks noChangeArrowheads="1"/>
          </p:cNvSpPr>
          <p:nvPr/>
        </p:nvSpPr>
        <p:spPr bwMode="auto">
          <a:xfrm>
            <a:off x="5165279" y="4437050"/>
            <a:ext cx="858116" cy="785186"/>
          </a:xfrm>
          <a:prstGeom prst="rect">
            <a:avLst/>
          </a:prstGeom>
          <a:solidFill>
            <a:srgbClr val="FFFFFF"/>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98" name="Rectangle 64">
            <a:extLst>
              <a:ext uri="{FF2B5EF4-FFF2-40B4-BE49-F238E27FC236}">
                <a16:creationId xmlns:a16="http://schemas.microsoft.com/office/drawing/2014/main" id="{47D5FA40-BB09-41AC-9A94-46A0AECBFAB4}"/>
              </a:ext>
            </a:extLst>
          </p:cNvPr>
          <p:cNvSpPr/>
          <p:nvPr/>
        </p:nvSpPr>
        <p:spPr>
          <a:xfrm>
            <a:off x="5165278" y="4437050"/>
            <a:ext cx="4180543" cy="785186"/>
          </a:xfrm>
          <a:prstGeom prst="rect">
            <a:avLst/>
          </a:prstGeom>
          <a:solidFill>
            <a:sysClr val="window" lastClr="FFFFFF"/>
          </a:solidFill>
          <a:ln w="12700" cap="flat" cmpd="sng" algn="ctr">
            <a:noFill/>
            <a:prstDash val="solid"/>
            <a:miter lim="800000"/>
          </a:ln>
          <a:effectLst>
            <a:outerShdw blurRad="241300" sx="90000" sy="90000" algn="ctr" rotWithShape="0">
              <a:sysClr val="window" lastClr="FFFFFF">
                <a:lumMod val="75000"/>
              </a:sys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Arial" panose="020B0604020202020204"/>
              <a:ea typeface="+mn-ea"/>
              <a:cs typeface="+mn-cs"/>
            </a:endParaRPr>
          </a:p>
        </p:txBody>
      </p:sp>
      <p:sp>
        <p:nvSpPr>
          <p:cNvPr id="99" name="Rectangle 65">
            <a:extLst>
              <a:ext uri="{FF2B5EF4-FFF2-40B4-BE49-F238E27FC236}">
                <a16:creationId xmlns:a16="http://schemas.microsoft.com/office/drawing/2014/main" id="{7A087969-66FC-485B-AA14-F88BD760F7DD}"/>
              </a:ext>
            </a:extLst>
          </p:cNvPr>
          <p:cNvSpPr/>
          <p:nvPr/>
        </p:nvSpPr>
        <p:spPr>
          <a:xfrm>
            <a:off x="5209093" y="4725222"/>
            <a:ext cx="3548826"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rPr>
              <a:t>More rigorous governance controls and oversight for the content</a:t>
            </a:r>
          </a:p>
        </p:txBody>
      </p:sp>
      <p:sp>
        <p:nvSpPr>
          <p:cNvPr id="101" name="Rectangle 70">
            <a:extLst>
              <a:ext uri="{FF2B5EF4-FFF2-40B4-BE49-F238E27FC236}">
                <a16:creationId xmlns:a16="http://schemas.microsoft.com/office/drawing/2014/main" id="{9A6DDD00-B068-441A-8A56-DAFBB2C17EBC}"/>
              </a:ext>
            </a:extLst>
          </p:cNvPr>
          <p:cNvSpPr/>
          <p:nvPr/>
        </p:nvSpPr>
        <p:spPr>
          <a:xfrm>
            <a:off x="5205031" y="4487815"/>
            <a:ext cx="2876902"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79240"/>
                </a:solidFill>
                <a:effectLst/>
                <a:uLnTx/>
                <a:uFillTx/>
                <a:latin typeface="Arial" panose="020B0604020202020204"/>
                <a:ea typeface="+mn-ea"/>
                <a:cs typeface="+mn-cs"/>
              </a:rPr>
              <a:t>Enterprise BI solutions</a:t>
            </a:r>
          </a:p>
        </p:txBody>
      </p:sp>
    </p:spTree>
    <p:extLst>
      <p:ext uri="{BB962C8B-B14F-4D97-AF65-F5344CB8AC3E}">
        <p14:creationId xmlns:p14="http://schemas.microsoft.com/office/powerpoint/2010/main" val="225672107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a:t>Business-</a:t>
            </a:r>
            <a:r>
              <a:rPr lang="de-DE" sz="4000" err="1"/>
              <a:t>led</a:t>
            </a:r>
            <a:r>
              <a:rPr lang="de-DE" sz="4000"/>
              <a:t> </a:t>
            </a:r>
            <a:r>
              <a:rPr lang="de-DE" sz="4000" err="1"/>
              <a:t>self</a:t>
            </a:r>
            <a:r>
              <a:rPr lang="de-DE" sz="4000"/>
              <a:t>-service BI: Bottom-Up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5319985" y="4455075"/>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exploration and freedom to innovate</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4102375" y="2588356"/>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1548" y="4875082"/>
              <a:ext cx="2304570" cy="400110"/>
              <a:chOff x="4797979" y="4944239"/>
              <a:chExt cx="2304570" cy="400110"/>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797979" y="4944239"/>
                <a:ext cx="229663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Skilled and motivated people from business unit to support solutions</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3375641" y="1653454"/>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13302" y="5866288"/>
              <a:ext cx="2271333"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Flexibility to response to changing business conditions and fast reaction</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767666" y="3521944"/>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20613" y="3732962"/>
              <a:ext cx="2249109"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High involvement from the business unit and high level of control</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5968031" y="5390678"/>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118545"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management is aligned with the organization’s data culture </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
        <p:nvSpPr>
          <p:cNvPr id="75" name="TextBox 1">
            <a:extLst>
              <a:ext uri="{FF2B5EF4-FFF2-40B4-BE49-F238E27FC236}">
                <a16:creationId xmlns:a16="http://schemas.microsoft.com/office/drawing/2014/main" id="{8E64E563-119B-4ACD-A93A-0C7F5D7BDC08}"/>
              </a:ext>
            </a:extLst>
          </p:cNvPr>
          <p:cNvSpPr txBox="1"/>
          <p:nvPr/>
        </p:nvSpPr>
        <p:spPr>
          <a:xfrm>
            <a:off x="365992" y="5391288"/>
            <a:ext cx="1894558"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ottom-U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77" name="Arrow: Down 3">
            <a:extLst>
              <a:ext uri="{FF2B5EF4-FFF2-40B4-BE49-F238E27FC236}">
                <a16:creationId xmlns:a16="http://schemas.microsoft.com/office/drawing/2014/main" id="{F026B6F8-B9DD-4D13-AA29-7B6186FA93F1}"/>
              </a:ext>
            </a:extLst>
          </p:cNvPr>
          <p:cNvSpPr/>
          <p:nvPr/>
        </p:nvSpPr>
        <p:spPr bwMode="auto">
          <a:xfrm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7770877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041874" y="2325741"/>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353162" y="166226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781599" y="32964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069230" y="26313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437502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37103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799641" y="5468006"/>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094006" y="480635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294463" y="1672858"/>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413" y="1570681"/>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372288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034188" y="481669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007125" y="26448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7769" y="25396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361951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0505" y="4715202"/>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6835724" y="1865806"/>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each your creators to use the same techniques that IT would 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like shared datasets and dataflows. </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aving fewer duplicated datasets reduces maintenance, improves consistency, and reduces risk.</a:t>
            </a:r>
          </a:p>
        </p:txBody>
      </p:sp>
      <p:sp>
        <p:nvSpPr>
          <p:cNvPr id="48" name="Rectangle 47">
            <a:extLst>
              <a:ext uri="{FF2B5EF4-FFF2-40B4-BE49-F238E27FC236}">
                <a16:creationId xmlns:a16="http://schemas.microsoft.com/office/drawing/2014/main" id="{0F44D7C7-4DC7-4360-AD85-E44C2717FE81}"/>
              </a:ext>
            </a:extLst>
          </p:cNvPr>
          <p:cNvSpPr/>
          <p:nvPr/>
        </p:nvSpPr>
        <p:spPr>
          <a:xfrm>
            <a:off x="7571912" y="2870103"/>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ocus on providing mentoring, training, resources, and documentation. Be prepared for skill levels of self-service content creators to vary significantly. </a:t>
            </a:r>
          </a:p>
        </p:txBody>
      </p:sp>
      <p:sp>
        <p:nvSpPr>
          <p:cNvPr id="51" name="Rectangle 50">
            <a:extLst>
              <a:ext uri="{FF2B5EF4-FFF2-40B4-BE49-F238E27FC236}">
                <a16:creationId xmlns:a16="http://schemas.microsoft.com/office/drawing/2014/main" id="{6B489126-7A96-44F4-A761-638DA488AF1A}"/>
              </a:ext>
            </a:extLst>
          </p:cNvPr>
          <p:cNvSpPr/>
          <p:nvPr/>
        </p:nvSpPr>
        <p:spPr>
          <a:xfrm>
            <a:off x="7800975" y="3897242"/>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vide guidance on the best way to use endorsements. Consider reserving use of th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certified endorsement</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or enterprise BI content and managed self-service BI content.</a:t>
            </a:r>
            <a:endParaRPr kumimoji="0" lang="en-IN"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B6A43E-814A-4954-80B0-986E0DDE0DF0}"/>
              </a:ext>
            </a:extLst>
          </p:cNvPr>
          <p:cNvSpPr/>
          <p:nvPr/>
        </p:nvSpPr>
        <p:spPr>
          <a:xfrm>
            <a:off x="7593491" y="5009703"/>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alyze th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activity log</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discover situations where the COE could proactively contact self-service owners to offer helpful information. It's especially useful when a suboptimal usage pattern is detected.</a:t>
            </a:r>
          </a:p>
        </p:txBody>
      </p:sp>
      <p:sp>
        <p:nvSpPr>
          <p:cNvPr id="16" name="Rectangle 15">
            <a:extLst>
              <a:ext uri="{FF2B5EF4-FFF2-40B4-BE49-F238E27FC236}">
                <a16:creationId xmlns:a16="http://schemas.microsoft.com/office/drawing/2014/main" id="{ED9713B2-8C12-46D5-9EC2-6D4627C09EFE}"/>
              </a:ext>
            </a:extLst>
          </p:cNvPr>
          <p:cNvSpPr/>
          <p:nvPr/>
        </p:nvSpPr>
        <p:spPr>
          <a:xfrm>
            <a:off x="6833959" y="1677087"/>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age of Similar Techniques</a:t>
            </a:r>
          </a:p>
        </p:txBody>
      </p:sp>
      <p:sp>
        <p:nvSpPr>
          <p:cNvPr id="60" name="Rectangle 59">
            <a:extLst>
              <a:ext uri="{FF2B5EF4-FFF2-40B4-BE49-F238E27FC236}">
                <a16:creationId xmlns:a16="http://schemas.microsoft.com/office/drawing/2014/main" id="{3DC610B7-C75B-43B0-AF8C-0F70CD5C5230}"/>
              </a:ext>
            </a:extLst>
          </p:cNvPr>
          <p:cNvSpPr/>
          <p:nvPr/>
        </p:nvSpPr>
        <p:spPr>
          <a:xfrm>
            <a:off x="7557859" y="2658549"/>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ppropriate Resource Provision</a:t>
            </a:r>
          </a:p>
        </p:txBody>
      </p:sp>
      <p:sp>
        <p:nvSpPr>
          <p:cNvPr id="61" name="Rectangle 60">
            <a:extLst>
              <a:ext uri="{FF2B5EF4-FFF2-40B4-BE49-F238E27FC236}">
                <a16:creationId xmlns:a16="http://schemas.microsoft.com/office/drawing/2014/main" id="{D13E5C68-6674-440A-9119-05FBF1A6D5E8}"/>
              </a:ext>
            </a:extLst>
          </p:cNvPr>
          <p:cNvSpPr/>
          <p:nvPr/>
        </p:nvSpPr>
        <p:spPr>
          <a:xfrm>
            <a:off x="7781794" y="3694248"/>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dorsements Usage</a:t>
            </a:r>
          </a:p>
        </p:txBody>
      </p:sp>
      <p:sp>
        <p:nvSpPr>
          <p:cNvPr id="62" name="Rectangle 61">
            <a:extLst>
              <a:ext uri="{FF2B5EF4-FFF2-40B4-BE49-F238E27FC236}">
                <a16:creationId xmlns:a16="http://schemas.microsoft.com/office/drawing/2014/main" id="{5E8B4A8E-542F-45BC-A4AD-C7425B15F3F6}"/>
              </a:ext>
            </a:extLst>
          </p:cNvPr>
          <p:cNvSpPr/>
          <p:nvPr/>
        </p:nvSpPr>
        <p:spPr>
          <a:xfrm>
            <a:off x="7585850" y="4823252"/>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ctivity Log Analysi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6945" y="1706108"/>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9247" y="27543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379063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060" y="4902473"/>
            <a:ext cx="329261" cy="329261"/>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normAutofit fontScale="90000"/>
          </a:bodyPr>
          <a:lstStyle/>
          <a:p>
            <a:pPr defTabSz="914367"/>
            <a:r>
              <a:rPr lang="en-US" b="1" spc="-100">
                <a:ln w="3175">
                  <a:noFill/>
                </a:ln>
                <a:latin typeface="+mn-lt"/>
                <a:ea typeface="+mn-ea"/>
                <a:cs typeface="Segoe UI" pitchFamily="34" charset="0"/>
              </a:rPr>
              <a:t>Business-led </a:t>
            </a:r>
            <a:br>
              <a:rPr lang="en-US" b="1" spc="-100">
                <a:ln w="3175">
                  <a:noFill/>
                </a:ln>
                <a:latin typeface="+mn-lt"/>
                <a:ea typeface="+mn-ea"/>
                <a:cs typeface="Segoe UI" pitchFamily="34" charset="0"/>
              </a:rPr>
            </a:br>
            <a:r>
              <a:rPr lang="en-US" b="1" spc="-100">
                <a:ln w="3175">
                  <a:noFill/>
                </a:ln>
                <a:latin typeface="+mn-lt"/>
                <a:ea typeface="+mn-ea"/>
                <a:cs typeface="Segoe UI" pitchFamily="34" charset="0"/>
              </a:rPr>
              <a:t>self-service BI – </a:t>
            </a:r>
            <a:br>
              <a:rPr lang="en-US" b="1" spc="-100">
                <a:ln w="3175">
                  <a:noFill/>
                </a:ln>
                <a:latin typeface="+mn-lt"/>
                <a:ea typeface="+mn-ea"/>
                <a:cs typeface="Segoe UI" pitchFamily="34" charset="0"/>
              </a:rPr>
            </a:br>
            <a:r>
              <a:rPr lang="en-US" b="1" spc="-100">
                <a:ln w="3175">
                  <a:noFill/>
                </a:ln>
                <a:latin typeface="+mn-lt"/>
                <a:ea typeface="+mn-ea"/>
                <a:cs typeface="Segoe UI" pitchFamily="34" charset="0"/>
              </a:rPr>
              <a:t>Guidelines for Success</a:t>
            </a:r>
          </a:p>
        </p:txBody>
      </p:sp>
    </p:spTree>
    <p:extLst>
      <p:ext uri="{BB962C8B-B14F-4D97-AF65-F5344CB8AC3E}">
        <p14:creationId xmlns:p14="http://schemas.microsoft.com/office/powerpoint/2010/main" val="396569731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BB0BC8-2688-416A-AB86-2F03959314DF}"/>
              </a:ext>
            </a:extLst>
          </p:cNvPr>
          <p:cNvSpPr>
            <a:spLocks noGrp="1"/>
          </p:cNvSpPr>
          <p:nvPr>
            <p:ph type="title"/>
          </p:nvPr>
        </p:nvSpPr>
        <p:spPr>
          <a:xfrm>
            <a:off x="165100" y="2249714"/>
            <a:ext cx="5057140" cy="2358572"/>
          </a:xfrm>
        </p:spPr>
        <p:txBody>
          <a:bodyPr/>
          <a:lstStyle/>
          <a:p>
            <a:r>
              <a:rPr lang="de-DE" sz="3600"/>
              <a:t>Business-</a:t>
            </a:r>
            <a:r>
              <a:rPr lang="de-DE" sz="3600" err="1"/>
              <a:t>led</a:t>
            </a:r>
            <a:r>
              <a:rPr lang="de-DE" sz="3600"/>
              <a:t> </a:t>
            </a:r>
            <a:br>
              <a:rPr lang="de-DE" sz="3600"/>
            </a:br>
            <a:r>
              <a:rPr lang="de-DE" sz="3600" err="1"/>
              <a:t>self</a:t>
            </a:r>
            <a:r>
              <a:rPr lang="de-DE" sz="3600"/>
              <a:t>-service BI – </a:t>
            </a:r>
            <a:br>
              <a:rPr lang="de-DE" sz="3600"/>
            </a:br>
            <a:r>
              <a:rPr lang="de-DE" sz="3600"/>
              <a:t>Guidelines </a:t>
            </a:r>
            <a:r>
              <a:rPr lang="de-DE" sz="3600" err="1"/>
              <a:t>for</a:t>
            </a:r>
            <a:r>
              <a:rPr lang="de-DE" sz="3600"/>
              <a:t> </a:t>
            </a:r>
            <a:r>
              <a:rPr lang="de-DE" sz="3600" err="1"/>
              <a:t>Success</a:t>
            </a:r>
            <a:endParaRPr lang="en-US" sz="3600"/>
          </a:p>
        </p:txBody>
      </p:sp>
      <p:sp>
        <p:nvSpPr>
          <p:cNvPr id="3" name="Textplatzhalter 2">
            <a:extLst>
              <a:ext uri="{FF2B5EF4-FFF2-40B4-BE49-F238E27FC236}">
                <a16:creationId xmlns:a16="http://schemas.microsoft.com/office/drawing/2014/main" id="{AFF91BF6-7806-4948-AAA6-2C1AC950F5D6}"/>
              </a:ext>
            </a:extLst>
          </p:cNvPr>
          <p:cNvSpPr>
            <a:spLocks noGrp="1"/>
          </p:cNvSpPr>
          <p:nvPr>
            <p:ph type="body" sz="quarter" idx="10"/>
          </p:nvPr>
        </p:nvSpPr>
        <p:spPr>
          <a:xfrm>
            <a:off x="5388438" y="94859"/>
            <a:ext cx="6244761" cy="8519255"/>
          </a:xfrm>
        </p:spPr>
        <p:txBody>
          <a:bodyPr/>
          <a:lstStyle/>
          <a:p>
            <a:pPr marL="285750" indent="-285750">
              <a:buFont typeface="Arial" panose="020B0604020202020204" pitchFamily="34" charset="0"/>
              <a:buChar char="•"/>
            </a:pPr>
            <a:r>
              <a:rPr lang="en-US" sz="1600"/>
              <a:t>Teach your creators to use the same techniques that IT would use, like shared datasets and dataflows. Having fewer duplicated datasets reduces maintenance, improves consistency, and reduces risk.</a:t>
            </a:r>
          </a:p>
          <a:p>
            <a:pPr marL="285750" indent="-285750">
              <a:buFont typeface="Arial" panose="020B0604020202020204" pitchFamily="34" charset="0"/>
              <a:buChar char="•"/>
            </a:pPr>
            <a:r>
              <a:rPr lang="en-US" sz="1600"/>
              <a:t>Focus on providing mentoring, training, resources, and documentation (described in the mentoring and user enablement article). The importance of these efforts can't be overstated. Be prepared for skill levels of self-service content creators to vary significantly. It's also common for a solution to deliver excellent business value yet be built in such a way that it won't scale or perform well over time (as historic data volumes increase). Having the COE available to help when these situations arise is very valuable.</a:t>
            </a:r>
          </a:p>
          <a:p>
            <a:pPr marL="285750" indent="-285750">
              <a:buFont typeface="Arial" panose="020B0604020202020204" pitchFamily="34" charset="0"/>
              <a:buChar char="•"/>
            </a:pPr>
            <a:r>
              <a:rPr lang="en-US" sz="1600"/>
              <a:t>Provide guidance on the best way to use endorsements. The promoted endorsement is for content produced by self-service creators. Consider reserving use of the certified endorsement for enterprise BI content and managed self-service BI content (discussed next).</a:t>
            </a:r>
          </a:p>
          <a:p>
            <a:pPr marL="285750" indent="-285750">
              <a:buFont typeface="Arial" panose="020B0604020202020204" pitchFamily="34" charset="0"/>
              <a:buChar char="•"/>
            </a:pPr>
            <a:r>
              <a:rPr lang="en-US" sz="1600"/>
              <a:t>Analyze the activity log to discover situations where the COE could proactively contact self-service owners to offer helpful information. It's especially useful when a suboptimal usage pattern is detected. For example, log activity could reveal overuse of individual item sharing when an app or workspace roles may be a better choice. The data from the activity log allows the COE to offer support and advice to the business units. In turn, this information can help increase the quality of solutions, while allowing the business to retain full ownership and control of their conten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endParaRPr lang="en-US" sz="1600"/>
          </a:p>
        </p:txBody>
      </p:sp>
    </p:spTree>
    <p:extLst>
      <p:ext uri="{BB962C8B-B14F-4D97-AF65-F5344CB8AC3E}">
        <p14:creationId xmlns:p14="http://schemas.microsoft.com/office/powerpoint/2010/main" val="28092219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err="1"/>
              <a:t>Managed</a:t>
            </a:r>
            <a:r>
              <a:rPr lang="de-DE" sz="4000"/>
              <a:t> </a:t>
            </a:r>
            <a:r>
              <a:rPr lang="de-DE" sz="4000" err="1"/>
              <a:t>self</a:t>
            </a:r>
            <a:r>
              <a:rPr lang="de-DE" sz="4000"/>
              <a:t>-service BI: </a:t>
            </a:r>
            <a:r>
              <a:rPr lang="de-DE" sz="4000" err="1"/>
              <a:t>Blended</a:t>
            </a:r>
            <a:r>
              <a:rPr lang="de-DE" sz="4000"/>
              <a:t>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4062412" y="2425995"/>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A team of BI experts who manage the data architecture</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4058443" y="4357107"/>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1548" y="4875082"/>
              <a:ext cx="2304570" cy="400110"/>
              <a:chOff x="4797979" y="4944239"/>
              <a:chExt cx="2304570" cy="400110"/>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797979" y="4944239"/>
                <a:ext cx="2296633"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Fast pace of report creation by self-service report team</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4050506" y="5319817"/>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13302" y="5866288"/>
              <a:ext cx="2271333" cy="55399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a:rPr>
                <a:t>Shared responsibility for data preparation, data modelling, and report creation</a:t>
              </a: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062412" y="3394397"/>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20613" y="3732962"/>
              <a:ext cx="2249109" cy="55399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mn-cs"/>
                </a:rPr>
                <a:t>Reuse of data by many self-service report creators across organizational boundaries</a:t>
              </a:r>
              <a:endParaRPr kumimoji="0" lang="en-US" sz="1000" b="1" i="0" u="none" strike="noStrike" kern="1200" cap="none" spc="0" normalizeH="0" baseline="0" noProof="0">
                <a:ln>
                  <a:noFill/>
                </a:ln>
                <a:solidFill>
                  <a:prstClr val="white"/>
                </a:solidFill>
                <a:effectLst/>
                <a:uLnTx/>
                <a:uFillTx/>
                <a:latin typeface="Arial" panose="020B0604020202020204"/>
                <a:ea typeface="+mn-ea"/>
                <a:cs typeface="Arial"/>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4062412" y="1464647"/>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118545"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Data management is aligned with the organization’s data culture </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Tree>
    <p:extLst>
      <p:ext uri="{BB962C8B-B14F-4D97-AF65-F5344CB8AC3E}">
        <p14:creationId xmlns:p14="http://schemas.microsoft.com/office/powerpoint/2010/main" val="25890450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041874" y="2325741"/>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353162" y="166226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781599" y="32964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069230" y="26313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437502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37103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799641" y="5468006"/>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094006" y="480635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294463" y="1672858"/>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413" y="1570681"/>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372288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034188" y="481669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007125" y="26448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7769" y="25396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361951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0505" y="4715202"/>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6835724" y="1865806"/>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each users to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separate model and report development</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hey can 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live connection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create reports based on existing datasets. </a:t>
            </a:r>
          </a:p>
        </p:txBody>
      </p:sp>
      <p:sp>
        <p:nvSpPr>
          <p:cNvPr id="48" name="Rectangle 47">
            <a:extLst>
              <a:ext uri="{FF2B5EF4-FFF2-40B4-BE49-F238E27FC236}">
                <a16:creationId xmlns:a16="http://schemas.microsoft.com/office/drawing/2014/main" id="{0F44D7C7-4DC7-4360-AD85-E44C2717FE81}"/>
              </a:ext>
            </a:extLst>
          </p:cNvPr>
          <p:cNvSpPr/>
          <p:nvPr/>
        </p:nvSpPr>
        <p:spPr>
          <a:xfrm>
            <a:off x="7571912" y="2870103"/>
            <a:ext cx="365601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dataflow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to centralize data preparation logic and to share commonly used data tables with many dataset creators. The use of dataflows reduces the number of data refreshes on source.</a:t>
            </a:r>
          </a:p>
        </p:txBody>
      </p:sp>
      <p:sp>
        <p:nvSpPr>
          <p:cNvPr id="51" name="Rectangle 50">
            <a:extLst>
              <a:ext uri="{FF2B5EF4-FFF2-40B4-BE49-F238E27FC236}">
                <a16:creationId xmlns:a16="http://schemas.microsoft.com/office/drawing/2014/main" id="{6B489126-7A96-44F4-A761-638DA488AF1A}"/>
              </a:ext>
            </a:extLst>
          </p:cNvPr>
          <p:cNvSpPr/>
          <p:nvPr/>
        </p:nvSpPr>
        <p:spPr>
          <a:xfrm>
            <a:off x="7800975" y="3897242"/>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feature allows for an ideal balance of self-service enablement while taking advantage of the investment in data assets that are centrally managed.</a:t>
            </a:r>
            <a:endParaRPr kumimoji="0" lang="en-IN"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DB6A43E-814A-4954-80B0-986E0DDE0DF0}"/>
              </a:ext>
            </a:extLst>
          </p:cNvPr>
          <p:cNvSpPr/>
          <p:nvPr/>
        </p:nvSpPr>
        <p:spPr>
          <a:xfrm>
            <a:off x="7593491" y="5009703"/>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the certified endorsement for datasets and dataflows to help content creators identify trustworthy sources of data.</a:t>
            </a:r>
          </a:p>
        </p:txBody>
      </p:sp>
      <p:sp>
        <p:nvSpPr>
          <p:cNvPr id="16" name="Rectangle 15">
            <a:extLst>
              <a:ext uri="{FF2B5EF4-FFF2-40B4-BE49-F238E27FC236}">
                <a16:creationId xmlns:a16="http://schemas.microsoft.com/office/drawing/2014/main" id="{ED9713B2-8C12-46D5-9EC2-6D4627C09EFE}"/>
              </a:ext>
            </a:extLst>
          </p:cNvPr>
          <p:cNvSpPr/>
          <p:nvPr/>
        </p:nvSpPr>
        <p:spPr>
          <a:xfrm>
            <a:off x="6833959" y="1677087"/>
            <a:ext cx="3200523"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Separate Model and Report Development</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557858" y="2658549"/>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Dataflow for Data Logic</a:t>
            </a:r>
          </a:p>
        </p:txBody>
      </p:sp>
      <p:sp>
        <p:nvSpPr>
          <p:cNvPr id="61" name="Rectangle 60">
            <a:extLst>
              <a:ext uri="{FF2B5EF4-FFF2-40B4-BE49-F238E27FC236}">
                <a16:creationId xmlns:a16="http://schemas.microsoft.com/office/drawing/2014/main" id="{D13E5C68-6674-440A-9119-05FBF1A6D5E8}"/>
              </a:ext>
            </a:extLst>
          </p:cNvPr>
          <p:cNvSpPr/>
          <p:nvPr/>
        </p:nvSpPr>
        <p:spPr>
          <a:xfrm>
            <a:off x="7781794" y="3694248"/>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a:t>
            </a:r>
            <a:r>
              <a:rPr kumimoji="0" lang="en-IN"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irectQuery</a:t>
            </a: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nd Azure Analysis Services</a:t>
            </a:r>
          </a:p>
        </p:txBody>
      </p:sp>
      <p:sp>
        <p:nvSpPr>
          <p:cNvPr id="62" name="Rectangle 61">
            <a:extLst>
              <a:ext uri="{FF2B5EF4-FFF2-40B4-BE49-F238E27FC236}">
                <a16:creationId xmlns:a16="http://schemas.microsoft.com/office/drawing/2014/main" id="{5E8B4A8E-542F-45BC-A4AD-C7425B15F3F6}"/>
              </a:ext>
            </a:extLst>
          </p:cNvPr>
          <p:cNvSpPr/>
          <p:nvPr/>
        </p:nvSpPr>
        <p:spPr>
          <a:xfrm>
            <a:off x="7585850" y="4823252"/>
            <a:ext cx="294322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a:t>
            </a:r>
            <a:r>
              <a:rPr kumimoji="0" lang="en-IN"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ertified</a:t>
            </a: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Endorsement</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6945" y="1706108"/>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9247" y="27543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379063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060" y="4902473"/>
            <a:ext cx="329261" cy="329261"/>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pPr defTabSz="914367"/>
            <a:r>
              <a:rPr lang="en-US" sz="4000" b="1" spc="-100">
                <a:ln w="3175">
                  <a:noFill/>
                </a:ln>
                <a:latin typeface="+mn-lt"/>
                <a:ea typeface="+mn-ea"/>
                <a:cs typeface="Segoe UI" pitchFamily="34" charset="0"/>
              </a:rPr>
              <a:t>Managed Self-Service - Guidelines for Success</a:t>
            </a:r>
          </a:p>
        </p:txBody>
      </p:sp>
    </p:spTree>
    <p:extLst>
      <p:ext uri="{BB962C8B-B14F-4D97-AF65-F5344CB8AC3E}">
        <p14:creationId xmlns:p14="http://schemas.microsoft.com/office/powerpoint/2010/main" val="3485499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Arrow: Right 16">
            <a:extLst>
              <a:ext uri="{FF2B5EF4-FFF2-40B4-BE49-F238E27FC236}">
                <a16:creationId xmlns:a16="http://schemas.microsoft.com/office/drawing/2014/main" id="{E0958B6B-F67E-4B1B-B56B-653EBD2D0147}"/>
              </a:ext>
            </a:extLst>
          </p:cNvPr>
          <p:cNvSpPr/>
          <p:nvPr/>
        </p:nvSpPr>
        <p:spPr>
          <a:xfrm>
            <a:off x="5884223" y="1176529"/>
            <a:ext cx="3741401" cy="1411693"/>
          </a:xfrm>
          <a:prstGeom prst="rightArrow">
            <a:avLst/>
          </a:prstGeom>
          <a:solidFill>
            <a:schemeClr val="tx1"/>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61" b="0" i="0" u="none" strike="noStrike" kern="1200" cap="none" spc="0" normalizeH="0" baseline="0" noProof="0">
                <a:ln>
                  <a:noFill/>
                </a:ln>
                <a:solidFill>
                  <a:prstClr val="white"/>
                </a:solidFill>
                <a:effectLst/>
                <a:uLnTx/>
                <a:uFillTx/>
                <a:latin typeface="Segoe UI"/>
                <a:ea typeface="+mn-ea"/>
                <a:cs typeface="+mn-cs"/>
              </a:rPr>
              <a:t>Business teaches Business</a:t>
            </a:r>
          </a:p>
        </p:txBody>
      </p:sp>
      <p:sp>
        <p:nvSpPr>
          <p:cNvPr id="2" name="Title 1"/>
          <p:cNvSpPr>
            <a:spLocks noGrp="1"/>
          </p:cNvSpPr>
          <p:nvPr>
            <p:ph type="title"/>
          </p:nvPr>
        </p:nvSpPr>
        <p:spPr/>
        <p:txBody>
          <a:bodyPr/>
          <a:lstStyle/>
          <a:p>
            <a:r>
              <a:rPr lang="en-GB"/>
              <a:t>Engagement Model</a:t>
            </a:r>
          </a:p>
        </p:txBody>
      </p:sp>
      <p:sp>
        <p:nvSpPr>
          <p:cNvPr id="3" name="Rectangle 2"/>
          <p:cNvSpPr/>
          <p:nvPr/>
        </p:nvSpPr>
        <p:spPr bwMode="auto">
          <a:xfrm>
            <a:off x="3235688" y="2733444"/>
            <a:ext cx="1520854" cy="14417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50% Business</a:t>
            </a:r>
          </a:p>
        </p:txBody>
      </p:sp>
      <p:sp>
        <p:nvSpPr>
          <p:cNvPr id="5" name="Rectangle 4"/>
          <p:cNvSpPr/>
          <p:nvPr/>
        </p:nvSpPr>
        <p:spPr bwMode="auto">
          <a:xfrm>
            <a:off x="3235688" y="4280670"/>
            <a:ext cx="1520854" cy="14778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50% </a:t>
            </a:r>
            <a:r>
              <a:rPr kumimoji="0" lang="en-GB"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IT/Partner</a:t>
            </a:r>
            <a:endPar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 name="Rectangle 5"/>
          <p:cNvSpPr/>
          <p:nvPr/>
        </p:nvSpPr>
        <p:spPr bwMode="auto">
          <a:xfrm>
            <a:off x="5321275" y="2733444"/>
            <a:ext cx="1520854" cy="200436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75% Business</a:t>
            </a:r>
          </a:p>
        </p:txBody>
      </p:sp>
      <p:sp>
        <p:nvSpPr>
          <p:cNvPr id="7" name="Rectangle 6"/>
          <p:cNvSpPr/>
          <p:nvPr/>
        </p:nvSpPr>
        <p:spPr bwMode="auto">
          <a:xfrm>
            <a:off x="5321275" y="4860880"/>
            <a:ext cx="1520854" cy="897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25% </a:t>
            </a:r>
            <a:r>
              <a:rPr kumimoji="0" lang="en-GB" sz="20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IT/Partner</a:t>
            </a:r>
            <a:endPar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8" name="Rectangle 7"/>
          <p:cNvSpPr/>
          <p:nvPr/>
        </p:nvSpPr>
        <p:spPr bwMode="auto">
          <a:xfrm>
            <a:off x="7406861" y="2733444"/>
            <a:ext cx="1520854" cy="24238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90% Business</a:t>
            </a:r>
          </a:p>
        </p:txBody>
      </p:sp>
      <p:sp>
        <p:nvSpPr>
          <p:cNvPr id="9" name="Rectangle 8"/>
          <p:cNvSpPr/>
          <p:nvPr/>
        </p:nvSpPr>
        <p:spPr bwMode="auto">
          <a:xfrm>
            <a:off x="7406861" y="5264830"/>
            <a:ext cx="1520854" cy="4937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10% IT/Partner</a:t>
            </a:r>
          </a:p>
        </p:txBody>
      </p:sp>
      <p:graphicFrame>
        <p:nvGraphicFramePr>
          <p:cNvPr id="12" name="Diagram 11"/>
          <p:cNvGraphicFramePr/>
          <p:nvPr/>
        </p:nvGraphicFramePr>
        <p:xfrm>
          <a:off x="2642009" y="1172639"/>
          <a:ext cx="3438673" cy="1441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3020303" y="5971219"/>
            <a:ext cx="1967247" cy="63444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Enablement</a:t>
            </a:r>
          </a:p>
        </p:txBody>
      </p:sp>
      <p:sp>
        <p:nvSpPr>
          <p:cNvPr id="13" name="TextBox 12"/>
          <p:cNvSpPr txBox="1"/>
          <p:nvPr/>
        </p:nvSpPr>
        <p:spPr>
          <a:xfrm>
            <a:off x="5346092" y="5971219"/>
            <a:ext cx="1471376" cy="627824"/>
          </a:xfrm>
          <a:prstGeom prst="rect">
            <a:avLst/>
          </a:prstGeom>
          <a:solidFill>
            <a:schemeClr val="bg1"/>
          </a:solid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upport</a:t>
            </a:r>
          </a:p>
        </p:txBody>
      </p:sp>
      <p:sp>
        <p:nvSpPr>
          <p:cNvPr id="14" name="TextBox 13"/>
          <p:cNvSpPr txBox="1"/>
          <p:nvPr/>
        </p:nvSpPr>
        <p:spPr>
          <a:xfrm>
            <a:off x="7350010" y="5971219"/>
            <a:ext cx="1640281" cy="63444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Guidance</a:t>
            </a:r>
          </a:p>
        </p:txBody>
      </p:sp>
    </p:spTree>
    <p:custDataLst>
      <p:tags r:id="rId1"/>
    </p:custDataLst>
    <p:extLst>
      <p:ext uri="{BB962C8B-B14F-4D97-AF65-F5344CB8AC3E}">
        <p14:creationId xmlns:p14="http://schemas.microsoft.com/office/powerpoint/2010/main" val="106197359"/>
      </p:ext>
    </p:extLst>
  </p:cSld>
  <p:clrMapOvr>
    <a:masterClrMapping/>
  </p:clrMapOvr>
  <mc:AlternateContent xmlns:mc="http://schemas.openxmlformats.org/markup-compatibility/2006" xmlns:p14="http://schemas.microsoft.com/office/powerpoint/2010/main">
    <mc:Choice Requires="p14">
      <p:transition spd="med" p14:dur="700" advTm="41841">
        <p:fade/>
      </p:transition>
    </mc:Choice>
    <mc:Fallback xmlns="">
      <p:transition spd="med" advTm="41841">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504933" y="2974416"/>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816221" y="2310937"/>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904555" y="437104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192186" y="370587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437603" y="578143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6737845" y="511674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757522" y="2321533"/>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3472" y="2219356"/>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6672150" y="512929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7</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130081" y="3719444"/>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725" y="361418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3162" y="5025920"/>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7298783" y="2514481"/>
            <a:ext cx="34911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lude consistent branding on all reports to indicate who produced the content and who to contact for help. </a:t>
            </a:r>
          </a:p>
        </p:txBody>
      </p:sp>
      <p:sp>
        <p:nvSpPr>
          <p:cNvPr id="48" name="Rectangle 47">
            <a:extLst>
              <a:ext uri="{FF2B5EF4-FFF2-40B4-BE49-F238E27FC236}">
                <a16:creationId xmlns:a16="http://schemas.microsoft.com/office/drawing/2014/main" id="{0F44D7C7-4DC7-4360-AD85-E44C2717FE81}"/>
              </a:ext>
            </a:extLst>
          </p:cNvPr>
          <p:cNvSpPr/>
          <p:nvPr/>
        </p:nvSpPr>
        <p:spPr>
          <a:xfrm>
            <a:off x="7694867" y="3944674"/>
            <a:ext cx="336838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approach allows for better clarity on who is responsible for content. It also allows for more restrictive </a:t>
            </a: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workspace roles</a:t>
            </a: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ssignments.</a:t>
            </a:r>
          </a:p>
        </p:txBody>
      </p:sp>
      <p:sp>
        <p:nvSpPr>
          <p:cNvPr id="51" name="Rectangle 50">
            <a:extLst>
              <a:ext uri="{FF2B5EF4-FFF2-40B4-BE49-F238E27FC236}">
                <a16:creationId xmlns:a16="http://schemas.microsoft.com/office/drawing/2014/main" id="{6B489126-7A96-44F4-A761-638DA488AF1A}"/>
              </a:ext>
            </a:extLst>
          </p:cNvPr>
          <p:cNvSpPr/>
          <p:nvPr/>
        </p:nvSpPr>
        <p:spPr>
          <a:xfrm>
            <a:off x="7222432" y="5303649"/>
            <a:ext cx="34911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the Power BI REST APIs to compile an inventory of Power BI artifacts. Analyze the ratio of datasets to reports to evaluate the extent of dataset reuse.</a:t>
            </a:r>
          </a:p>
        </p:txBody>
      </p:sp>
      <p:sp>
        <p:nvSpPr>
          <p:cNvPr id="16" name="Rectangle 15">
            <a:extLst>
              <a:ext uri="{FF2B5EF4-FFF2-40B4-BE49-F238E27FC236}">
                <a16:creationId xmlns:a16="http://schemas.microsoft.com/office/drawing/2014/main" id="{ED9713B2-8C12-46D5-9EC2-6D4627C09EFE}"/>
              </a:ext>
            </a:extLst>
          </p:cNvPr>
          <p:cNvSpPr/>
          <p:nvPr/>
        </p:nvSpPr>
        <p:spPr>
          <a:xfrm>
            <a:off x="7297018" y="2325762"/>
            <a:ext cx="3200523"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Use Consistent Branding</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680814" y="3733120"/>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parate Workspaces for Storing Data and Reports</a:t>
            </a:r>
          </a:p>
        </p:txBody>
      </p:sp>
      <p:sp>
        <p:nvSpPr>
          <p:cNvPr id="61" name="Rectangle 60">
            <a:extLst>
              <a:ext uri="{FF2B5EF4-FFF2-40B4-BE49-F238E27FC236}">
                <a16:creationId xmlns:a16="http://schemas.microsoft.com/office/drawing/2014/main" id="{D13E5C68-6674-440A-9119-05FBF1A6D5E8}"/>
              </a:ext>
            </a:extLst>
          </p:cNvPr>
          <p:cNvSpPr/>
          <p:nvPr/>
        </p:nvSpPr>
        <p:spPr>
          <a:xfrm>
            <a:off x="7203251" y="5100655"/>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Use Power BI REST API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0004" y="2354783"/>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2203" y="382888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60205" y="5197040"/>
            <a:ext cx="350520" cy="350520"/>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pPr defTabSz="914367"/>
            <a:r>
              <a:rPr lang="en-US" sz="4000" b="1" spc="-100">
                <a:ln w="3175">
                  <a:noFill/>
                </a:ln>
                <a:latin typeface="+mn-lt"/>
                <a:ea typeface="+mn-ea"/>
                <a:cs typeface="Segoe UI" pitchFamily="34" charset="0"/>
              </a:rPr>
              <a:t>Managed Self-Service - Guidelines for Success</a:t>
            </a:r>
          </a:p>
        </p:txBody>
      </p:sp>
    </p:spTree>
    <p:extLst>
      <p:ext uri="{BB962C8B-B14F-4D97-AF65-F5344CB8AC3E}">
        <p14:creationId xmlns:p14="http://schemas.microsoft.com/office/powerpoint/2010/main" val="1529410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3C4827-78D8-4CCD-8580-CA14672E2F2A}"/>
              </a:ext>
            </a:extLst>
          </p:cNvPr>
          <p:cNvSpPr>
            <a:spLocks noGrp="1"/>
          </p:cNvSpPr>
          <p:nvPr>
            <p:ph type="title"/>
          </p:nvPr>
        </p:nvSpPr>
        <p:spPr/>
        <p:txBody>
          <a:bodyPr/>
          <a:lstStyle/>
          <a:p>
            <a:r>
              <a:rPr lang="de-DE" sz="4000"/>
              <a:t>Enterprise BI: Top-Down Approach</a:t>
            </a:r>
          </a:p>
        </p:txBody>
      </p:sp>
      <p:grpSp>
        <p:nvGrpSpPr>
          <p:cNvPr id="4" name="Group 9">
            <a:extLst>
              <a:ext uri="{FF2B5EF4-FFF2-40B4-BE49-F238E27FC236}">
                <a16:creationId xmlns:a16="http://schemas.microsoft.com/office/drawing/2014/main" id="{AF4DE97A-30DF-4173-B9B0-49A28A4B61F9}"/>
              </a:ext>
            </a:extLst>
          </p:cNvPr>
          <p:cNvGrpSpPr/>
          <p:nvPr/>
        </p:nvGrpSpPr>
        <p:grpSpPr>
          <a:xfrm>
            <a:off x="4062412" y="2516351"/>
            <a:ext cx="4067175" cy="755650"/>
            <a:chOff x="642807" y="2616893"/>
            <a:chExt cx="4067175" cy="755650"/>
          </a:xfrm>
        </p:grpSpPr>
        <p:sp>
          <p:nvSpPr>
            <p:cNvPr id="64" name="Freeform 41">
              <a:extLst>
                <a:ext uri="{FF2B5EF4-FFF2-40B4-BE49-F238E27FC236}">
                  <a16:creationId xmlns:a16="http://schemas.microsoft.com/office/drawing/2014/main" id="{D2CB2F96-4280-4D2D-BEB9-66C33A7A2B5C}"/>
                </a:ext>
              </a:extLst>
            </p:cNvPr>
            <p:cNvSpPr>
              <a:spLocks noEditPoints="1"/>
            </p:cNvSpPr>
            <p:nvPr/>
          </p:nvSpPr>
          <p:spPr bwMode="auto">
            <a:xfrm>
              <a:off x="642807" y="26168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Freeform 42">
              <a:extLst>
                <a:ext uri="{FF2B5EF4-FFF2-40B4-BE49-F238E27FC236}">
                  <a16:creationId xmlns:a16="http://schemas.microsoft.com/office/drawing/2014/main" id="{22820FA3-CC2A-4542-BF0D-5C496CAC2008}"/>
                </a:ext>
              </a:extLst>
            </p:cNvPr>
            <p:cNvSpPr>
              <a:spLocks noEditPoints="1"/>
            </p:cNvSpPr>
            <p:nvPr/>
          </p:nvSpPr>
          <p:spPr bwMode="auto">
            <a:xfrm>
              <a:off x="3627307" y="2616893"/>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97F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TextBox 88">
              <a:extLst>
                <a:ext uri="{FF2B5EF4-FFF2-40B4-BE49-F238E27FC236}">
                  <a16:creationId xmlns:a16="http://schemas.microsoft.com/office/drawing/2014/main" id="{2BDA24B5-8069-4743-B7F5-95C9898E8B32}"/>
                </a:ext>
              </a:extLst>
            </p:cNvPr>
            <p:cNvSpPr txBox="1"/>
            <p:nvPr/>
          </p:nvSpPr>
          <p:spPr>
            <a:xfrm>
              <a:off x="1439664" y="2782782"/>
              <a:ext cx="232685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BI expertise to manage all the BI artifacts end-to-end.</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67" name="TextBox 121">
              <a:extLst>
                <a:ext uri="{FF2B5EF4-FFF2-40B4-BE49-F238E27FC236}">
                  <a16:creationId xmlns:a16="http://schemas.microsoft.com/office/drawing/2014/main" id="{9D7D923A-2A33-4283-A64B-8EBC0DBFF64C}"/>
                </a:ext>
              </a:extLst>
            </p:cNvPr>
            <p:cNvSpPr txBox="1"/>
            <p:nvPr/>
          </p:nvSpPr>
          <p:spPr>
            <a:xfrm>
              <a:off x="891189" y="2659672"/>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97F56"/>
                  </a:solidFill>
                  <a:effectLst/>
                  <a:uLnTx/>
                  <a:uFillTx/>
                  <a:latin typeface="Arial" panose="020B0604020202020204"/>
                  <a:ea typeface="+mn-ea"/>
                  <a:cs typeface="+mn-cs"/>
                </a:rPr>
                <a:t>2</a:t>
              </a:r>
            </a:p>
          </p:txBody>
        </p:sp>
      </p:grpSp>
      <p:grpSp>
        <p:nvGrpSpPr>
          <p:cNvPr id="5" name="Group 7">
            <a:extLst>
              <a:ext uri="{FF2B5EF4-FFF2-40B4-BE49-F238E27FC236}">
                <a16:creationId xmlns:a16="http://schemas.microsoft.com/office/drawing/2014/main" id="{8154E0EC-97F7-4DB7-B994-1B79AA822792}"/>
              </a:ext>
            </a:extLst>
          </p:cNvPr>
          <p:cNvGrpSpPr/>
          <p:nvPr/>
        </p:nvGrpSpPr>
        <p:grpSpPr>
          <a:xfrm>
            <a:off x="5323632" y="4527537"/>
            <a:ext cx="4067175" cy="755650"/>
            <a:chOff x="642807" y="4702868"/>
            <a:chExt cx="4067175" cy="755650"/>
          </a:xfrm>
        </p:grpSpPr>
        <p:sp>
          <p:nvSpPr>
            <p:cNvPr id="53" name="Freeform 47">
              <a:extLst>
                <a:ext uri="{FF2B5EF4-FFF2-40B4-BE49-F238E27FC236}">
                  <a16:creationId xmlns:a16="http://schemas.microsoft.com/office/drawing/2014/main" id="{6B6A74C9-C730-4A40-AD91-B9507A8746D3}"/>
                </a:ext>
              </a:extLst>
            </p:cNvPr>
            <p:cNvSpPr>
              <a:spLocks noEditPoints="1"/>
            </p:cNvSpPr>
            <p:nvPr/>
          </p:nvSpPr>
          <p:spPr bwMode="auto">
            <a:xfrm>
              <a:off x="642807" y="470286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Freeform 48">
              <a:extLst>
                <a:ext uri="{FF2B5EF4-FFF2-40B4-BE49-F238E27FC236}">
                  <a16:creationId xmlns:a16="http://schemas.microsoft.com/office/drawing/2014/main" id="{D5CC3496-04B0-42ED-A2D4-792B482D1762}"/>
                </a:ext>
              </a:extLst>
            </p:cNvPr>
            <p:cNvSpPr>
              <a:spLocks noEditPoints="1"/>
            </p:cNvSpPr>
            <p:nvPr/>
          </p:nvSpPr>
          <p:spPr bwMode="auto">
            <a:xfrm>
              <a:off x="3627307" y="470286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4 h 258"/>
                <a:gd name="T18" fmla="*/ 129 w 369"/>
                <a:gd name="T19" fmla="*/ 130 h 258"/>
                <a:gd name="T20" fmla="*/ 233 w 369"/>
                <a:gd name="T21" fmla="*/ 26 h 258"/>
                <a:gd name="T22" fmla="*/ 337 w 369"/>
                <a:gd name="T23" fmla="*/ 130 h 258"/>
                <a:gd name="T24" fmla="*/ 233 w 369"/>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DA8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55" name="Group 152">
              <a:extLst>
                <a:ext uri="{FF2B5EF4-FFF2-40B4-BE49-F238E27FC236}">
                  <a16:creationId xmlns:a16="http://schemas.microsoft.com/office/drawing/2014/main" id="{11937A0E-0F59-4C84-AEF4-09C1577D357E}"/>
                </a:ext>
              </a:extLst>
            </p:cNvPr>
            <p:cNvGrpSpPr/>
            <p:nvPr/>
          </p:nvGrpSpPr>
          <p:grpSpPr>
            <a:xfrm>
              <a:off x="1389485" y="4803694"/>
              <a:ext cx="2353783" cy="553998"/>
              <a:chOff x="4805916" y="4872851"/>
              <a:chExt cx="2353783" cy="553998"/>
            </a:xfrm>
          </p:grpSpPr>
          <p:sp>
            <p:nvSpPr>
              <p:cNvPr id="62" name="TextBox 91">
                <a:extLst>
                  <a:ext uri="{FF2B5EF4-FFF2-40B4-BE49-F238E27FC236}">
                    <a16:creationId xmlns:a16="http://schemas.microsoft.com/office/drawing/2014/main" id="{51D83DD3-7EBC-4728-99E3-BA23C173C6EF}"/>
                  </a:ext>
                </a:extLst>
              </p:cNvPr>
              <p:cNvSpPr txBox="1"/>
              <p:nvPr/>
            </p:nvSpPr>
            <p:spPr>
              <a:xfrm>
                <a:off x="4805916" y="4991346"/>
                <a:ext cx="2296633"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ysClr val="window" lastClr="FFFFFF">
                      <a:lumMod val="65000"/>
                    </a:sysClr>
                  </a:solidFill>
                  <a:effectLst/>
                  <a:uLnTx/>
                  <a:uFillTx/>
                  <a:latin typeface="Arial" panose="020B0604020202020204"/>
                  <a:ea typeface="+mn-ea"/>
                  <a:cs typeface="+mn-cs"/>
                </a:endParaRPr>
              </a:p>
            </p:txBody>
          </p:sp>
          <p:sp>
            <p:nvSpPr>
              <p:cNvPr id="63" name="TextBox 92">
                <a:extLst>
                  <a:ext uri="{FF2B5EF4-FFF2-40B4-BE49-F238E27FC236}">
                    <a16:creationId xmlns:a16="http://schemas.microsoft.com/office/drawing/2014/main" id="{81F3ECED-992F-4823-A388-584249E49DED}"/>
                  </a:ext>
                </a:extLst>
              </p:cNvPr>
              <p:cNvSpPr txBox="1"/>
              <p:nvPr/>
            </p:nvSpPr>
            <p:spPr>
              <a:xfrm>
                <a:off x="4863066" y="4872851"/>
                <a:ext cx="2296633"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Limited access to content ownership and direct access to data.</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grpSp>
        <p:sp>
          <p:nvSpPr>
            <p:cNvPr id="56" name="TextBox 123">
              <a:extLst>
                <a:ext uri="{FF2B5EF4-FFF2-40B4-BE49-F238E27FC236}">
                  <a16:creationId xmlns:a16="http://schemas.microsoft.com/office/drawing/2014/main" id="{0C9E3942-C02D-4097-BCB6-D50F4E83CCAB}"/>
                </a:ext>
              </a:extLst>
            </p:cNvPr>
            <p:cNvSpPr txBox="1"/>
            <p:nvPr/>
          </p:nvSpPr>
          <p:spPr>
            <a:xfrm>
              <a:off x="891189" y="4758097"/>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DA856"/>
                  </a:solidFill>
                  <a:effectLst/>
                  <a:uLnTx/>
                  <a:uFillTx/>
                  <a:latin typeface="Arial" panose="020B0604020202020204"/>
                  <a:ea typeface="+mn-ea"/>
                  <a:cs typeface="+mn-cs"/>
                </a:rPr>
                <a:t>4</a:t>
              </a:r>
            </a:p>
          </p:txBody>
        </p:sp>
      </p:grpSp>
      <p:grpSp>
        <p:nvGrpSpPr>
          <p:cNvPr id="6" name="Group 6">
            <a:extLst>
              <a:ext uri="{FF2B5EF4-FFF2-40B4-BE49-F238E27FC236}">
                <a16:creationId xmlns:a16="http://schemas.microsoft.com/office/drawing/2014/main" id="{6F6F0B55-CC97-490B-A291-C77C92C3A300}"/>
              </a:ext>
            </a:extLst>
          </p:cNvPr>
          <p:cNvGrpSpPr/>
          <p:nvPr/>
        </p:nvGrpSpPr>
        <p:grpSpPr>
          <a:xfrm>
            <a:off x="6006818" y="5533130"/>
            <a:ext cx="4067175" cy="754063"/>
            <a:chOff x="642807" y="5750618"/>
            <a:chExt cx="4067175" cy="754063"/>
          </a:xfrm>
        </p:grpSpPr>
        <p:sp>
          <p:nvSpPr>
            <p:cNvPr id="43" name="Freeform 50">
              <a:extLst>
                <a:ext uri="{FF2B5EF4-FFF2-40B4-BE49-F238E27FC236}">
                  <a16:creationId xmlns:a16="http://schemas.microsoft.com/office/drawing/2014/main" id="{0B478D64-B613-44D0-B683-80C01F3035A6}"/>
                </a:ext>
              </a:extLst>
            </p:cNvPr>
            <p:cNvSpPr>
              <a:spLocks noEditPoints="1"/>
            </p:cNvSpPr>
            <p:nvPr/>
          </p:nvSpPr>
          <p:spPr bwMode="auto">
            <a:xfrm>
              <a:off x="642807" y="5750618"/>
              <a:ext cx="4059238" cy="754063"/>
            </a:xfrm>
            <a:custGeom>
              <a:avLst/>
              <a:gdLst>
                <a:gd name="T0" fmla="*/ 1271 w 1383"/>
                <a:gd name="T1" fmla="*/ 0 h 257"/>
                <a:gd name="T2" fmla="*/ 111 w 1383"/>
                <a:gd name="T3" fmla="*/ 0 h 257"/>
                <a:gd name="T4" fmla="*/ 33 w 1383"/>
                <a:gd name="T5" fmla="*/ 37 h 257"/>
                <a:gd name="T6" fmla="*/ 0 w 1383"/>
                <a:gd name="T7" fmla="*/ 128 h 257"/>
                <a:gd name="T8" fmla="*/ 111 w 1383"/>
                <a:gd name="T9" fmla="*/ 257 h 257"/>
                <a:gd name="T10" fmla="*/ 1271 w 1383"/>
                <a:gd name="T11" fmla="*/ 257 h 257"/>
                <a:gd name="T12" fmla="*/ 1383 w 1383"/>
                <a:gd name="T13" fmla="*/ 128 h 257"/>
                <a:gd name="T14" fmla="*/ 1271 w 1383"/>
                <a:gd name="T15" fmla="*/ 0 h 257"/>
                <a:gd name="T16" fmla="*/ 1250 w 1383"/>
                <a:gd name="T17" fmla="*/ 234 h 257"/>
                <a:gd name="T18" fmla="*/ 1146 w 1383"/>
                <a:gd name="T19" fmla="*/ 130 h 257"/>
                <a:gd name="T20" fmla="*/ 1250 w 1383"/>
                <a:gd name="T21" fmla="*/ 26 h 257"/>
                <a:gd name="T22" fmla="*/ 1354 w 1383"/>
                <a:gd name="T23" fmla="*/ 130 h 257"/>
                <a:gd name="T24" fmla="*/ 1250 w 1383"/>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7">
                  <a:moveTo>
                    <a:pt x="1271" y="0"/>
                  </a:moveTo>
                  <a:cubicBezTo>
                    <a:pt x="111" y="0"/>
                    <a:pt x="111" y="0"/>
                    <a:pt x="111" y="0"/>
                  </a:cubicBezTo>
                  <a:cubicBezTo>
                    <a:pt x="81" y="0"/>
                    <a:pt x="53" y="14"/>
                    <a:pt x="33" y="37"/>
                  </a:cubicBezTo>
                  <a:cubicBezTo>
                    <a:pt x="12" y="61"/>
                    <a:pt x="0" y="93"/>
                    <a:pt x="0" y="128"/>
                  </a:cubicBezTo>
                  <a:cubicBezTo>
                    <a:pt x="0" y="200"/>
                    <a:pt x="50" y="257"/>
                    <a:pt x="111" y="257"/>
                  </a:cubicBezTo>
                  <a:cubicBezTo>
                    <a:pt x="1271" y="257"/>
                    <a:pt x="1271" y="257"/>
                    <a:pt x="1271" y="257"/>
                  </a:cubicBezTo>
                  <a:cubicBezTo>
                    <a:pt x="1333" y="257"/>
                    <a:pt x="1383" y="200"/>
                    <a:pt x="1383" y="128"/>
                  </a:cubicBezTo>
                  <a:cubicBezTo>
                    <a:pt x="1383" y="57"/>
                    <a:pt x="1333" y="0"/>
                    <a:pt x="1271" y="0"/>
                  </a:cubicBezTo>
                  <a:close/>
                  <a:moveTo>
                    <a:pt x="1250" y="234"/>
                  </a:moveTo>
                  <a:cubicBezTo>
                    <a:pt x="1193" y="234"/>
                    <a:pt x="1146" y="187"/>
                    <a:pt x="1146" y="130"/>
                  </a:cubicBezTo>
                  <a:cubicBezTo>
                    <a:pt x="1146" y="72"/>
                    <a:pt x="1193" y="26"/>
                    <a:pt x="1250" y="26"/>
                  </a:cubicBezTo>
                  <a:cubicBezTo>
                    <a:pt x="1308" y="26"/>
                    <a:pt x="1354" y="72"/>
                    <a:pt x="1354" y="130"/>
                  </a:cubicBezTo>
                  <a:cubicBezTo>
                    <a:pt x="1354" y="187"/>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Freeform 51">
              <a:extLst>
                <a:ext uri="{FF2B5EF4-FFF2-40B4-BE49-F238E27FC236}">
                  <a16:creationId xmlns:a16="http://schemas.microsoft.com/office/drawing/2014/main" id="{C0A71DE8-4F24-41C4-A920-B06E7B5C2698}"/>
                </a:ext>
              </a:extLst>
            </p:cNvPr>
            <p:cNvSpPr>
              <a:spLocks noEditPoints="1"/>
            </p:cNvSpPr>
            <p:nvPr/>
          </p:nvSpPr>
          <p:spPr bwMode="auto">
            <a:xfrm>
              <a:off x="3627307" y="5750618"/>
              <a:ext cx="1082675" cy="754063"/>
            </a:xfrm>
            <a:custGeom>
              <a:avLst/>
              <a:gdLst>
                <a:gd name="T0" fmla="*/ 258 w 369"/>
                <a:gd name="T1" fmla="*/ 0 h 257"/>
                <a:gd name="T2" fmla="*/ 0 w 369"/>
                <a:gd name="T3" fmla="*/ 0 h 257"/>
                <a:gd name="T4" fmla="*/ 74 w 369"/>
                <a:gd name="T5" fmla="*/ 128 h 257"/>
                <a:gd name="T6" fmla="*/ 148 w 369"/>
                <a:gd name="T7" fmla="*/ 257 h 257"/>
                <a:gd name="T8" fmla="*/ 258 w 369"/>
                <a:gd name="T9" fmla="*/ 257 h 257"/>
                <a:gd name="T10" fmla="*/ 337 w 369"/>
                <a:gd name="T11" fmla="*/ 220 h 257"/>
                <a:gd name="T12" fmla="*/ 369 w 369"/>
                <a:gd name="T13" fmla="*/ 128 h 257"/>
                <a:gd name="T14" fmla="*/ 258 w 369"/>
                <a:gd name="T15" fmla="*/ 0 h 257"/>
                <a:gd name="T16" fmla="*/ 233 w 369"/>
                <a:gd name="T17" fmla="*/ 234 h 257"/>
                <a:gd name="T18" fmla="*/ 129 w 369"/>
                <a:gd name="T19" fmla="*/ 130 h 257"/>
                <a:gd name="T20" fmla="*/ 233 w 369"/>
                <a:gd name="T21" fmla="*/ 26 h 257"/>
                <a:gd name="T22" fmla="*/ 337 w 369"/>
                <a:gd name="T23" fmla="*/ 130 h 257"/>
                <a:gd name="T24" fmla="*/ 233 w 369"/>
                <a:gd name="T25" fmla="*/ 23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7">
                  <a:moveTo>
                    <a:pt x="258" y="0"/>
                  </a:moveTo>
                  <a:cubicBezTo>
                    <a:pt x="0" y="0"/>
                    <a:pt x="0" y="0"/>
                    <a:pt x="0" y="0"/>
                  </a:cubicBezTo>
                  <a:cubicBezTo>
                    <a:pt x="45" y="25"/>
                    <a:pt x="74" y="73"/>
                    <a:pt x="74" y="128"/>
                  </a:cubicBezTo>
                  <a:cubicBezTo>
                    <a:pt x="74" y="183"/>
                    <a:pt x="104" y="231"/>
                    <a:pt x="148" y="257"/>
                  </a:cubicBezTo>
                  <a:cubicBezTo>
                    <a:pt x="258" y="257"/>
                    <a:pt x="258" y="257"/>
                    <a:pt x="258" y="257"/>
                  </a:cubicBezTo>
                  <a:cubicBezTo>
                    <a:pt x="289" y="257"/>
                    <a:pt x="317" y="243"/>
                    <a:pt x="337" y="220"/>
                  </a:cubicBezTo>
                  <a:cubicBezTo>
                    <a:pt x="357" y="196"/>
                    <a:pt x="369" y="164"/>
                    <a:pt x="369" y="128"/>
                  </a:cubicBezTo>
                  <a:cubicBezTo>
                    <a:pt x="369" y="57"/>
                    <a:pt x="320" y="0"/>
                    <a:pt x="258" y="0"/>
                  </a:cubicBezTo>
                  <a:close/>
                  <a:moveTo>
                    <a:pt x="233" y="234"/>
                  </a:moveTo>
                  <a:cubicBezTo>
                    <a:pt x="176" y="234"/>
                    <a:pt x="129" y="187"/>
                    <a:pt x="129" y="130"/>
                  </a:cubicBezTo>
                  <a:cubicBezTo>
                    <a:pt x="129" y="72"/>
                    <a:pt x="176" y="26"/>
                    <a:pt x="233" y="26"/>
                  </a:cubicBezTo>
                  <a:cubicBezTo>
                    <a:pt x="291" y="26"/>
                    <a:pt x="337" y="72"/>
                    <a:pt x="337" y="130"/>
                  </a:cubicBezTo>
                  <a:cubicBezTo>
                    <a:pt x="337" y="187"/>
                    <a:pt x="291" y="234"/>
                    <a:pt x="233" y="234"/>
                  </a:cubicBezTo>
                  <a:close/>
                </a:path>
              </a:pathLst>
            </a:custGeom>
            <a:solidFill>
              <a:srgbClr val="EFC3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TextBox 100">
              <a:extLst>
                <a:ext uri="{FF2B5EF4-FFF2-40B4-BE49-F238E27FC236}">
                  <a16:creationId xmlns:a16="http://schemas.microsoft.com/office/drawing/2014/main" id="{DD83C048-6AFA-4FC8-8319-CB2E286CB8CF}"/>
                </a:ext>
              </a:extLst>
            </p:cNvPr>
            <p:cNvSpPr txBox="1"/>
            <p:nvPr/>
          </p:nvSpPr>
          <p:spPr>
            <a:xfrm>
              <a:off x="1332335" y="6004537"/>
              <a:ext cx="227133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High sensitivity of the data</a:t>
              </a:r>
            </a:p>
          </p:txBody>
        </p:sp>
        <p:sp>
          <p:nvSpPr>
            <p:cNvPr id="46" name="TextBox 124">
              <a:extLst>
                <a:ext uri="{FF2B5EF4-FFF2-40B4-BE49-F238E27FC236}">
                  <a16:creationId xmlns:a16="http://schemas.microsoft.com/office/drawing/2014/main" id="{A770071C-CCD3-49D6-9089-3C5791255F5D}"/>
                </a:ext>
              </a:extLst>
            </p:cNvPr>
            <p:cNvSpPr txBox="1"/>
            <p:nvPr/>
          </p:nvSpPr>
          <p:spPr>
            <a:xfrm>
              <a:off x="891189" y="580448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C356"/>
                  </a:solidFill>
                  <a:effectLst/>
                  <a:uLnTx/>
                  <a:uFillTx/>
                  <a:latin typeface="Arial" panose="020B0604020202020204"/>
                  <a:ea typeface="+mn-ea"/>
                  <a:cs typeface="+mn-cs"/>
                </a:rPr>
                <a:t>5</a:t>
              </a:r>
            </a:p>
          </p:txBody>
        </p:sp>
      </p:grpSp>
      <p:grpSp>
        <p:nvGrpSpPr>
          <p:cNvPr id="7" name="Group 8">
            <a:extLst>
              <a:ext uri="{FF2B5EF4-FFF2-40B4-BE49-F238E27FC236}">
                <a16:creationId xmlns:a16="http://schemas.microsoft.com/office/drawing/2014/main" id="{4E1D32C4-E7E9-4E11-B1D9-BB04F2EA04D9}"/>
              </a:ext>
            </a:extLst>
          </p:cNvPr>
          <p:cNvGrpSpPr/>
          <p:nvPr/>
        </p:nvGrpSpPr>
        <p:grpSpPr>
          <a:xfrm>
            <a:off x="4767666" y="3521944"/>
            <a:ext cx="4067175" cy="755650"/>
            <a:chOff x="642807" y="3670993"/>
            <a:chExt cx="4067175" cy="755650"/>
          </a:xfrm>
        </p:grpSpPr>
        <p:sp>
          <p:nvSpPr>
            <p:cNvPr id="31" name="Freeform 44">
              <a:extLst>
                <a:ext uri="{FF2B5EF4-FFF2-40B4-BE49-F238E27FC236}">
                  <a16:creationId xmlns:a16="http://schemas.microsoft.com/office/drawing/2014/main" id="{54FE3325-8BE3-471E-92D9-8FBDE0EF6D88}"/>
                </a:ext>
              </a:extLst>
            </p:cNvPr>
            <p:cNvSpPr>
              <a:spLocks noEditPoints="1"/>
            </p:cNvSpPr>
            <p:nvPr/>
          </p:nvSpPr>
          <p:spPr bwMode="auto">
            <a:xfrm>
              <a:off x="642807" y="3670993"/>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4 h 258"/>
                <a:gd name="T18" fmla="*/ 1146 w 1383"/>
                <a:gd name="T19" fmla="*/ 130 h 258"/>
                <a:gd name="T20" fmla="*/ 1250 w 1383"/>
                <a:gd name="T21" fmla="*/ 26 h 258"/>
                <a:gd name="T22" fmla="*/ 1354 w 1383"/>
                <a:gd name="T23" fmla="*/ 130 h 258"/>
                <a:gd name="T24" fmla="*/ 1250 w 1383"/>
                <a:gd name="T25"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3"/>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4"/>
                  </a:moveTo>
                  <a:cubicBezTo>
                    <a:pt x="1193" y="234"/>
                    <a:pt x="1146" y="188"/>
                    <a:pt x="1146" y="130"/>
                  </a:cubicBezTo>
                  <a:cubicBezTo>
                    <a:pt x="1146" y="73"/>
                    <a:pt x="1193" y="26"/>
                    <a:pt x="1250" y="26"/>
                  </a:cubicBezTo>
                  <a:cubicBezTo>
                    <a:pt x="1308" y="26"/>
                    <a:pt x="1354" y="73"/>
                    <a:pt x="1354" y="130"/>
                  </a:cubicBezTo>
                  <a:cubicBezTo>
                    <a:pt x="1354" y="188"/>
                    <a:pt x="1308" y="234"/>
                    <a:pt x="1250" y="234"/>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Freeform 45">
              <a:extLst>
                <a:ext uri="{FF2B5EF4-FFF2-40B4-BE49-F238E27FC236}">
                  <a16:creationId xmlns:a16="http://schemas.microsoft.com/office/drawing/2014/main" id="{EE9DBF36-2130-4207-AB17-FAB20D30D751}"/>
                </a:ext>
              </a:extLst>
            </p:cNvPr>
            <p:cNvSpPr>
              <a:spLocks noEditPoints="1"/>
            </p:cNvSpPr>
            <p:nvPr/>
          </p:nvSpPr>
          <p:spPr bwMode="auto">
            <a:xfrm>
              <a:off x="3627307" y="3670993"/>
              <a:ext cx="1082675" cy="755650"/>
            </a:xfrm>
            <a:custGeom>
              <a:avLst/>
              <a:gdLst>
                <a:gd name="T0" fmla="*/ 258 w 369"/>
                <a:gd name="T1" fmla="*/ 0 h 258"/>
                <a:gd name="T2" fmla="*/ 0 w 369"/>
                <a:gd name="T3" fmla="*/ 0 h 258"/>
                <a:gd name="T4" fmla="*/ 0 w 369"/>
                <a:gd name="T5" fmla="*/ 0 h 258"/>
                <a:gd name="T6" fmla="*/ 74 w 369"/>
                <a:gd name="T7" fmla="*/ 129 h 258"/>
                <a:gd name="T8" fmla="*/ 148 w 369"/>
                <a:gd name="T9" fmla="*/ 258 h 258"/>
                <a:gd name="T10" fmla="*/ 258 w 369"/>
                <a:gd name="T11" fmla="*/ 258 h 258"/>
                <a:gd name="T12" fmla="*/ 337 w 369"/>
                <a:gd name="T13" fmla="*/ 220 h 258"/>
                <a:gd name="T14" fmla="*/ 369 w 369"/>
                <a:gd name="T15" fmla="*/ 129 h 258"/>
                <a:gd name="T16" fmla="*/ 258 w 369"/>
                <a:gd name="T17" fmla="*/ 0 h 258"/>
                <a:gd name="T18" fmla="*/ 233 w 369"/>
                <a:gd name="T19" fmla="*/ 234 h 258"/>
                <a:gd name="T20" fmla="*/ 129 w 369"/>
                <a:gd name="T21" fmla="*/ 130 h 258"/>
                <a:gd name="T22" fmla="*/ 233 w 369"/>
                <a:gd name="T23" fmla="*/ 26 h 258"/>
                <a:gd name="T24" fmla="*/ 337 w 369"/>
                <a:gd name="T25" fmla="*/ 130 h 258"/>
                <a:gd name="T26" fmla="*/ 233 w 369"/>
                <a:gd name="T27"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9" h="258">
                  <a:moveTo>
                    <a:pt x="258" y="0"/>
                  </a:moveTo>
                  <a:cubicBezTo>
                    <a:pt x="0" y="0"/>
                    <a:pt x="0" y="0"/>
                    <a:pt x="0" y="0"/>
                  </a:cubicBez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4"/>
                  </a:moveTo>
                  <a:cubicBezTo>
                    <a:pt x="176" y="234"/>
                    <a:pt x="129" y="188"/>
                    <a:pt x="129" y="130"/>
                  </a:cubicBezTo>
                  <a:cubicBezTo>
                    <a:pt x="129" y="73"/>
                    <a:pt x="176" y="26"/>
                    <a:pt x="233" y="26"/>
                  </a:cubicBezTo>
                  <a:cubicBezTo>
                    <a:pt x="291" y="26"/>
                    <a:pt x="337" y="73"/>
                    <a:pt x="337" y="130"/>
                  </a:cubicBezTo>
                  <a:cubicBezTo>
                    <a:pt x="337" y="188"/>
                    <a:pt x="291" y="234"/>
                    <a:pt x="233" y="234"/>
                  </a:cubicBezTo>
                  <a:close/>
                </a:path>
              </a:pathLst>
            </a:custGeom>
            <a:solidFill>
              <a:srgbClr val="EA965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TextBox 90">
              <a:extLst>
                <a:ext uri="{FF2B5EF4-FFF2-40B4-BE49-F238E27FC236}">
                  <a16:creationId xmlns:a16="http://schemas.microsoft.com/office/drawing/2014/main" id="{A60AEA97-B0C1-42AB-B495-C0AD86F84B7D}"/>
                </a:ext>
              </a:extLst>
            </p:cNvPr>
            <p:cNvSpPr txBox="1"/>
            <p:nvPr/>
          </p:nvSpPr>
          <p:spPr>
            <a:xfrm>
              <a:off x="1378198" y="3834606"/>
              <a:ext cx="224910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rPr>
                <a:t>Well-defined content needs of consumers.</a:t>
              </a:r>
              <a:endParaRPr kumimoji="0" lang="en-IN" sz="1000" b="1" i="0" u="none" strike="noStrike" kern="1200" cap="none" spc="0" normalizeH="0" baseline="0" noProof="0">
                <a:ln>
                  <a:noFill/>
                </a:ln>
                <a:solidFill>
                  <a:sysClr val="window" lastClr="FFFFFF">
                    <a:lumMod val="85000"/>
                  </a:sysClr>
                </a:solidFill>
                <a:effectLst/>
                <a:uLnTx/>
                <a:uFillTx/>
                <a:latin typeface="Arial" panose="020B0604020202020204"/>
                <a:ea typeface="+mn-ea"/>
                <a:cs typeface="+mn-cs"/>
              </a:endParaRPr>
            </a:p>
          </p:txBody>
        </p:sp>
        <p:sp>
          <p:nvSpPr>
            <p:cNvPr id="34" name="TextBox 122">
              <a:extLst>
                <a:ext uri="{FF2B5EF4-FFF2-40B4-BE49-F238E27FC236}">
                  <a16:creationId xmlns:a16="http://schemas.microsoft.com/office/drawing/2014/main" id="{AEB9699F-5A0D-4BEC-A172-E0CAAA8632E1}"/>
                </a:ext>
              </a:extLst>
            </p:cNvPr>
            <p:cNvSpPr txBox="1"/>
            <p:nvPr/>
          </p:nvSpPr>
          <p:spPr>
            <a:xfrm>
              <a:off x="891189" y="3723943"/>
              <a:ext cx="441146" cy="646331"/>
            </a:xfrm>
            <a:prstGeom prst="rect">
              <a:avLst/>
            </a:prstGeom>
            <a:noFill/>
            <a:effectLst>
              <a:outerShdw blurRad="50800" dist="38100" dir="13500000" algn="br" rotWithShape="0">
                <a:prstClr val="black">
                  <a:alpha val="40000"/>
                </a:prstClr>
              </a:outerShdw>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A9656"/>
                  </a:solidFill>
                  <a:effectLst/>
                  <a:uLnTx/>
                  <a:uFillTx/>
                  <a:latin typeface="Arial" panose="020B0604020202020204"/>
                  <a:ea typeface="+mn-ea"/>
                  <a:cs typeface="+mn-cs"/>
                </a:rPr>
                <a:t>3</a:t>
              </a:r>
            </a:p>
          </p:txBody>
        </p:sp>
      </p:grpSp>
      <p:grpSp>
        <p:nvGrpSpPr>
          <p:cNvPr id="8" name="Group 10">
            <a:extLst>
              <a:ext uri="{FF2B5EF4-FFF2-40B4-BE49-F238E27FC236}">
                <a16:creationId xmlns:a16="http://schemas.microsoft.com/office/drawing/2014/main" id="{7E112E5E-8617-4D99-9268-9060681E37B3}"/>
              </a:ext>
            </a:extLst>
          </p:cNvPr>
          <p:cNvGrpSpPr/>
          <p:nvPr/>
        </p:nvGrpSpPr>
        <p:grpSpPr>
          <a:xfrm>
            <a:off x="3411884" y="1510758"/>
            <a:ext cx="4067175" cy="755650"/>
            <a:chOff x="642807" y="1521518"/>
            <a:chExt cx="4067175" cy="755650"/>
          </a:xfrm>
        </p:grpSpPr>
        <p:sp>
          <p:nvSpPr>
            <p:cNvPr id="23" name="Freeform 39">
              <a:extLst>
                <a:ext uri="{FF2B5EF4-FFF2-40B4-BE49-F238E27FC236}">
                  <a16:creationId xmlns:a16="http://schemas.microsoft.com/office/drawing/2014/main" id="{C1DBF6C5-F41B-4278-A201-A12B7E30890B}"/>
                </a:ext>
              </a:extLst>
            </p:cNvPr>
            <p:cNvSpPr>
              <a:spLocks noEditPoints="1"/>
            </p:cNvSpPr>
            <p:nvPr/>
          </p:nvSpPr>
          <p:spPr bwMode="auto">
            <a:xfrm>
              <a:off x="642807" y="1521518"/>
              <a:ext cx="4059238" cy="755650"/>
            </a:xfrm>
            <a:custGeom>
              <a:avLst/>
              <a:gdLst>
                <a:gd name="T0" fmla="*/ 1271 w 1383"/>
                <a:gd name="T1" fmla="*/ 0 h 258"/>
                <a:gd name="T2" fmla="*/ 111 w 1383"/>
                <a:gd name="T3" fmla="*/ 0 h 258"/>
                <a:gd name="T4" fmla="*/ 33 w 1383"/>
                <a:gd name="T5" fmla="*/ 38 h 258"/>
                <a:gd name="T6" fmla="*/ 0 w 1383"/>
                <a:gd name="T7" fmla="*/ 129 h 258"/>
                <a:gd name="T8" fmla="*/ 111 w 1383"/>
                <a:gd name="T9" fmla="*/ 258 h 258"/>
                <a:gd name="T10" fmla="*/ 1271 w 1383"/>
                <a:gd name="T11" fmla="*/ 258 h 258"/>
                <a:gd name="T12" fmla="*/ 1383 w 1383"/>
                <a:gd name="T13" fmla="*/ 129 h 258"/>
                <a:gd name="T14" fmla="*/ 1271 w 1383"/>
                <a:gd name="T15" fmla="*/ 0 h 258"/>
                <a:gd name="T16" fmla="*/ 1250 w 1383"/>
                <a:gd name="T17" fmla="*/ 235 h 258"/>
                <a:gd name="T18" fmla="*/ 1146 w 1383"/>
                <a:gd name="T19" fmla="*/ 131 h 258"/>
                <a:gd name="T20" fmla="*/ 1250 w 1383"/>
                <a:gd name="T21" fmla="*/ 27 h 258"/>
                <a:gd name="T22" fmla="*/ 1354 w 1383"/>
                <a:gd name="T23" fmla="*/ 131 h 258"/>
                <a:gd name="T24" fmla="*/ 1250 w 1383"/>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3" h="258">
                  <a:moveTo>
                    <a:pt x="1271" y="0"/>
                  </a:moveTo>
                  <a:cubicBezTo>
                    <a:pt x="111" y="0"/>
                    <a:pt x="111" y="0"/>
                    <a:pt x="111" y="0"/>
                  </a:cubicBezTo>
                  <a:cubicBezTo>
                    <a:pt x="81" y="0"/>
                    <a:pt x="53" y="15"/>
                    <a:pt x="33" y="38"/>
                  </a:cubicBezTo>
                  <a:cubicBezTo>
                    <a:pt x="12" y="61"/>
                    <a:pt x="0" y="94"/>
                    <a:pt x="0" y="129"/>
                  </a:cubicBezTo>
                  <a:cubicBezTo>
                    <a:pt x="0" y="200"/>
                    <a:pt x="50" y="258"/>
                    <a:pt x="111" y="258"/>
                  </a:cubicBezTo>
                  <a:cubicBezTo>
                    <a:pt x="1271" y="258"/>
                    <a:pt x="1271" y="258"/>
                    <a:pt x="1271" y="258"/>
                  </a:cubicBezTo>
                  <a:cubicBezTo>
                    <a:pt x="1333" y="258"/>
                    <a:pt x="1383" y="200"/>
                    <a:pt x="1383" y="129"/>
                  </a:cubicBezTo>
                  <a:cubicBezTo>
                    <a:pt x="1383" y="58"/>
                    <a:pt x="1333" y="0"/>
                    <a:pt x="1271" y="0"/>
                  </a:cubicBezTo>
                  <a:close/>
                  <a:moveTo>
                    <a:pt x="1250" y="235"/>
                  </a:moveTo>
                  <a:cubicBezTo>
                    <a:pt x="1193" y="235"/>
                    <a:pt x="1146" y="188"/>
                    <a:pt x="1146" y="131"/>
                  </a:cubicBezTo>
                  <a:cubicBezTo>
                    <a:pt x="1146" y="73"/>
                    <a:pt x="1193" y="27"/>
                    <a:pt x="1250" y="27"/>
                  </a:cubicBezTo>
                  <a:cubicBezTo>
                    <a:pt x="1308" y="27"/>
                    <a:pt x="1354" y="73"/>
                    <a:pt x="1354" y="131"/>
                  </a:cubicBezTo>
                  <a:cubicBezTo>
                    <a:pt x="1354" y="188"/>
                    <a:pt x="1308" y="235"/>
                    <a:pt x="1250" y="235"/>
                  </a:cubicBezTo>
                  <a:close/>
                </a:path>
              </a:pathLst>
            </a:custGeom>
            <a:solidFill>
              <a:srgbClr val="3A3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24" name="Freeform 40">
              <a:extLst>
                <a:ext uri="{FF2B5EF4-FFF2-40B4-BE49-F238E27FC236}">
                  <a16:creationId xmlns:a16="http://schemas.microsoft.com/office/drawing/2014/main" id="{2C9010C4-8163-465B-B901-FD6C69D21442}"/>
                </a:ext>
              </a:extLst>
            </p:cNvPr>
            <p:cNvSpPr>
              <a:spLocks noEditPoints="1"/>
            </p:cNvSpPr>
            <p:nvPr/>
          </p:nvSpPr>
          <p:spPr bwMode="auto">
            <a:xfrm>
              <a:off x="3627307" y="1521518"/>
              <a:ext cx="1082675" cy="755650"/>
            </a:xfrm>
            <a:custGeom>
              <a:avLst/>
              <a:gdLst>
                <a:gd name="T0" fmla="*/ 258 w 369"/>
                <a:gd name="T1" fmla="*/ 0 h 258"/>
                <a:gd name="T2" fmla="*/ 0 w 369"/>
                <a:gd name="T3" fmla="*/ 0 h 258"/>
                <a:gd name="T4" fmla="*/ 74 w 369"/>
                <a:gd name="T5" fmla="*/ 129 h 258"/>
                <a:gd name="T6" fmla="*/ 148 w 369"/>
                <a:gd name="T7" fmla="*/ 258 h 258"/>
                <a:gd name="T8" fmla="*/ 258 w 369"/>
                <a:gd name="T9" fmla="*/ 258 h 258"/>
                <a:gd name="T10" fmla="*/ 337 w 369"/>
                <a:gd name="T11" fmla="*/ 220 h 258"/>
                <a:gd name="T12" fmla="*/ 369 w 369"/>
                <a:gd name="T13" fmla="*/ 129 h 258"/>
                <a:gd name="T14" fmla="*/ 258 w 369"/>
                <a:gd name="T15" fmla="*/ 0 h 258"/>
                <a:gd name="T16" fmla="*/ 233 w 369"/>
                <a:gd name="T17" fmla="*/ 235 h 258"/>
                <a:gd name="T18" fmla="*/ 129 w 369"/>
                <a:gd name="T19" fmla="*/ 131 h 258"/>
                <a:gd name="T20" fmla="*/ 233 w 369"/>
                <a:gd name="T21" fmla="*/ 27 h 258"/>
                <a:gd name="T22" fmla="*/ 337 w 369"/>
                <a:gd name="T23" fmla="*/ 131 h 258"/>
                <a:gd name="T24" fmla="*/ 233 w 369"/>
                <a:gd name="T25" fmla="*/ 23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8">
                  <a:moveTo>
                    <a:pt x="258" y="0"/>
                  </a:moveTo>
                  <a:cubicBezTo>
                    <a:pt x="0" y="0"/>
                    <a:pt x="0" y="0"/>
                    <a:pt x="0" y="0"/>
                  </a:cubicBezTo>
                  <a:cubicBezTo>
                    <a:pt x="45" y="26"/>
                    <a:pt x="74" y="74"/>
                    <a:pt x="74" y="129"/>
                  </a:cubicBezTo>
                  <a:cubicBezTo>
                    <a:pt x="74" y="184"/>
                    <a:pt x="104" y="232"/>
                    <a:pt x="148" y="258"/>
                  </a:cubicBezTo>
                  <a:cubicBezTo>
                    <a:pt x="258" y="258"/>
                    <a:pt x="258" y="258"/>
                    <a:pt x="258" y="258"/>
                  </a:cubicBezTo>
                  <a:cubicBezTo>
                    <a:pt x="289" y="258"/>
                    <a:pt x="317" y="244"/>
                    <a:pt x="337" y="220"/>
                  </a:cubicBezTo>
                  <a:cubicBezTo>
                    <a:pt x="357" y="197"/>
                    <a:pt x="369" y="165"/>
                    <a:pt x="369" y="129"/>
                  </a:cubicBezTo>
                  <a:cubicBezTo>
                    <a:pt x="369" y="58"/>
                    <a:pt x="320" y="0"/>
                    <a:pt x="258" y="0"/>
                  </a:cubicBezTo>
                  <a:close/>
                  <a:moveTo>
                    <a:pt x="233" y="235"/>
                  </a:moveTo>
                  <a:cubicBezTo>
                    <a:pt x="176" y="235"/>
                    <a:pt x="129" y="188"/>
                    <a:pt x="129" y="131"/>
                  </a:cubicBezTo>
                  <a:cubicBezTo>
                    <a:pt x="129" y="73"/>
                    <a:pt x="176" y="27"/>
                    <a:pt x="233" y="27"/>
                  </a:cubicBezTo>
                  <a:cubicBezTo>
                    <a:pt x="291" y="27"/>
                    <a:pt x="337" y="73"/>
                    <a:pt x="337" y="131"/>
                  </a:cubicBezTo>
                  <a:cubicBezTo>
                    <a:pt x="337" y="188"/>
                    <a:pt x="291" y="235"/>
                    <a:pt x="233" y="235"/>
                  </a:cubicBezTo>
                  <a:close/>
                </a:path>
              </a:pathLst>
            </a:custGeom>
            <a:solidFill>
              <a:srgbClr val="EF793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TextBox 86">
              <a:extLst>
                <a:ext uri="{FF2B5EF4-FFF2-40B4-BE49-F238E27FC236}">
                  <a16:creationId xmlns:a16="http://schemas.microsoft.com/office/drawing/2014/main" id="{37CD82CB-9AF3-452C-82E2-F7993F8EFC6B}"/>
                </a:ext>
              </a:extLst>
            </p:cNvPr>
            <p:cNvSpPr txBox="1"/>
            <p:nvPr/>
          </p:nvSpPr>
          <p:spPr>
            <a:xfrm>
              <a:off x="1483561" y="1636433"/>
              <a:ext cx="2313262" cy="5539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rPr>
                <a:t>Centralizing content management with a single team aligns with the organization's data culture.</a:t>
              </a:r>
              <a:endParaRPr kumimoji="0" lang="en-IN" sz="1000" b="1" i="0" u="none" strike="noStrike" kern="1200" cap="none" spc="0" normalizeH="0" baseline="0" noProof="0">
                <a:ln>
                  <a:noFill/>
                </a:ln>
                <a:solidFill>
                  <a:srgbClr val="D9D9D9"/>
                </a:solidFill>
                <a:effectLst/>
                <a:uLnTx/>
                <a:uFillTx/>
                <a:latin typeface="Arial" panose="020B0604020202020204" pitchFamily="34" charset="0"/>
                <a:ea typeface="+mn-ea"/>
                <a:cs typeface="Arial" panose="020B0604020202020204" pitchFamily="34" charset="0"/>
              </a:endParaRPr>
            </a:p>
          </p:txBody>
        </p:sp>
        <p:sp>
          <p:nvSpPr>
            <p:cNvPr id="26" name="TextBox 118">
              <a:extLst>
                <a:ext uri="{FF2B5EF4-FFF2-40B4-BE49-F238E27FC236}">
                  <a16:creationId xmlns:a16="http://schemas.microsoft.com/office/drawing/2014/main" id="{1ABAB1AB-2444-4DE9-8F2D-405309160068}"/>
                </a:ext>
              </a:extLst>
            </p:cNvPr>
            <p:cNvSpPr txBox="1"/>
            <p:nvPr/>
          </p:nvSpPr>
          <p:spPr>
            <a:xfrm>
              <a:off x="897135" y="1576177"/>
              <a:ext cx="435200" cy="646331"/>
            </a:xfrm>
            <a:prstGeom prst="rect">
              <a:avLst/>
            </a:prstGeom>
            <a:noFill/>
            <a:effectLst>
              <a:outerShdw blurRad="50800" dist="38100" dir="13500000" algn="br"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a:ln>
                    <a:noFill/>
                  </a:ln>
                  <a:solidFill>
                    <a:srgbClr val="EF7936"/>
                  </a:solidFill>
                  <a:effectLst/>
                  <a:uLnTx/>
                  <a:uFillTx/>
                  <a:latin typeface="Arial" panose="020B0604020202020204"/>
                  <a:ea typeface="+mn-ea"/>
                  <a:cs typeface="+mn-cs"/>
                </a:rPr>
                <a:t>1</a:t>
              </a:r>
            </a:p>
          </p:txBody>
        </p:sp>
      </p:grpSp>
      <p:sp>
        <p:nvSpPr>
          <p:cNvPr id="3" name="TextBox 1">
            <a:extLst>
              <a:ext uri="{FF2B5EF4-FFF2-40B4-BE49-F238E27FC236}">
                <a16:creationId xmlns:a16="http://schemas.microsoft.com/office/drawing/2014/main" id="{F2F24548-55EF-471A-BFC7-A4EF03D8D1B8}"/>
              </a:ext>
            </a:extLst>
          </p:cNvPr>
          <p:cNvSpPr txBox="1"/>
          <p:nvPr/>
        </p:nvSpPr>
        <p:spPr>
          <a:xfrm>
            <a:off x="365992" y="5391288"/>
            <a:ext cx="178029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op-Dow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Arrow: Down 3">
            <a:extLst>
              <a:ext uri="{FF2B5EF4-FFF2-40B4-BE49-F238E27FC236}">
                <a16:creationId xmlns:a16="http://schemas.microsoft.com/office/drawing/2014/main" id="{391FDA75-25E3-4E67-9170-774885DEF5EA}"/>
              </a:ext>
            </a:extLst>
          </p:cNvPr>
          <p:cNvSpPr/>
          <p:nvPr/>
        </p:nvSpPr>
        <p:spPr bwMode="auto">
          <a:xfrm rot="10800000"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420185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4779C4-01EC-4295-821B-F07870E4ACFC}"/>
              </a:ext>
            </a:extLst>
          </p:cNvPr>
          <p:cNvSpPr>
            <a:spLocks noGrp="1"/>
          </p:cNvSpPr>
          <p:nvPr>
            <p:ph type="title"/>
          </p:nvPr>
        </p:nvSpPr>
        <p:spPr/>
        <p:txBody>
          <a:bodyPr/>
          <a:lstStyle/>
          <a:p>
            <a:r>
              <a:rPr lang="de-DE" sz="3600"/>
              <a:t>Enterprise BI -Guidelines </a:t>
            </a:r>
            <a:r>
              <a:rPr lang="de-DE" sz="3600" err="1"/>
              <a:t>for</a:t>
            </a:r>
            <a:r>
              <a:rPr lang="de-DE" sz="3600"/>
              <a:t> </a:t>
            </a:r>
            <a:r>
              <a:rPr lang="de-DE" sz="3600" err="1"/>
              <a:t>Success</a:t>
            </a:r>
            <a:endParaRPr lang="en-US" sz="3600"/>
          </a:p>
        </p:txBody>
      </p:sp>
      <p:sp>
        <p:nvSpPr>
          <p:cNvPr id="3" name="Textplatzhalter 2">
            <a:extLst>
              <a:ext uri="{FF2B5EF4-FFF2-40B4-BE49-F238E27FC236}">
                <a16:creationId xmlns:a16="http://schemas.microsoft.com/office/drawing/2014/main" id="{27368A0B-D391-471C-9B43-686CAA0E79CD}"/>
              </a:ext>
            </a:extLst>
          </p:cNvPr>
          <p:cNvSpPr>
            <a:spLocks noGrp="1"/>
          </p:cNvSpPr>
          <p:nvPr>
            <p:ph type="body" sz="quarter" idx="10"/>
          </p:nvPr>
        </p:nvSpPr>
        <p:spPr>
          <a:xfrm>
            <a:off x="5571318" y="562219"/>
            <a:ext cx="6031401" cy="5490734"/>
          </a:xfrm>
        </p:spPr>
        <p:txBody>
          <a:bodyPr/>
          <a:lstStyle/>
          <a:p>
            <a:pPr marL="285750" indent="-285750">
              <a:buFont typeface="Arial" panose="020B0604020202020204" pitchFamily="34" charset="0"/>
              <a:buChar char="•"/>
            </a:pPr>
            <a:r>
              <a:rPr lang="en-US" sz="1600"/>
              <a:t>Implement a rigorous process for use of the certified endorsement for datasets, reports, and apps. Not all enterprise BI content needs to be certified, but much of it probably should be. Certified content should indicate that data quality has been validated. Certified content should also follow change management rules, have formal support, and be fully documented. Because certified content has passed rigorous standards, the expectations for trustworthiness are higher.</a:t>
            </a:r>
          </a:p>
          <a:p>
            <a:pPr marL="285750" indent="-285750">
              <a:buFont typeface="Arial" panose="020B0604020202020204" pitchFamily="34" charset="0"/>
              <a:buChar char="•"/>
            </a:pPr>
            <a:r>
              <a:rPr lang="en-US" sz="1600"/>
              <a:t>Include consistent branding on enterprise BI reports to indicate who produced the content, and who to contact for help. A small image or text label in the report footer is valuable when the report is exported from the Power BI service.</a:t>
            </a:r>
          </a:p>
          <a:p>
            <a:pPr marL="285750" indent="-285750">
              <a:buFont typeface="Arial" panose="020B0604020202020204" pitchFamily="34" charset="0"/>
              <a:buChar char="•"/>
            </a:pPr>
            <a:r>
              <a:rPr lang="en-US" sz="1600"/>
              <a:t>If you use specific report branding to indicate enterprise BI content, be careful with the save a copy functionality that would allow a user to download a copy of a report and personalize it. Although this functionality is an excellent way to bridge enterprise BI with managed self-service BI, it dilutes the value of the branding. A more seamless solution is to provide a separate Power BI Desktop template file for self-service authors. The template defines a starting point for report creation with a live connection to an existing dataset, and it doesn't include branding. The template file can be shared as a link within a Power BI app, or from the community site.</a:t>
            </a:r>
          </a:p>
        </p:txBody>
      </p:sp>
    </p:spTree>
    <p:extLst>
      <p:ext uri="{BB962C8B-B14F-4D97-AF65-F5344CB8AC3E}">
        <p14:creationId xmlns:p14="http://schemas.microsoft.com/office/powerpoint/2010/main" val="14269014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6505276" y="2994875"/>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816221" y="2310937"/>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904555" y="437104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7192186" y="370587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6737845" y="511674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757522" y="2321533"/>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3472" y="2219356"/>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229316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6672150" y="512929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34" name="TextBox 33">
            <a:extLst>
              <a:ext uri="{FF2B5EF4-FFF2-40B4-BE49-F238E27FC236}">
                <a16:creationId xmlns:a16="http://schemas.microsoft.com/office/drawing/2014/main" id="{C12830ED-DF3C-4A1A-8CF6-2B896E62EBE5}"/>
              </a:ext>
            </a:extLst>
          </p:cNvPr>
          <p:cNvSpPr txBox="1"/>
          <p:nvPr/>
        </p:nvSpPr>
        <p:spPr>
          <a:xfrm>
            <a:off x="7130081" y="3719444"/>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725" y="361418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3601" y="5055919"/>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7298782" y="2514480"/>
            <a:ext cx="376446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ertified content should indicate that data quality has been validated and should also follow change management rules, have formal support, and be fully documented.</a:t>
            </a:r>
          </a:p>
        </p:txBody>
      </p:sp>
      <p:sp>
        <p:nvSpPr>
          <p:cNvPr id="48" name="Rectangle 47">
            <a:extLst>
              <a:ext uri="{FF2B5EF4-FFF2-40B4-BE49-F238E27FC236}">
                <a16:creationId xmlns:a16="http://schemas.microsoft.com/office/drawing/2014/main" id="{0F44D7C7-4DC7-4360-AD85-E44C2717FE81}"/>
              </a:ext>
            </a:extLst>
          </p:cNvPr>
          <p:cNvSpPr/>
          <p:nvPr/>
        </p:nvSpPr>
        <p:spPr>
          <a:xfrm>
            <a:off x="7694868" y="3944674"/>
            <a:ext cx="344314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is approach helps to indicate who produced the content, and who to contact for help. </a:t>
            </a:r>
          </a:p>
        </p:txBody>
      </p:sp>
      <p:sp>
        <p:nvSpPr>
          <p:cNvPr id="51" name="Rectangle 50">
            <a:extLst>
              <a:ext uri="{FF2B5EF4-FFF2-40B4-BE49-F238E27FC236}">
                <a16:creationId xmlns:a16="http://schemas.microsoft.com/office/drawing/2014/main" id="{6B489126-7A96-44F4-A761-638DA488AF1A}"/>
              </a:ext>
            </a:extLst>
          </p:cNvPr>
          <p:cNvSpPr/>
          <p:nvPr/>
        </p:nvSpPr>
        <p:spPr>
          <a:xfrm>
            <a:off x="7222432" y="5303649"/>
            <a:ext cx="384082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Be careful with the </a:t>
            </a:r>
            <a:r>
              <a:rPr kumimoji="0" lang="en-US" sz="1000" b="0" i="1" u="none" strike="noStrike" kern="1200" cap="none" spc="0" normalizeH="0" baseline="0" noProof="0">
                <a:ln>
                  <a:noFill/>
                </a:ln>
                <a:solidFill>
                  <a:srgbClr val="171717"/>
                </a:solidFill>
                <a:effectLst/>
                <a:uLnTx/>
                <a:uFillTx/>
                <a:latin typeface="Segoe UI" panose="020B0502040204020203" pitchFamily="34" charset="0"/>
                <a:ea typeface="+mn-ea"/>
                <a:cs typeface="+mn-cs"/>
              </a:rPr>
              <a:t>save a copy</a:t>
            </a: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unctionality that would allow a user to download a copy of a report and personalize it.  Provide a separate </a:t>
            </a: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Power BI Desktop template file</a:t>
            </a:r>
            <a:r>
              <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for self-service authors.</a:t>
            </a:r>
          </a:p>
        </p:txBody>
      </p:sp>
      <p:sp>
        <p:nvSpPr>
          <p:cNvPr id="16" name="Rectangle 15">
            <a:extLst>
              <a:ext uri="{FF2B5EF4-FFF2-40B4-BE49-F238E27FC236}">
                <a16:creationId xmlns:a16="http://schemas.microsoft.com/office/drawing/2014/main" id="{ED9713B2-8C12-46D5-9EC2-6D4627C09EFE}"/>
              </a:ext>
            </a:extLst>
          </p:cNvPr>
          <p:cNvSpPr/>
          <p:nvPr/>
        </p:nvSpPr>
        <p:spPr>
          <a:xfrm>
            <a:off x="7297018" y="2325762"/>
            <a:ext cx="3839228" cy="25391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srgbClr val="6A6A6A"/>
                </a:solidFill>
                <a:effectLst/>
                <a:uLnTx/>
                <a:uFillTx/>
                <a:latin typeface="Arial"/>
                <a:ea typeface="+mn-ea"/>
                <a:cs typeface="Arial"/>
              </a:rPr>
              <a:t>Use r</a:t>
            </a:r>
            <a:r>
              <a:rPr kumimoji="0" lang="en-IN" sz="1050" b="1" i="0" u="none" strike="noStrike" kern="1200" cap="none" spc="0" normalizeH="0" baseline="0" noProof="0" err="1">
                <a:ln>
                  <a:noFill/>
                </a:ln>
                <a:solidFill>
                  <a:srgbClr val="6A6A6A"/>
                </a:solidFill>
                <a:effectLst/>
                <a:uLnTx/>
                <a:uFillTx/>
                <a:latin typeface="Arial"/>
                <a:ea typeface="+mn-ea"/>
                <a:cs typeface="Arial"/>
              </a:rPr>
              <a:t>igorous</a:t>
            </a:r>
            <a:r>
              <a:rPr kumimoji="0" lang="en-IN" sz="1050" b="1" i="0" u="none" strike="noStrike" kern="1200" cap="none" spc="0" normalizeH="0" baseline="0" noProof="0">
                <a:ln>
                  <a:noFill/>
                </a:ln>
                <a:solidFill>
                  <a:srgbClr val="6A6A6A"/>
                </a:solidFill>
                <a:effectLst/>
                <a:uLnTx/>
                <a:uFillTx/>
                <a:latin typeface="Arial"/>
                <a:ea typeface="+mn-ea"/>
                <a:cs typeface="Arial"/>
              </a:rPr>
              <a:t> Process for Certified Endorsement</a:t>
            </a:r>
            <a:endParaRPr kumimoji="0" lang="en-IN" sz="1050" b="1" i="0" u="none" strike="noStrike" kern="1200" cap="none" spc="0" normalizeH="0" baseline="0" noProof="0">
              <a:ln>
                <a:noFill/>
              </a:ln>
              <a:solidFill>
                <a:srgbClr val="6A6A6A"/>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680814" y="3733120"/>
            <a:ext cx="415869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sistent Branding on Enterprise BI reports</a:t>
            </a:r>
          </a:p>
        </p:txBody>
      </p:sp>
      <p:sp>
        <p:nvSpPr>
          <p:cNvPr id="61" name="Rectangle 60">
            <a:extLst>
              <a:ext uri="{FF2B5EF4-FFF2-40B4-BE49-F238E27FC236}">
                <a16:creationId xmlns:a16="http://schemas.microsoft.com/office/drawing/2014/main" id="{D13E5C68-6674-440A-9119-05FBF1A6D5E8}"/>
              </a:ext>
            </a:extLst>
          </p:cNvPr>
          <p:cNvSpPr/>
          <p:nvPr/>
        </p:nvSpPr>
        <p:spPr>
          <a:xfrm>
            <a:off x="7203251" y="5100655"/>
            <a:ext cx="393476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ower BI Desktop Template File Provision</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0004" y="2354783"/>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2203" y="382888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60205" y="5197040"/>
            <a:ext cx="350520" cy="350520"/>
          </a:xfrm>
          <a:prstGeom prst="rect">
            <a:avLst/>
          </a:prstGeom>
        </p:spPr>
      </p:pic>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3367880"/>
            <a:ext cx="5602467" cy="1325563"/>
          </a:xfrm>
        </p:spPr>
        <p:txBody>
          <a:bodyPr/>
          <a:lstStyle/>
          <a:p>
            <a:r>
              <a:rPr lang="en-US" sz="4000" b="1"/>
              <a:t>Enterprise BI -Guidelines for Success</a:t>
            </a:r>
          </a:p>
        </p:txBody>
      </p:sp>
      <p:sp>
        <p:nvSpPr>
          <p:cNvPr id="2" name="Graphic 26">
            <a:extLst>
              <a:ext uri="{FF2B5EF4-FFF2-40B4-BE49-F238E27FC236}">
                <a16:creationId xmlns:a16="http://schemas.microsoft.com/office/drawing/2014/main" id="{5138BCB9-E80C-45E4-A47A-3174DE333B5E}"/>
              </a:ext>
            </a:extLst>
          </p:cNvPr>
          <p:cNvSpPr/>
          <p:nvPr/>
        </p:nvSpPr>
        <p:spPr>
          <a:xfrm>
            <a:off x="6871562" y="5978621"/>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71662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866" y="1460"/>
            <a:ext cx="5315432" cy="6856055"/>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379"/>
            <p:cNvGrpSpPr/>
            <p:nvPr/>
          </p:nvGrpSpPr>
          <p:grpSpPr>
            <a:xfrm>
              <a:off x="313305" y="4124026"/>
              <a:ext cx="276799" cy="192696"/>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33" name="Picture 32"/>
          <p:cNvPicPr>
            <a:picLocks noChangeAspect="1"/>
          </p:cNvPicPr>
          <p:nvPr/>
        </p:nvPicPr>
        <p:blipFill>
          <a:blip r:embed="rId3"/>
          <a:stretch>
            <a:fillRect/>
          </a:stretch>
        </p:blipFill>
        <p:spPr>
          <a:xfrm>
            <a:off x="5972683" y="470487"/>
            <a:ext cx="5562932" cy="6084858"/>
          </a:xfrm>
          <a:prstGeom prst="rect">
            <a:avLst/>
          </a:prstGeom>
        </p:spPr>
      </p:pic>
      <p:sp>
        <p:nvSpPr>
          <p:cNvPr id="71" name="Title 2"/>
          <p:cNvSpPr txBox="1">
            <a:spLocks/>
          </p:cNvSpPr>
          <p:nvPr/>
        </p:nvSpPr>
        <p:spPr>
          <a:xfrm>
            <a:off x="269241" y="1641443"/>
            <a:ext cx="5047057" cy="12444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deployment modes</a:t>
            </a:r>
            <a:br>
              <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rPr>
            </a:br>
            <a:endPar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endParaRPr>
          </a:p>
        </p:txBody>
      </p:sp>
      <p:sp>
        <p:nvSpPr>
          <p:cNvPr id="72" name="Rectangle 71"/>
          <p:cNvSpPr/>
          <p:nvPr/>
        </p:nvSpPr>
        <p:spPr>
          <a:xfrm>
            <a:off x="256791" y="3068591"/>
            <a:ext cx="5059507" cy="1158629"/>
          </a:xfrm>
          <a:prstGeom prst="rect">
            <a:avLst/>
          </a:prstGeom>
        </p:spPr>
        <p:txBody>
          <a:bodyPr wrap="square" lIns="179285" tIns="143428" rIns="179285" bIns="143428">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ower BI delivery: </a:t>
            </a:r>
            <a:b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b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three approaches</a:t>
            </a:r>
          </a:p>
        </p:txBody>
      </p:sp>
      <p:cxnSp>
        <p:nvCxnSpPr>
          <p:cNvPr id="3" name="Straight Connector 2">
            <a:extLst>
              <a:ext uri="{FF2B5EF4-FFF2-40B4-BE49-F238E27FC236}">
                <a16:creationId xmlns:a16="http://schemas.microsoft.com/office/drawing/2014/main" id="{35AF7783-2D52-4E4A-AE95-FE1D1B38F635}"/>
              </a:ext>
            </a:extLst>
          </p:cNvPr>
          <p:cNvCxnSpPr/>
          <p:nvPr/>
        </p:nvCxnSpPr>
        <p:spPr>
          <a:xfrm>
            <a:off x="7939668" y="814039"/>
            <a:ext cx="0" cy="47281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39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866" y="1460"/>
            <a:ext cx="5315432" cy="6856055"/>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 name="Group 379"/>
            <p:cNvGrpSpPr/>
            <p:nvPr/>
          </p:nvGrpSpPr>
          <p:grpSpPr>
            <a:xfrm>
              <a:off x="313305" y="4124026"/>
              <a:ext cx="276799" cy="192696"/>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1" name="Title 2"/>
          <p:cNvSpPr txBox="1">
            <a:spLocks/>
          </p:cNvSpPr>
          <p:nvPr/>
        </p:nvSpPr>
        <p:spPr>
          <a:xfrm>
            <a:off x="269241" y="1641443"/>
            <a:ext cx="5047057" cy="124441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Power BI </a:t>
            </a:r>
            <a:b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3921"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Semibold" panose="020B0702040204020203" pitchFamily="34" charset="0"/>
                <a:ea typeface="+mn-ea"/>
                <a:cs typeface="Segoe UI Semibold" panose="020B0702040204020203" pitchFamily="34" charset="0"/>
              </a:rPr>
              <a:t>deployment modes</a:t>
            </a:r>
            <a:br>
              <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rPr>
            </a:br>
            <a:endParaRPr kumimoji="0" lang="en-US" sz="4313" b="0" i="0" u="none" strike="noStrike" kern="1200" cap="none" spc="-100" normalizeH="0" baseline="0" noProof="0">
              <a:ln w="3175">
                <a:noFill/>
              </a:ln>
              <a:gradFill>
                <a:gsLst>
                  <a:gs pos="66272">
                    <a:srgbClr val="FFB900"/>
                  </a:gs>
                  <a:gs pos="45562">
                    <a:srgbClr val="FFB900"/>
                  </a:gs>
                </a:gsLst>
                <a:lin ang="5400000" scaled="0"/>
              </a:gradFill>
              <a:effectLst/>
              <a:uLnTx/>
              <a:uFillTx/>
              <a:latin typeface="Segoe UI Light"/>
              <a:ea typeface="+mn-ea"/>
              <a:cs typeface="Segoe UI" pitchFamily="34" charset="0"/>
            </a:endParaRPr>
          </a:p>
        </p:txBody>
      </p:sp>
      <p:sp>
        <p:nvSpPr>
          <p:cNvPr id="72" name="Rectangle 71"/>
          <p:cNvSpPr/>
          <p:nvPr/>
        </p:nvSpPr>
        <p:spPr>
          <a:xfrm>
            <a:off x="256791" y="3068591"/>
            <a:ext cx="5059507" cy="1158629"/>
          </a:xfrm>
          <a:prstGeom prst="rect">
            <a:avLst/>
          </a:prstGeom>
        </p:spPr>
        <p:txBody>
          <a:bodyPr wrap="square" lIns="179285" tIns="143428" rIns="179285" bIns="143428" anchor="t">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ower BI as a </a:t>
            </a:r>
            <a:br>
              <a:rPr kumimoji="0" lang="en-US" sz="3137" b="1" i="0" u="none" strike="noStrike" kern="1200" cap="none" spc="0" normalizeH="0" baseline="0" noProof="0">
                <a:ln>
                  <a:noFill/>
                </a:ln>
                <a:solidFill>
                  <a:prstClr val="black"/>
                </a:solidFill>
                <a:effectLst/>
                <a:uLnTx/>
                <a:uFillTx/>
                <a:latin typeface="Segoe UI Light"/>
                <a:ea typeface="+mn-ea"/>
                <a:cs typeface="+mn-cs"/>
              </a:rPr>
            </a:br>
            <a:r>
              <a:rPr kumimoji="0" lang="en-US" sz="3137" b="1" i="0" u="none" strike="noStrike" kern="1200" cap="none" spc="0" normalizeH="0" baseline="0" noProof="0">
                <a:ln>
                  <a:noFill/>
                </a:ln>
                <a:gradFill>
                  <a:gsLst>
                    <a:gs pos="66272">
                      <a:srgbClr val="FFFFFF"/>
                    </a:gs>
                    <a:gs pos="45562">
                      <a:srgbClr val="FFFFFF"/>
                    </a:gs>
                  </a:gsLst>
                  <a:lin ang="5400000" scaled="0"/>
                </a:gradFill>
                <a:effectLst/>
                <a:uLnTx/>
                <a:uFillTx/>
                <a:latin typeface="Segoe UI Light"/>
                <a:ea typeface="+mn-ea"/>
                <a:cs typeface="+mn-cs"/>
              </a:rPr>
              <a:t>prototyping tool</a:t>
            </a:r>
          </a:p>
        </p:txBody>
      </p:sp>
      <p:pic>
        <p:nvPicPr>
          <p:cNvPr id="28" name="Picture 27"/>
          <p:cNvPicPr>
            <a:picLocks noChangeAspect="1"/>
          </p:cNvPicPr>
          <p:nvPr/>
        </p:nvPicPr>
        <p:blipFill rotWithShape="1">
          <a:blip r:embed="rId3"/>
          <a:srcRect l="7250" r="10918"/>
          <a:stretch/>
        </p:blipFill>
        <p:spPr>
          <a:xfrm>
            <a:off x="5883469" y="829397"/>
            <a:ext cx="5741360" cy="4478388"/>
          </a:xfrm>
          <a:prstGeom prst="rect">
            <a:avLst/>
          </a:prstGeom>
        </p:spPr>
      </p:pic>
    </p:spTree>
    <p:extLst>
      <p:ext uri="{BB962C8B-B14F-4D97-AF65-F5344CB8AC3E}">
        <p14:creationId xmlns:p14="http://schemas.microsoft.com/office/powerpoint/2010/main" val="114890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1A89A-EFBA-45DB-9159-2444DE03B1EA}"/>
              </a:ext>
            </a:extLst>
          </p:cNvPr>
          <p:cNvSpPr>
            <a:spLocks noGrp="1"/>
          </p:cNvSpPr>
          <p:nvPr>
            <p:ph type="title"/>
          </p:nvPr>
        </p:nvSpPr>
        <p:spPr/>
        <p:txBody>
          <a:bodyPr/>
          <a:lstStyle/>
          <a:p>
            <a:r>
              <a:rPr lang="en-US"/>
              <a:t>Ownership and Stewardship</a:t>
            </a:r>
          </a:p>
        </p:txBody>
      </p:sp>
      <p:sp>
        <p:nvSpPr>
          <p:cNvPr id="23" name="Rectangle 93">
            <a:extLst>
              <a:ext uri="{FF2B5EF4-FFF2-40B4-BE49-F238E27FC236}">
                <a16:creationId xmlns:a16="http://schemas.microsoft.com/office/drawing/2014/main" id="{7FFE9E2C-36AE-4FD2-84A6-7FE093DB6D5B}"/>
              </a:ext>
            </a:extLst>
          </p:cNvPr>
          <p:cNvSpPr/>
          <p:nvPr/>
        </p:nvSpPr>
        <p:spPr>
          <a:xfrm>
            <a:off x="8315388" y="2590644"/>
            <a:ext cx="2137397"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4" name="Rectangle 94">
            <a:extLst>
              <a:ext uri="{FF2B5EF4-FFF2-40B4-BE49-F238E27FC236}">
                <a16:creationId xmlns:a16="http://schemas.microsoft.com/office/drawing/2014/main" id="{D32FD73B-E90E-412E-A0AB-C2DB45C5E2B4}"/>
              </a:ext>
            </a:extLst>
          </p:cNvPr>
          <p:cNvSpPr/>
          <p:nvPr/>
        </p:nvSpPr>
        <p:spPr>
          <a:xfrm>
            <a:off x="6152237" y="2590644"/>
            <a:ext cx="213040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5" name="Rectangle 92">
            <a:extLst>
              <a:ext uri="{FF2B5EF4-FFF2-40B4-BE49-F238E27FC236}">
                <a16:creationId xmlns:a16="http://schemas.microsoft.com/office/drawing/2014/main" id="{27F9877A-57DE-4356-B233-7BF580898752}"/>
              </a:ext>
            </a:extLst>
          </p:cNvPr>
          <p:cNvSpPr/>
          <p:nvPr/>
        </p:nvSpPr>
        <p:spPr>
          <a:xfrm>
            <a:off x="3994148" y="2590644"/>
            <a:ext cx="213665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6" name="Rectangle 21">
            <a:extLst>
              <a:ext uri="{FF2B5EF4-FFF2-40B4-BE49-F238E27FC236}">
                <a16:creationId xmlns:a16="http://schemas.microsoft.com/office/drawing/2014/main" id="{1BC7C1FF-0137-4ECD-916D-8C6B02E07CED}"/>
              </a:ext>
            </a:extLst>
          </p:cNvPr>
          <p:cNvSpPr/>
          <p:nvPr/>
        </p:nvSpPr>
        <p:spPr>
          <a:xfrm>
            <a:off x="1832131" y="2590644"/>
            <a:ext cx="2130403" cy="3627276"/>
          </a:xfrm>
          <a:prstGeom prst="rect">
            <a:avLst/>
          </a:prstGeom>
          <a:noFill/>
          <a:ln w="12700" cap="flat" cmpd="sng" algn="ctr">
            <a:solidFill>
              <a:sysClr val="window" lastClr="FFFFFF">
                <a:lumMod val="75000"/>
              </a:sys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7" name="Rectangle 39">
            <a:extLst>
              <a:ext uri="{FF2B5EF4-FFF2-40B4-BE49-F238E27FC236}">
                <a16:creationId xmlns:a16="http://schemas.microsoft.com/office/drawing/2014/main" id="{63784B6C-F6D2-47E0-ABA0-9D72688B19F9}"/>
              </a:ext>
            </a:extLst>
          </p:cNvPr>
          <p:cNvSpPr/>
          <p:nvPr/>
        </p:nvSpPr>
        <p:spPr>
          <a:xfrm>
            <a:off x="1824172"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8" name="Rectangle 40">
            <a:extLst>
              <a:ext uri="{FF2B5EF4-FFF2-40B4-BE49-F238E27FC236}">
                <a16:creationId xmlns:a16="http://schemas.microsoft.com/office/drawing/2014/main" id="{45A35CE8-A222-408E-932D-12531F9C7244}"/>
              </a:ext>
            </a:extLst>
          </p:cNvPr>
          <p:cNvSpPr/>
          <p:nvPr/>
        </p:nvSpPr>
        <p:spPr>
          <a:xfrm>
            <a:off x="3987755"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9" name="Rectangle 48">
            <a:extLst>
              <a:ext uri="{FF2B5EF4-FFF2-40B4-BE49-F238E27FC236}">
                <a16:creationId xmlns:a16="http://schemas.microsoft.com/office/drawing/2014/main" id="{FF951936-30DB-495D-BB09-61480A8BAF42}"/>
              </a:ext>
            </a:extLst>
          </p:cNvPr>
          <p:cNvSpPr/>
          <p:nvPr/>
        </p:nvSpPr>
        <p:spPr>
          <a:xfrm>
            <a:off x="6147919"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0" name="Rectangle 55">
            <a:extLst>
              <a:ext uri="{FF2B5EF4-FFF2-40B4-BE49-F238E27FC236}">
                <a16:creationId xmlns:a16="http://schemas.microsoft.com/office/drawing/2014/main" id="{A13057B1-AD97-47D2-873C-0A7ECB7AD8B3}"/>
              </a:ext>
            </a:extLst>
          </p:cNvPr>
          <p:cNvSpPr/>
          <p:nvPr/>
        </p:nvSpPr>
        <p:spPr>
          <a:xfrm>
            <a:off x="8311070" y="1505303"/>
            <a:ext cx="2146516" cy="1148841"/>
          </a:xfrm>
          <a:prstGeom prst="rect">
            <a:avLst/>
          </a:pr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9" name="TextBox 87">
            <a:extLst>
              <a:ext uri="{FF2B5EF4-FFF2-40B4-BE49-F238E27FC236}">
                <a16:creationId xmlns:a16="http://schemas.microsoft.com/office/drawing/2014/main" id="{0380A55A-376C-461A-B70C-9C263F6E9102}"/>
              </a:ext>
            </a:extLst>
          </p:cNvPr>
          <p:cNvSpPr txBox="1"/>
          <p:nvPr/>
        </p:nvSpPr>
        <p:spPr>
          <a:xfrm>
            <a:off x="2221047" y="1740913"/>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Data Steward</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0" name="TextBox 88">
            <a:extLst>
              <a:ext uri="{FF2B5EF4-FFF2-40B4-BE49-F238E27FC236}">
                <a16:creationId xmlns:a16="http://schemas.microsoft.com/office/drawing/2014/main" id="{570A9B06-77F5-4F86-BD3C-4AE9694F5C44}"/>
              </a:ext>
            </a:extLst>
          </p:cNvPr>
          <p:cNvSpPr txBox="1"/>
          <p:nvPr/>
        </p:nvSpPr>
        <p:spPr>
          <a:xfrm>
            <a:off x="4384729" y="1640424"/>
            <a:ext cx="1352569"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Subject Matter Expert</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1" name="TextBox 89">
            <a:extLst>
              <a:ext uri="{FF2B5EF4-FFF2-40B4-BE49-F238E27FC236}">
                <a16:creationId xmlns:a16="http://schemas.microsoft.com/office/drawing/2014/main" id="{B4F6E717-9102-40A2-AF58-2E96416277C4}"/>
              </a:ext>
            </a:extLst>
          </p:cNvPr>
          <p:cNvSpPr txBox="1"/>
          <p:nvPr/>
        </p:nvSpPr>
        <p:spPr>
          <a:xfrm>
            <a:off x="6541153" y="1743116"/>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Technical Owner</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sp>
        <p:nvSpPr>
          <p:cNvPr id="42" name="TextBox 90">
            <a:extLst>
              <a:ext uri="{FF2B5EF4-FFF2-40B4-BE49-F238E27FC236}">
                <a16:creationId xmlns:a16="http://schemas.microsoft.com/office/drawing/2014/main" id="{2DF89145-6027-4D47-92EB-DEA65006E832}"/>
              </a:ext>
            </a:extLst>
          </p:cNvPr>
          <p:cNvSpPr txBox="1"/>
          <p:nvPr/>
        </p:nvSpPr>
        <p:spPr>
          <a:xfrm>
            <a:off x="8707801" y="1740914"/>
            <a:ext cx="1352569"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rPr>
              <a:t>Domain Owner</a:t>
            </a:r>
            <a:endParaRPr kumimoji="0" lang="en-IN" sz="1600" b="1" i="0" u="none" strike="noStrike" kern="1200" cap="none" spc="0" normalizeH="0" baseline="0" noProof="0">
              <a:ln>
                <a:noFill/>
              </a:ln>
              <a:solidFill>
                <a:sysClr val="window" lastClr="FFFFFF"/>
              </a:solidFill>
              <a:effectLst/>
              <a:uLnTx/>
              <a:uFillTx/>
              <a:latin typeface="Arial" panose="020B0604020202020204" pitchFamily="34" charset="0"/>
              <a:ea typeface="+mn-ea"/>
              <a:cs typeface="Arial" panose="020B0604020202020204" pitchFamily="34" charset="0"/>
            </a:endParaRPr>
          </a:p>
        </p:txBody>
      </p:sp>
      <p:grpSp>
        <p:nvGrpSpPr>
          <p:cNvPr id="43" name="Group 96">
            <a:extLst>
              <a:ext uri="{FF2B5EF4-FFF2-40B4-BE49-F238E27FC236}">
                <a16:creationId xmlns:a16="http://schemas.microsoft.com/office/drawing/2014/main" id="{8623DB64-A293-4213-9FEB-187175813C19}"/>
              </a:ext>
            </a:extLst>
          </p:cNvPr>
          <p:cNvGrpSpPr/>
          <p:nvPr/>
        </p:nvGrpSpPr>
        <p:grpSpPr>
          <a:xfrm>
            <a:off x="1978899" y="2787782"/>
            <a:ext cx="1755764" cy="1384995"/>
            <a:chOff x="5093654" y="3479661"/>
            <a:chExt cx="1755764" cy="1384995"/>
          </a:xfrm>
        </p:grpSpPr>
        <p:sp>
          <p:nvSpPr>
            <p:cNvPr id="62" name="Rectangle 97">
              <a:extLst>
                <a:ext uri="{FF2B5EF4-FFF2-40B4-BE49-F238E27FC236}">
                  <a16:creationId xmlns:a16="http://schemas.microsoft.com/office/drawing/2014/main" id="{6D6608E5-5259-49AB-BE9F-99AF3C73E302}"/>
                </a:ext>
              </a:extLst>
            </p:cNvPr>
            <p:cNvSpPr/>
            <p:nvPr/>
          </p:nvSpPr>
          <p:spPr>
            <a:xfrm>
              <a:off x="5205681" y="3479661"/>
              <a:ext cx="1643737" cy="138499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and/or managing quality lev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Master data management</a:t>
              </a:r>
              <a:endParaRPr kumimoji="0" lang="en-IN" sz="1400" b="0" i="0" u="none" strike="noStrike" kern="1200" cap="none" spc="0" normalizeH="0" baseline="0" noProof="0">
                <a:ln>
                  <a:noFill/>
                </a:ln>
                <a:solidFill>
                  <a:sysClr val="windowText" lastClr="000000"/>
                </a:solidFill>
                <a:effectLst/>
                <a:uLnTx/>
                <a:uFillTx/>
                <a:latin typeface="Segoe UI"/>
                <a:ea typeface="+mn-ea"/>
                <a:cs typeface="+mn-cs"/>
              </a:endParaRPr>
            </a:p>
          </p:txBody>
        </p:sp>
        <p:sp>
          <p:nvSpPr>
            <p:cNvPr id="65" name="Rectangle 100">
              <a:extLst>
                <a:ext uri="{FF2B5EF4-FFF2-40B4-BE49-F238E27FC236}">
                  <a16:creationId xmlns:a16="http://schemas.microsoft.com/office/drawing/2014/main" id="{B63D267E-7687-4343-AF6C-197DF7B04BDF}"/>
                </a:ext>
              </a:extLst>
            </p:cNvPr>
            <p:cNvSpPr/>
            <p:nvPr/>
          </p:nvSpPr>
          <p:spPr>
            <a:xfrm>
              <a:off x="5093654" y="4388164"/>
              <a:ext cx="1755764"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 lastClr="FFFFFF">
                    <a:lumMod val="50000"/>
                  </a:sysClr>
                </a:solidFill>
                <a:effectLst/>
                <a:uLnTx/>
                <a:uFillTx/>
                <a:latin typeface="Arial" panose="020B0604020202020204" pitchFamily="34" charset="0"/>
                <a:ea typeface="+mn-ea"/>
                <a:cs typeface="Arial" panose="020B0604020202020204" pitchFamily="34" charset="0"/>
              </a:endParaRPr>
            </a:p>
          </p:txBody>
        </p:sp>
      </p:grpSp>
      <p:sp>
        <p:nvSpPr>
          <p:cNvPr id="60" name="Rectangle 106">
            <a:extLst>
              <a:ext uri="{FF2B5EF4-FFF2-40B4-BE49-F238E27FC236}">
                <a16:creationId xmlns:a16="http://schemas.microsoft.com/office/drawing/2014/main" id="{C2EB74E0-B074-45DF-B165-6A5FD79103B7}"/>
              </a:ext>
            </a:extLst>
          </p:cNvPr>
          <p:cNvSpPr/>
          <p:nvPr/>
        </p:nvSpPr>
        <p:spPr>
          <a:xfrm>
            <a:off x="4074561" y="2773367"/>
            <a:ext cx="2079700" cy="33239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meaning of th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Estimating the data usage reas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Defining the access to th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ollaborating with domain ow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Supporting colleagues in the use of data</a:t>
            </a:r>
          </a:p>
        </p:txBody>
      </p:sp>
      <p:sp>
        <p:nvSpPr>
          <p:cNvPr id="55" name="Rectangle 112">
            <a:extLst>
              <a:ext uri="{FF2B5EF4-FFF2-40B4-BE49-F238E27FC236}">
                <a16:creationId xmlns:a16="http://schemas.microsoft.com/office/drawing/2014/main" id="{D2571A07-6EE2-4F85-8962-C21590A1AF03}"/>
              </a:ext>
            </a:extLst>
          </p:cNvPr>
          <p:cNvSpPr/>
          <p:nvPr/>
        </p:nvSpPr>
        <p:spPr>
          <a:xfrm>
            <a:off x="6232287" y="2773367"/>
            <a:ext cx="1972327" cy="116955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reating, maintain, publishing, and securing access to data and reporting artifacts</a:t>
            </a:r>
          </a:p>
        </p:txBody>
      </p:sp>
      <p:sp>
        <p:nvSpPr>
          <p:cNvPr id="50" name="Rectangle 118">
            <a:extLst>
              <a:ext uri="{FF2B5EF4-FFF2-40B4-BE49-F238E27FC236}">
                <a16:creationId xmlns:a16="http://schemas.microsoft.com/office/drawing/2014/main" id="{B879EBED-38EE-41AB-863B-8661FC8AE535}"/>
              </a:ext>
            </a:extLst>
          </p:cNvPr>
          <p:cNvSpPr/>
          <p:nvPr/>
        </p:nvSpPr>
        <p:spPr>
          <a:xfrm>
            <a:off x="8438689" y="2787782"/>
            <a:ext cx="1921179" cy="267765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Making decisions who collaborates with governance teams on data management policies, processes, and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ysClr val="window" lastClr="FFFFFF">
                    <a:lumMod val="50000"/>
                  </a:sysClr>
                </a:solidFill>
                <a:effectLst/>
                <a:uLnTx/>
                <a:uFillTx/>
                <a:latin typeface="Segoe UI"/>
                <a:ea typeface="+mn-ea"/>
                <a:cs typeface="Arial" panose="020B0604020202020204" pitchFamily="34" charset="0"/>
              </a:rPr>
              <a:t>Considering the appropriate and inappropriate uses of data</a:t>
            </a:r>
          </a:p>
        </p:txBody>
      </p:sp>
    </p:spTree>
    <p:extLst>
      <p:ext uri="{BB962C8B-B14F-4D97-AF65-F5344CB8AC3E}">
        <p14:creationId xmlns:p14="http://schemas.microsoft.com/office/powerpoint/2010/main" val="12632985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ntent Ownership</a:t>
            </a:r>
            <a:endParaRPr lang="en-US"/>
          </a:p>
        </p:txBody>
      </p:sp>
      <p:graphicFrame>
        <p:nvGraphicFramePr>
          <p:cNvPr id="4" name="Tabelle 3">
            <a:extLst>
              <a:ext uri="{FF2B5EF4-FFF2-40B4-BE49-F238E27FC236}">
                <a16:creationId xmlns:a16="http://schemas.microsoft.com/office/drawing/2014/main" id="{890538F4-5892-45A6-A44C-2F50BB4B94B0}"/>
              </a:ext>
            </a:extLst>
          </p:cNvPr>
          <p:cNvGraphicFramePr/>
          <p:nvPr/>
        </p:nvGraphicFramePr>
        <p:xfrm>
          <a:off x="726688" y="1205997"/>
          <a:ext cx="10738624" cy="5740738"/>
        </p:xfrm>
        <a:graphic>
          <a:graphicData uri="http://schemas.openxmlformats.org/drawingml/2006/table">
            <a:tbl>
              <a:tblPr>
                <a:tableStyleId>{5C22544A-7EE6-4342-B048-85BDC9FD1C3A}</a:tableStyleId>
              </a:tblPr>
              <a:tblGrid>
                <a:gridCol w="1481253">
                  <a:extLst>
                    <a:ext uri="{9D8B030D-6E8A-4147-A177-3AD203B41FA5}">
                      <a16:colId xmlns:a16="http://schemas.microsoft.com/office/drawing/2014/main" val="619538768"/>
                    </a:ext>
                  </a:extLst>
                </a:gridCol>
                <a:gridCol w="9257371">
                  <a:extLst>
                    <a:ext uri="{9D8B030D-6E8A-4147-A177-3AD203B41FA5}">
                      <a16:colId xmlns:a16="http://schemas.microsoft.com/office/drawing/2014/main" val="2527112526"/>
                    </a:ext>
                  </a:extLst>
                </a:gridCol>
              </a:tblGrid>
              <a:tr h="354615">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5880" marR="15880" marT="7940" marB="7940"/>
                </a:tc>
                <a:tc>
                  <a:txBody>
                    <a:bodyPr/>
                    <a:lstStyle/>
                    <a:p>
                      <a:pPr algn="l" fontAlgn="t">
                        <a:spcBef>
                          <a:spcPts val="0"/>
                        </a:spcBef>
                        <a:spcAft>
                          <a:spcPts val="0"/>
                        </a:spcAft>
                      </a:pPr>
                      <a:r>
                        <a:rPr lang="en-US" sz="1400" b="1" u="none" strike="noStrike">
                          <a:effectLst/>
                        </a:rPr>
                        <a:t>State of Power BI content ownership and management</a:t>
                      </a:r>
                      <a:endParaRPr lang="en-US" sz="1400" b="1"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582439047"/>
                  </a:ext>
                </a:extLst>
              </a:tr>
              <a:tr h="1333779">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Content is owned and managed by self-service creators throughout the organization in an uncontrolled way, without a specific strategy.</a:t>
                      </a:r>
                    </a:p>
                    <a:p>
                      <a:pPr marL="285750" indent="-285750" algn="l" fontAlgn="t">
                        <a:spcBef>
                          <a:spcPts val="0"/>
                        </a:spcBef>
                        <a:spcAft>
                          <a:spcPts val="0"/>
                        </a:spcAft>
                        <a:buFont typeface="Arial" panose="020B0604020202020204" pitchFamily="34" charset="0"/>
                        <a:buChar char="•"/>
                      </a:pPr>
                      <a:r>
                        <a:rPr lang="en-US" sz="1400" u="none" strike="noStrike">
                          <a:effectLst/>
                        </a:rPr>
                        <a:t>A high ratio of datasets to reports exists, indicating an opportunity to improve data reusability and reduce the number of duplicate datasets.</a:t>
                      </a:r>
                    </a:p>
                    <a:p>
                      <a:pPr marL="285750" indent="-285750" algn="l" fontAlgn="t">
                        <a:spcBef>
                          <a:spcPts val="0"/>
                        </a:spcBef>
                        <a:spcAft>
                          <a:spcPts val="0"/>
                        </a:spcAft>
                        <a:buFont typeface="Arial" panose="020B0604020202020204" pitchFamily="34" charset="0"/>
                        <a:buChar char="•"/>
                      </a:pPr>
                      <a:r>
                        <a:rPr lang="en-US" sz="1400" u="none" strike="noStrike">
                          <a:effectLst/>
                        </a:rPr>
                        <a:t>Discrepancies between different reports is common, causing distrust of content produced by others.</a:t>
                      </a:r>
                    </a:p>
                    <a:p>
                      <a:pPr marL="0" indent="0" algn="l" fontAlgn="t">
                        <a:spcBef>
                          <a:spcPts val="0"/>
                        </a:spcBef>
                        <a:spcAft>
                          <a:spcPts val="0"/>
                        </a:spcAft>
                        <a:buFont typeface="Arial" panose="020B0604020202020204" pitchFamily="34" charset="0"/>
                        <a:buNone/>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4246163331"/>
                  </a:ext>
                </a:extLst>
              </a:tr>
              <a:tr h="968679">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A plan is in place for which content ownership and management strategy to use and in which circumstances.</a:t>
                      </a:r>
                    </a:p>
                    <a:p>
                      <a:pPr marL="285750" indent="-285750" algn="l" fontAlgn="t">
                        <a:spcBef>
                          <a:spcPts val="0"/>
                        </a:spcBef>
                        <a:spcAft>
                          <a:spcPts val="0"/>
                        </a:spcAft>
                        <a:buFont typeface="Arial" panose="020B0604020202020204" pitchFamily="34" charset="0"/>
                        <a:buChar char="•"/>
                      </a:pPr>
                      <a:r>
                        <a:rPr lang="en-US" sz="1400" u="none" strike="noStrike">
                          <a:effectLst/>
                        </a:rPr>
                        <a:t>Initial steps are taken to improve the consistency and trustworthiness levels for self-service BI efforts.</a:t>
                      </a:r>
                    </a:p>
                    <a:p>
                      <a:pPr marL="285750" indent="-285750" algn="l" fontAlgn="t">
                        <a:spcBef>
                          <a:spcPts val="0"/>
                        </a:spcBef>
                        <a:spcAft>
                          <a:spcPts val="0"/>
                        </a:spcAft>
                        <a:buFont typeface="Arial" panose="020B0604020202020204" pitchFamily="34" charset="0"/>
                        <a:buChar char="•"/>
                      </a:pPr>
                      <a:r>
                        <a:rPr lang="en-US" sz="1400" u="none" strike="noStrike">
                          <a:effectLst/>
                        </a:rPr>
                        <a:t>Guidance for the user community is available that includes expectations for self-service versus enterprise content.</a:t>
                      </a: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4116520451"/>
                  </a:ext>
                </a:extLst>
              </a:tr>
              <a:tr h="1254519">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Managed self-service BI is a priority and an area of investment to further advance the data culture. The priority is to allow report creators the flexibility they need while using well-managed, secure, and trustworthy data sources.</a:t>
                      </a:r>
                    </a:p>
                    <a:p>
                      <a:pPr marL="285750" indent="-285750" algn="l" fontAlgn="t">
                        <a:spcBef>
                          <a:spcPts val="0"/>
                        </a:spcBef>
                        <a:spcAft>
                          <a:spcPts val="0"/>
                        </a:spcAft>
                        <a:buFont typeface="Arial" panose="020B0604020202020204" pitchFamily="34" charset="0"/>
                        <a:buChar char="•"/>
                      </a:pPr>
                      <a:r>
                        <a:rPr lang="en-US" sz="1400" u="none" strike="noStrike">
                          <a:effectLst/>
                        </a:rPr>
                        <a:t>Report branding is consistently used to indicate who produced the content.</a:t>
                      </a:r>
                    </a:p>
                    <a:p>
                      <a:pPr marL="285750" indent="-285750" algn="l" fontAlgn="t">
                        <a:spcBef>
                          <a:spcPts val="0"/>
                        </a:spcBef>
                        <a:spcAft>
                          <a:spcPts val="0"/>
                        </a:spcAft>
                        <a:buFont typeface="Arial" panose="020B0604020202020204" pitchFamily="34" charset="0"/>
                        <a:buChar char="•"/>
                      </a:pPr>
                      <a:r>
                        <a:rPr lang="en-US" sz="1400" u="none" strike="noStrike">
                          <a:effectLst/>
                        </a:rPr>
                        <a:t>A </a:t>
                      </a:r>
                      <a:r>
                        <a:rPr lang="en-US" sz="1400" u="none" strike="noStrike">
                          <a:effectLst/>
                          <a:hlinkClick r:id="rId3"/>
                        </a:rPr>
                        <a:t>mentoring program</a:t>
                      </a:r>
                      <a:r>
                        <a:rPr lang="en-US" sz="1400" u="none" strike="noStrike">
                          <a:effectLst/>
                        </a:rPr>
                        <a:t> exists to educate self-service content creators on how to apply best practices and make good decisions.</a:t>
                      </a:r>
                    </a:p>
                    <a:p>
                      <a:pPr marL="0" indent="0" algn="l" fontAlgn="t">
                        <a:spcBef>
                          <a:spcPts val="0"/>
                        </a:spcBef>
                        <a:spcAft>
                          <a:spcPts val="0"/>
                        </a:spcAft>
                        <a:buFont typeface="Arial" panose="020B0604020202020204" pitchFamily="34" charset="0"/>
                        <a:buNone/>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608245477"/>
                  </a:ext>
                </a:extLst>
              </a:tr>
              <a:tr h="918305">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Criteria is defined to align governance requirements for self-service versus enterprise content.</a:t>
                      </a:r>
                    </a:p>
                    <a:p>
                      <a:pPr marL="285750" indent="-285750" algn="l" fontAlgn="t">
                        <a:spcBef>
                          <a:spcPts val="0"/>
                        </a:spcBef>
                        <a:spcAft>
                          <a:spcPts val="0"/>
                        </a:spcAft>
                        <a:buFont typeface="Arial" panose="020B0604020202020204" pitchFamily="34" charset="0"/>
                        <a:buChar char="•"/>
                      </a:pPr>
                      <a:r>
                        <a:rPr lang="en-US" sz="1400" u="none" strike="noStrike">
                          <a:effectLst/>
                        </a:rPr>
                        <a:t>There is a plan in place for how to request and handle ownership transfers.</a:t>
                      </a:r>
                    </a:p>
                    <a:p>
                      <a:pPr marL="285750" indent="-285750" algn="l" fontAlgn="t">
                        <a:spcBef>
                          <a:spcPts val="0"/>
                        </a:spcBef>
                        <a:spcAft>
                          <a:spcPts val="0"/>
                        </a:spcAft>
                        <a:buFont typeface="Arial" panose="020B0604020202020204" pitchFamily="34" charset="0"/>
                        <a:buChar char="•"/>
                      </a:pPr>
                      <a:r>
                        <a:rPr lang="en-US" sz="1400" u="none" strike="noStrike">
                          <a:effectLst/>
                        </a:rPr>
                        <a:t>Managed self-service BI—and techniques for the reuse of data—are commonly used and well-understood.</a:t>
                      </a: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625236085"/>
                  </a:ext>
                </a:extLst>
              </a:tr>
              <a:tr h="682840">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5880" marR="15880" marT="7940" marB="7940"/>
                </a:tc>
                <a:tc>
                  <a:txBody>
                    <a:bodyPr/>
                    <a:lstStyle/>
                    <a:p>
                      <a:pPr marL="285750" indent="-285750" algn="l" fontAlgn="t">
                        <a:spcBef>
                          <a:spcPts val="0"/>
                        </a:spcBef>
                        <a:spcAft>
                          <a:spcPts val="0"/>
                        </a:spcAft>
                        <a:buFont typeface="Arial" panose="020B0604020202020204" pitchFamily="34" charset="0"/>
                        <a:buChar char="•"/>
                      </a:pPr>
                      <a:r>
                        <a:rPr lang="en-US" sz="1400" u="none" strike="noStrike">
                          <a:effectLst/>
                        </a:rPr>
                        <a:t>Proactive measures are in place to communicate with a user when any concerning user activities are detected in the activity log.</a:t>
                      </a:r>
                    </a:p>
                    <a:p>
                      <a:pPr marL="285750" indent="-285750" algn="l" fontAlgn="t">
                        <a:spcBef>
                          <a:spcPts val="0"/>
                        </a:spcBef>
                        <a:spcAft>
                          <a:spcPts val="0"/>
                        </a:spcAft>
                        <a:buFont typeface="Arial" panose="020B0604020202020204" pitchFamily="34" charset="0"/>
                        <a:buChar char="•"/>
                      </a:pPr>
                      <a:r>
                        <a:rPr lang="en-US" sz="1400" u="none" strike="noStrike">
                          <a:effectLst/>
                        </a:rPr>
                        <a:t>External tools are used by highly proficient content creators to improve productivity and efficiency.</a:t>
                      </a:r>
                    </a:p>
                    <a:p>
                      <a:pPr marL="285750" indent="-285750" algn="l" fontAlgn="t">
                        <a:spcBef>
                          <a:spcPts val="0"/>
                        </a:spcBef>
                        <a:spcAft>
                          <a:spcPts val="0"/>
                        </a:spcAft>
                        <a:buFont typeface="Arial" panose="020B0604020202020204" pitchFamily="34" charset="0"/>
                        <a:buChar char="•"/>
                      </a:pPr>
                      <a:endParaRPr lang="en-US" sz="1400" b="0" i="0" u="none" strike="noStrike">
                        <a:effectLst/>
                        <a:latin typeface="Arial" panose="020B0604020202020204" pitchFamily="34" charset="0"/>
                      </a:endParaRPr>
                    </a:p>
                  </a:txBody>
                  <a:tcPr marL="15880" marR="15880" marT="7940" marB="7940"/>
                </a:tc>
                <a:extLst>
                  <a:ext uri="{0D108BD9-81ED-4DB2-BD59-A6C34878D82A}">
                    <a16:rowId xmlns:a16="http://schemas.microsoft.com/office/drawing/2014/main" val="3128798372"/>
                  </a:ext>
                </a:extLst>
              </a:tr>
            </a:tbl>
          </a:graphicData>
        </a:graphic>
      </p:graphicFrame>
    </p:spTree>
    <p:extLst>
      <p:ext uri="{BB962C8B-B14F-4D97-AF65-F5344CB8AC3E}">
        <p14:creationId xmlns:p14="http://schemas.microsoft.com/office/powerpoint/2010/main" val="23966572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87930" y="1140469"/>
            <a:ext cx="10408581" cy="1655108"/>
          </a:xfrm>
        </p:spPr>
        <p:txBody>
          <a:bodyPr/>
          <a:lstStyle/>
          <a:p>
            <a:r>
              <a:rPr lang="de-DE" sz="5400"/>
              <a:t>Content </a:t>
            </a:r>
            <a:r>
              <a:rPr lang="de-DE" sz="5400" err="1"/>
              <a:t>Delivery</a:t>
            </a:r>
            <a:r>
              <a:rPr lang="de-DE" sz="5400"/>
              <a:t> </a:t>
            </a:r>
            <a:r>
              <a:rPr lang="de-DE" sz="5400" err="1"/>
              <a:t>Scope</a:t>
            </a:r>
            <a:endParaRPr lang="de-DE" sz="5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4</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5466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3472790"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gs>
                <a:gs pos="100000">
                  <a:srgbClr val="92D050"/>
                </a:gs>
                <a:gs pos="50000">
                  <a:srgbClr val="FFFF00"/>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gs>
                <a:gs pos="100000">
                  <a:srgbClr val="F80378"/>
                </a:gs>
                <a:gs pos="0">
                  <a:srgbClr val="00B0F0"/>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Main Components</a:t>
              </a: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5" y="1559699"/>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79816" y="3591751"/>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14115" y="5559719"/>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9" y="3560072"/>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Enterprise BI</a:t>
              </a:r>
            </a:p>
          </p:txBody>
        </p:sp>
        <p:grpSp>
          <p:nvGrpSpPr>
            <p:cNvPr id="46" name="Group 45">
              <a:extLst>
                <a:ext uri="{FF2B5EF4-FFF2-40B4-BE49-F238E27FC236}">
                  <a16:creationId xmlns:a16="http://schemas.microsoft.com/office/drawing/2014/main" id="{AB53D390-D82F-4EDA-BF2A-7B8358092E9A}"/>
                </a:ext>
              </a:extLst>
            </p:cNvPr>
            <p:cNvGrpSpPr/>
            <p:nvPr/>
          </p:nvGrpSpPr>
          <p:grpSpPr>
            <a:xfrm>
              <a:off x="5439957" y="3259089"/>
              <a:ext cx="1314154" cy="571189"/>
              <a:chOff x="5438923" y="3321983"/>
              <a:chExt cx="1314154" cy="571189"/>
            </a:xfrm>
          </p:grpSpPr>
          <p:sp>
            <p:nvSpPr>
              <p:cNvPr id="29" name="TextBox 28">
                <a:extLst>
                  <a:ext uri="{FF2B5EF4-FFF2-40B4-BE49-F238E27FC236}">
                    <a16:creationId xmlns:a16="http://schemas.microsoft.com/office/drawing/2014/main" id="{416EC608-72FF-4DC7-AAA7-89D156112C2C}"/>
                  </a:ext>
                </a:extLst>
              </p:cNvPr>
              <p:cNvSpPr txBox="1"/>
              <p:nvPr/>
            </p:nvSpPr>
            <p:spPr>
              <a:xfrm>
                <a:off x="5978820" y="3321983"/>
                <a:ext cx="23436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 </a:t>
                </a:r>
              </a:p>
            </p:txBody>
          </p:sp>
          <p:sp>
            <p:nvSpPr>
              <p:cNvPr id="45" name="Rectangle 44">
                <a:extLst>
                  <a:ext uri="{FF2B5EF4-FFF2-40B4-BE49-F238E27FC236}">
                    <a16:creationId xmlns:a16="http://schemas.microsoft.com/office/drawing/2014/main" id="{9E6DC58C-78C3-4119-A38F-BD1D04681340}"/>
                  </a:ext>
                </a:extLst>
              </p:cNvPr>
              <p:cNvSpPr/>
              <p:nvPr/>
            </p:nvSpPr>
            <p:spPr>
              <a:xfrm>
                <a:off x="5438923" y="3662340"/>
                <a:ext cx="1314154"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grpSp>
      </p:grpSp>
      <p:sp>
        <p:nvSpPr>
          <p:cNvPr id="3" name="Titel 2">
            <a:extLst>
              <a:ext uri="{FF2B5EF4-FFF2-40B4-BE49-F238E27FC236}">
                <a16:creationId xmlns:a16="http://schemas.microsoft.com/office/drawing/2014/main" id="{95B61AC8-01FD-41CB-AD4F-08E3F6D95814}"/>
              </a:ext>
            </a:extLst>
          </p:cNvPr>
          <p:cNvSpPr>
            <a:spLocks noGrp="1"/>
          </p:cNvSpPr>
          <p:nvPr>
            <p:ph type="title"/>
          </p:nvPr>
        </p:nvSpPr>
        <p:spPr/>
        <p:txBody>
          <a:bodyPr/>
          <a:lstStyle/>
          <a:p>
            <a:r>
              <a:rPr lang="de-DE" err="1"/>
              <a:t>Four</a:t>
            </a:r>
            <a:r>
              <a:rPr lang="de-DE"/>
              <a:t> </a:t>
            </a:r>
            <a:r>
              <a:rPr lang="de-DE" err="1"/>
              <a:t>Delivery</a:t>
            </a:r>
            <a:r>
              <a:rPr lang="de-DE"/>
              <a:t> Scopes</a:t>
            </a:r>
          </a:p>
        </p:txBody>
      </p:sp>
    </p:spTree>
    <p:extLst>
      <p:ext uri="{BB962C8B-B14F-4D97-AF65-F5344CB8AC3E}">
        <p14:creationId xmlns:p14="http://schemas.microsoft.com/office/powerpoint/2010/main" val="1402695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1796897-A20C-4AA1-A8F3-8F7769CBB545}"/>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t>
            </a:r>
          </a:p>
        </p:txBody>
      </p:sp>
      <p:grpSp>
        <p:nvGrpSpPr>
          <p:cNvPr id="18" name="Group 17">
            <a:extLst>
              <a:ext uri="{FF2B5EF4-FFF2-40B4-BE49-F238E27FC236}">
                <a16:creationId xmlns:a16="http://schemas.microsoft.com/office/drawing/2014/main" id="{3DD0D653-06BC-4D56-95E0-170874921D69}"/>
              </a:ext>
            </a:extLst>
          </p:cNvPr>
          <p:cNvGrpSpPr/>
          <p:nvPr/>
        </p:nvGrpSpPr>
        <p:grpSpPr>
          <a:xfrm>
            <a:off x="3202514" y="4778642"/>
            <a:ext cx="2747302" cy="738690"/>
            <a:chOff x="5954577" y="5278852"/>
            <a:chExt cx="2356024" cy="738690"/>
          </a:xfrm>
        </p:grpSpPr>
        <p:sp>
          <p:nvSpPr>
            <p:cNvPr id="19" name="Speech Bubble: Rectangle 18">
              <a:extLst>
                <a:ext uri="{FF2B5EF4-FFF2-40B4-BE49-F238E27FC236}">
                  <a16:creationId xmlns:a16="http://schemas.microsoft.com/office/drawing/2014/main" id="{5E812313-807C-40A9-ABBF-B129AED45BB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82D61A1D-C835-4E9B-8B86-B239A6E384F3}"/>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cumentation</a:t>
              </a:r>
            </a:p>
          </p:txBody>
        </p:sp>
      </p:grpSp>
      <p:sp>
        <p:nvSpPr>
          <p:cNvPr id="23" name="Circle: Hollow 22">
            <a:extLst>
              <a:ext uri="{FF2B5EF4-FFF2-40B4-BE49-F238E27FC236}">
                <a16:creationId xmlns:a16="http://schemas.microsoft.com/office/drawing/2014/main" id="{80A7E25C-3F20-474A-BE64-137EB72FACCA}"/>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76A0B8C1-FCC2-4710-8805-3A7B4F862CA2}"/>
              </a:ext>
            </a:extLst>
          </p:cNvPr>
          <p:cNvGrpSpPr/>
          <p:nvPr/>
        </p:nvGrpSpPr>
        <p:grpSpPr>
          <a:xfrm>
            <a:off x="8687482" y="4778642"/>
            <a:ext cx="2747302" cy="738690"/>
            <a:chOff x="5954577" y="5278852"/>
            <a:chExt cx="2356024" cy="738690"/>
          </a:xfrm>
        </p:grpSpPr>
        <p:sp>
          <p:nvSpPr>
            <p:cNvPr id="29" name="Speech Bubble: Rectangle 28">
              <a:extLst>
                <a:ext uri="{FF2B5EF4-FFF2-40B4-BE49-F238E27FC236}">
                  <a16:creationId xmlns:a16="http://schemas.microsoft.com/office/drawing/2014/main" id="{3FD3DCC4-2498-4657-82F5-4C5490F0C0D4}"/>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C32E5034-124A-409C-A04D-BBDDC12BD91C}"/>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lan</a:t>
              </a:r>
            </a:p>
          </p:txBody>
        </p:sp>
      </p:grpSp>
      <p:grpSp>
        <p:nvGrpSpPr>
          <p:cNvPr id="31" name="Group 30">
            <a:extLst>
              <a:ext uri="{FF2B5EF4-FFF2-40B4-BE49-F238E27FC236}">
                <a16:creationId xmlns:a16="http://schemas.microsoft.com/office/drawing/2014/main" id="{DD0BE762-A7DB-4652-A5E8-DC81F2938EA7}"/>
              </a:ext>
            </a:extLst>
          </p:cNvPr>
          <p:cNvGrpSpPr/>
          <p:nvPr/>
        </p:nvGrpSpPr>
        <p:grpSpPr>
          <a:xfrm flipV="1">
            <a:off x="460030" y="2029074"/>
            <a:ext cx="2747302" cy="738690"/>
            <a:chOff x="5954577" y="5278852"/>
            <a:chExt cx="2356024" cy="738690"/>
          </a:xfrm>
        </p:grpSpPr>
        <p:sp>
          <p:nvSpPr>
            <p:cNvPr id="32" name="Speech Bubble: Rectangle 31">
              <a:extLst>
                <a:ext uri="{FF2B5EF4-FFF2-40B4-BE49-F238E27FC236}">
                  <a16:creationId xmlns:a16="http://schemas.microsoft.com/office/drawing/2014/main" id="{5E37293D-2D13-4C86-AE83-D1E8A6D7838E}"/>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CD4E26F9-D3B1-4D81-8D5A-2153A4DB2020}"/>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orkshop</a:t>
              </a:r>
            </a:p>
          </p:txBody>
        </p:sp>
      </p:grpSp>
      <p:grpSp>
        <p:nvGrpSpPr>
          <p:cNvPr id="35" name="Group 34">
            <a:extLst>
              <a:ext uri="{FF2B5EF4-FFF2-40B4-BE49-F238E27FC236}">
                <a16:creationId xmlns:a16="http://schemas.microsoft.com/office/drawing/2014/main" id="{CC9DBB52-D1CA-470C-898C-8B08BF1F7FEB}"/>
              </a:ext>
            </a:extLst>
          </p:cNvPr>
          <p:cNvGrpSpPr/>
          <p:nvPr/>
        </p:nvGrpSpPr>
        <p:grpSpPr>
          <a:xfrm flipV="1">
            <a:off x="5944998" y="2029074"/>
            <a:ext cx="2747302" cy="738690"/>
            <a:chOff x="5954577" y="5278852"/>
            <a:chExt cx="2356024" cy="738690"/>
          </a:xfrm>
        </p:grpSpPr>
        <p:sp>
          <p:nvSpPr>
            <p:cNvPr id="36" name="Speech Bubble: Rectangle 35">
              <a:extLst>
                <a:ext uri="{FF2B5EF4-FFF2-40B4-BE49-F238E27FC236}">
                  <a16:creationId xmlns:a16="http://schemas.microsoft.com/office/drawing/2014/main" id="{CCE004AC-8BD3-4395-ABD5-7C59DD70677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B0B93A65-BE74-47D5-BAE4-2B1FDFE280EE}"/>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llow-up Discussions</a:t>
              </a:r>
            </a:p>
          </p:txBody>
        </p:sp>
      </p:grpSp>
      <p:sp>
        <p:nvSpPr>
          <p:cNvPr id="5" name="Titel 4">
            <a:extLst>
              <a:ext uri="{FF2B5EF4-FFF2-40B4-BE49-F238E27FC236}">
                <a16:creationId xmlns:a16="http://schemas.microsoft.com/office/drawing/2014/main" id="{5785A3CD-0439-4522-9E7A-E1B75E5CB593}"/>
              </a:ext>
            </a:extLst>
          </p:cNvPr>
          <p:cNvSpPr>
            <a:spLocks noGrp="1"/>
          </p:cNvSpPr>
          <p:nvPr>
            <p:ph type="title"/>
          </p:nvPr>
        </p:nvSpPr>
        <p:spPr/>
        <p:txBody>
          <a:bodyPr/>
          <a:lstStyle/>
          <a:p>
            <a:r>
              <a:rPr lang="de-DE"/>
              <a:t>Adoption Framework Schedule</a:t>
            </a:r>
          </a:p>
        </p:txBody>
      </p:sp>
      <p:pic>
        <p:nvPicPr>
          <p:cNvPr id="7" name="Grafik 6">
            <a:extLst>
              <a:ext uri="{FF2B5EF4-FFF2-40B4-BE49-F238E27FC236}">
                <a16:creationId xmlns:a16="http://schemas.microsoft.com/office/drawing/2014/main" id="{18056F00-09C2-4676-B6EC-A586D37F54BE}"/>
              </a:ext>
            </a:extLst>
          </p:cNvPr>
          <p:cNvPicPr>
            <a:picLocks noChangeAspect="1"/>
          </p:cNvPicPr>
          <p:nvPr/>
        </p:nvPicPr>
        <p:blipFill>
          <a:blip r:embed="rId4"/>
          <a:stretch>
            <a:fillRect/>
          </a:stretch>
        </p:blipFill>
        <p:spPr>
          <a:xfrm>
            <a:off x="4398117" y="3182090"/>
            <a:ext cx="3395766" cy="493819"/>
          </a:xfrm>
          <a:prstGeom prst="rect">
            <a:avLst/>
          </a:prstGeom>
        </p:spPr>
      </p:pic>
    </p:spTree>
    <p:custDataLst>
      <p:tags r:id="rId1"/>
    </p:custDataLst>
    <p:extLst>
      <p:ext uri="{BB962C8B-B14F-4D97-AF65-F5344CB8AC3E}">
        <p14:creationId xmlns:p14="http://schemas.microsoft.com/office/powerpoint/2010/main" val="2975486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63" presetClass="path" presetSubtype="0" accel="50000" decel="50000" fill="hold" grpId="0" nodeType="clickEffect">
                                  <p:stCondLst>
                                    <p:cond delay="0"/>
                                  </p:stCondLst>
                                  <p:childTnLst>
                                    <p:animMotion origin="layout" path="M 0.00339 0.00024 L 0.23737 -0.00115 " pathEditMode="relative" rAng="0" ptsTypes="AA">
                                      <p:cBhvr>
                                        <p:cTn id="13" dur="2000" fill="hold"/>
                                        <p:tgtEl>
                                          <p:spTgt spid="23"/>
                                        </p:tgtEl>
                                        <p:attrNameLst>
                                          <p:attrName>ppt_x</p:attrName>
                                          <p:attrName>ppt_y</p:attrName>
                                        </p:attrNameLst>
                                      </p:cBhvr>
                                      <p:rCtr x="11693" y="-69"/>
                                    </p:animMotion>
                                  </p:childTnLst>
                                </p:cTn>
                              </p:par>
                              <p:par>
                                <p:cTn id="14" presetID="1"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63" presetClass="path" presetSubtype="0" accel="50000" decel="50000" fill="hold" grpId="1" nodeType="clickEffect">
                                  <p:stCondLst>
                                    <p:cond delay="0"/>
                                  </p:stCondLst>
                                  <p:childTnLst>
                                    <p:animMotion origin="layout" path="M 0.23737 -0.00115 L 0.46016 -0.00254 " pathEditMode="relative" rAng="0" ptsTypes="AA">
                                      <p:cBhvr>
                                        <p:cTn id="19" dur="2000" fill="hold"/>
                                        <p:tgtEl>
                                          <p:spTgt spid="23"/>
                                        </p:tgtEl>
                                        <p:attrNameLst>
                                          <p:attrName>ppt_x</p:attrName>
                                          <p:attrName>ppt_y</p:attrName>
                                        </p:attrNameLst>
                                      </p:cBhvr>
                                      <p:rCtr x="11133" y="-69"/>
                                    </p:animMotion>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63" presetClass="path" presetSubtype="0" accel="50000" decel="50000" fill="hold" grpId="2" nodeType="clickEffect">
                                  <p:stCondLst>
                                    <p:cond delay="0"/>
                                  </p:stCondLst>
                                  <p:childTnLst>
                                    <p:animMotion origin="layout" path="M 0.46016 -0.00254 L 0.6806 0.00047 " pathEditMode="relative" rAng="0" ptsTypes="AA">
                                      <p:cBhvr>
                                        <p:cTn id="25" dur="2000" fill="hold"/>
                                        <p:tgtEl>
                                          <p:spTgt spid="23"/>
                                        </p:tgtEl>
                                        <p:attrNameLst>
                                          <p:attrName>ppt_x</p:attrName>
                                          <p:attrName>ppt_y</p:attrName>
                                        </p:attrNameLst>
                                      </p:cBhvr>
                                      <p:rCtr x="11016" y="139"/>
                                    </p:animMotion>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3" grpId="2" animBg="1"/>
      <p:bldP spid="23" grpId="3"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Ein Bild, das Text, Visitenkarte enthält.&#10;&#10;Automatisch generierte Beschreibung">
            <a:extLst>
              <a:ext uri="{FF2B5EF4-FFF2-40B4-BE49-F238E27FC236}">
                <a16:creationId xmlns:a16="http://schemas.microsoft.com/office/drawing/2014/main" id="{4426343E-1B9B-4A6B-8B1C-338F96E38B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0" y="1221922"/>
            <a:ext cx="6096000" cy="5067300"/>
          </a:xfrm>
          <a:prstGeom prst="rect">
            <a:avLst/>
          </a:prstGeom>
          <a:noFill/>
        </p:spPr>
      </p:pic>
      <p:sp>
        <p:nvSpPr>
          <p:cNvPr id="5" name="Titel 4">
            <a:extLst>
              <a:ext uri="{FF2B5EF4-FFF2-40B4-BE49-F238E27FC236}">
                <a16:creationId xmlns:a16="http://schemas.microsoft.com/office/drawing/2014/main" id="{2FEF24CC-D3B2-434F-9AEE-CBE2F2A57AFF}"/>
              </a:ext>
            </a:extLst>
          </p:cNvPr>
          <p:cNvSpPr>
            <a:spLocks noGrp="1"/>
          </p:cNvSpPr>
          <p:nvPr>
            <p:ph type="title"/>
          </p:nvPr>
        </p:nvSpPr>
        <p:spPr/>
        <p:txBody>
          <a:bodyPr/>
          <a:lstStyle/>
          <a:p>
            <a:r>
              <a:rPr lang="de-DE"/>
              <a:t>Target </a:t>
            </a:r>
            <a:r>
              <a:rPr lang="de-DE" err="1"/>
              <a:t>Consumers</a:t>
            </a:r>
            <a:r>
              <a:rPr lang="de-DE"/>
              <a:t> </a:t>
            </a:r>
            <a:r>
              <a:rPr lang="de-DE" err="1"/>
              <a:t>of</a:t>
            </a:r>
            <a:r>
              <a:rPr lang="de-DE"/>
              <a:t> </a:t>
            </a:r>
            <a:r>
              <a:rPr lang="de-DE" err="1"/>
              <a:t>the</a:t>
            </a:r>
            <a:r>
              <a:rPr lang="de-DE"/>
              <a:t> Content</a:t>
            </a:r>
          </a:p>
        </p:txBody>
      </p:sp>
    </p:spTree>
    <p:extLst>
      <p:ext uri="{BB962C8B-B14F-4D97-AF65-F5344CB8AC3E}">
        <p14:creationId xmlns:p14="http://schemas.microsoft.com/office/powerpoint/2010/main" val="168240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5A771BD-A363-4A55-846F-4BD661242C94}"/>
              </a:ext>
            </a:extLst>
          </p:cNvPr>
          <p:cNvPicPr>
            <a:picLocks noChangeAspect="1"/>
          </p:cNvPicPr>
          <p:nvPr/>
        </p:nvPicPr>
        <p:blipFill>
          <a:blip r:embed="rId3"/>
          <a:stretch>
            <a:fillRect/>
          </a:stretch>
        </p:blipFill>
        <p:spPr>
          <a:xfrm>
            <a:off x="2979429" y="1534885"/>
            <a:ext cx="6727439" cy="5204051"/>
          </a:xfrm>
          <a:prstGeom prst="rect">
            <a:avLst/>
          </a:prstGeom>
        </p:spPr>
      </p:pic>
      <p:sp>
        <p:nvSpPr>
          <p:cNvPr id="6" name="Titel 5">
            <a:extLst>
              <a:ext uri="{FF2B5EF4-FFF2-40B4-BE49-F238E27FC236}">
                <a16:creationId xmlns:a16="http://schemas.microsoft.com/office/drawing/2014/main" id="{FDE1A821-120B-4695-BBC6-1E520C57DC5B}"/>
              </a:ext>
            </a:extLst>
          </p:cNvPr>
          <p:cNvSpPr>
            <a:spLocks noGrp="1"/>
          </p:cNvSpPr>
          <p:nvPr>
            <p:ph type="title"/>
          </p:nvPr>
        </p:nvSpPr>
        <p:spPr/>
        <p:txBody>
          <a:bodyPr/>
          <a:lstStyle/>
          <a:p>
            <a:r>
              <a:rPr lang="de-DE" err="1"/>
              <a:t>Creators</a:t>
            </a:r>
            <a:r>
              <a:rPr lang="de-DE"/>
              <a:t> </a:t>
            </a:r>
            <a:r>
              <a:rPr lang="de-DE" err="1"/>
              <a:t>of</a:t>
            </a:r>
            <a:r>
              <a:rPr lang="de-DE"/>
              <a:t> </a:t>
            </a:r>
            <a:r>
              <a:rPr lang="de-DE" err="1"/>
              <a:t>the</a:t>
            </a:r>
            <a:r>
              <a:rPr lang="de-DE"/>
              <a:t> Content</a:t>
            </a:r>
          </a:p>
        </p:txBody>
      </p:sp>
    </p:spTree>
    <p:extLst>
      <p:ext uri="{BB962C8B-B14F-4D97-AF65-F5344CB8AC3E}">
        <p14:creationId xmlns:p14="http://schemas.microsoft.com/office/powerpoint/2010/main" val="255377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9812834" cy="5240830"/>
            <a:chOff x="992827" y="1403555"/>
            <a:chExt cx="9812834" cy="5240830"/>
          </a:xfrm>
        </p:grpSpPr>
        <p:cxnSp>
          <p:nvCxnSpPr>
            <p:cNvPr id="3" name="Straight Connector 2">
              <a:extLst>
                <a:ext uri="{FF2B5EF4-FFF2-40B4-BE49-F238E27FC236}">
                  <a16:creationId xmlns:a16="http://schemas.microsoft.com/office/drawing/2014/main" id="{AE2C5BA3-0CE5-4677-A5CF-9A58F7DC1C31}"/>
                </a:ext>
              </a:extLst>
            </p:cNvPr>
            <p:cNvCxnSpPr>
              <a:cxnSpLocks/>
            </p:cNvCxnSpPr>
            <p:nvPr/>
          </p:nvCxnSpPr>
          <p:spPr>
            <a:xfrm>
              <a:off x="4233145" y="1948890"/>
              <a:ext cx="4478766"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gs>
                  <a:gs pos="100000">
                    <a:srgbClr val="F80378">
                      <a:alpha val="50000"/>
                    </a:srgbClr>
                  </a:gs>
                  <a:gs pos="0">
                    <a:srgbClr val="00B0F0"/>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4" y="1497860"/>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96485" y="3590552"/>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48438" y="557412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5" y="3560071"/>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58077" y="3259089"/>
                <a:ext cx="127791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cxnSp>
          <p:nvCxnSpPr>
            <p:cNvPr id="15" name="Straight Connector 14">
              <a:extLst>
                <a:ext uri="{FF2B5EF4-FFF2-40B4-BE49-F238E27FC236}">
                  <a16:creationId xmlns:a16="http://schemas.microsoft.com/office/drawing/2014/main" id="{8DA12975-29E1-4FFF-8A9C-776D555248F3}"/>
                </a:ext>
              </a:extLst>
            </p:cNvPr>
            <p:cNvCxnSpPr>
              <a:cxnSpLocks/>
            </p:cNvCxnSpPr>
            <p:nvPr/>
          </p:nvCxnSpPr>
          <p:spPr>
            <a:xfrm>
              <a:off x="8711911" y="1948890"/>
              <a:ext cx="0" cy="794310"/>
            </a:xfrm>
            <a:prstGeom prst="line">
              <a:avLst/>
            </a:prstGeom>
            <a:ln w="15875">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345F3D6-EE4A-45F8-8FF3-9841C2B76716}"/>
                </a:ext>
              </a:extLst>
            </p:cNvPr>
            <p:cNvSpPr/>
            <p:nvPr/>
          </p:nvSpPr>
          <p:spPr>
            <a:xfrm>
              <a:off x="6721481" y="2817781"/>
              <a:ext cx="4084180" cy="278537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Effective personal use of data, information, and analytics by individuals (any type of work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reator's primary intention is data exploration and analysis, rather than report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is intended to be analyzed and consumed by one person: the cre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may be an exploratory proof of concept that may, or may not, evolve into a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ree Power BI lice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grpSp>
      <p:sp>
        <p:nvSpPr>
          <p:cNvPr id="2" name="Titel 1">
            <a:extLst>
              <a:ext uri="{FF2B5EF4-FFF2-40B4-BE49-F238E27FC236}">
                <a16:creationId xmlns:a16="http://schemas.microsoft.com/office/drawing/2014/main" id="{BC75BF0B-47BC-4D80-9845-B28893FCCA62}"/>
              </a:ext>
            </a:extLst>
          </p:cNvPr>
          <p:cNvSpPr>
            <a:spLocks noGrp="1"/>
          </p:cNvSpPr>
          <p:nvPr>
            <p:ph type="title"/>
          </p:nvPr>
        </p:nvSpPr>
        <p:spPr/>
        <p:txBody>
          <a:bodyPr/>
          <a:lstStyle/>
          <a:p>
            <a:r>
              <a:rPr lang="de-DE"/>
              <a:t>Personal BI</a:t>
            </a:r>
          </a:p>
        </p:txBody>
      </p:sp>
    </p:spTree>
    <p:extLst>
      <p:ext uri="{BB962C8B-B14F-4D97-AF65-F5344CB8AC3E}">
        <p14:creationId xmlns:p14="http://schemas.microsoft.com/office/powerpoint/2010/main" val="7974313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1241244"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alpha val="50000"/>
                  </a:srgbClr>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53574" y="1556875"/>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37758" y="3570232"/>
              <a:ext cx="73289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37781" y="557412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590969" y="3560071"/>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81676" y="3421573"/>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grpSp>
        <p:nvGrpSpPr>
          <p:cNvPr id="50" name="Group 49">
            <a:extLst>
              <a:ext uri="{FF2B5EF4-FFF2-40B4-BE49-F238E27FC236}">
                <a16:creationId xmlns:a16="http://schemas.microsoft.com/office/drawing/2014/main" id="{C65BE10F-3FC9-4451-92CB-266351BD94BA}"/>
              </a:ext>
            </a:extLst>
          </p:cNvPr>
          <p:cNvGrpSpPr/>
          <p:nvPr/>
        </p:nvGrpSpPr>
        <p:grpSpPr>
          <a:xfrm>
            <a:off x="5946646" y="1948890"/>
            <a:ext cx="3013682" cy="1481498"/>
            <a:chOff x="5946646" y="1948890"/>
            <a:chExt cx="3013682" cy="1481498"/>
          </a:xfrm>
        </p:grpSpPr>
        <p:cxnSp>
          <p:nvCxnSpPr>
            <p:cNvPr id="16" name="Straight Connector 15">
              <a:extLst>
                <a:ext uri="{FF2B5EF4-FFF2-40B4-BE49-F238E27FC236}">
                  <a16:creationId xmlns:a16="http://schemas.microsoft.com/office/drawing/2014/main" id="{8B1C0416-5C07-43F0-A0B9-D704FDBFBEF6}"/>
                </a:ext>
              </a:extLst>
            </p:cNvPr>
            <p:cNvCxnSpPr/>
            <p:nvPr/>
          </p:nvCxnSpPr>
          <p:spPr>
            <a:xfrm flipV="1">
              <a:off x="6695540" y="2015003"/>
              <a:ext cx="0" cy="1410179"/>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6CB1408-EC63-42E3-8EAE-10F05E204165}"/>
                </a:ext>
              </a:extLst>
            </p:cNvPr>
            <p:cNvCxnSpPr>
              <a:cxnSpLocks/>
            </p:cNvCxnSpPr>
            <p:nvPr/>
          </p:nvCxnSpPr>
          <p:spPr>
            <a:xfrm flipH="1">
              <a:off x="6695540" y="1948890"/>
              <a:ext cx="2264788"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E2C5BA3-0CE5-4677-A5CF-9A58F7DC1C31}"/>
                </a:ext>
              </a:extLst>
            </p:cNvPr>
            <p:cNvCxnSpPr>
              <a:cxnSpLocks/>
            </p:cNvCxnSpPr>
            <p:nvPr/>
          </p:nvCxnSpPr>
          <p:spPr>
            <a:xfrm>
              <a:off x="5946646" y="3430388"/>
              <a:ext cx="748894"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DA12975-29E1-4FFF-8A9C-776D555248F3}"/>
                </a:ext>
              </a:extLst>
            </p:cNvPr>
            <p:cNvCxnSpPr>
              <a:cxnSpLocks/>
            </p:cNvCxnSpPr>
            <p:nvPr/>
          </p:nvCxnSpPr>
          <p:spPr>
            <a:xfrm>
              <a:off x="8960328" y="1948890"/>
              <a:ext cx="0" cy="794310"/>
            </a:xfrm>
            <a:prstGeom prst="line">
              <a:avLst/>
            </a:prstGeom>
            <a:ln w="15875">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78AD5626-98F1-4FB7-9309-9C28D1A2AA3C}"/>
              </a:ext>
            </a:extLst>
          </p:cNvPr>
          <p:cNvSpPr>
            <a:spLocks noGrp="1"/>
          </p:cNvSpPr>
          <p:nvPr>
            <p:ph type="title"/>
          </p:nvPr>
        </p:nvSpPr>
        <p:spPr/>
        <p:txBody>
          <a:bodyPr/>
          <a:lstStyle/>
          <a:p>
            <a:r>
              <a:rPr lang="de-DE"/>
              <a:t>Team BI</a:t>
            </a:r>
          </a:p>
        </p:txBody>
      </p:sp>
      <p:sp>
        <p:nvSpPr>
          <p:cNvPr id="4" name="Rectangle 16">
            <a:extLst>
              <a:ext uri="{FF2B5EF4-FFF2-40B4-BE49-F238E27FC236}">
                <a16:creationId xmlns:a16="http://schemas.microsoft.com/office/drawing/2014/main" id="{B0579682-587F-4687-8C49-E46023C19229}"/>
              </a:ext>
            </a:extLst>
          </p:cNvPr>
          <p:cNvSpPr/>
          <p:nvPr/>
        </p:nvSpPr>
        <p:spPr>
          <a:xfrm>
            <a:off x="6969898" y="2817781"/>
            <a:ext cx="4063855" cy="3000821"/>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llaborating and sharing content with each other in a work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llaboration and co-management of content is the highest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may occur by report viewers (especially for managers of the team), but it's usually a secondary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Reports aren't always highly sophisticated or attractive; functionality and accessing the information is what matters m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ower BI Pro or Power BI Premium Per User (PPU) licens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4106381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9906193" cy="5240830"/>
            <a:chOff x="992827" y="1403555"/>
            <a:chExt cx="9906193" cy="524083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alpha val="50000"/>
                    </a:srgbClr>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90950" y="1542423"/>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801943" y="3592790"/>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514064" y="5611360"/>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00985" y="3592790"/>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508917" y="3422446"/>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sp>
          <p:nvSpPr>
            <p:cNvPr id="17" name="Rectangle 16">
              <a:extLst>
                <a:ext uri="{FF2B5EF4-FFF2-40B4-BE49-F238E27FC236}">
                  <a16:creationId xmlns:a16="http://schemas.microsoft.com/office/drawing/2014/main" id="{1345F3D6-EE4A-45F8-8FF3-9841C2B76716}"/>
                </a:ext>
              </a:extLst>
            </p:cNvPr>
            <p:cNvSpPr/>
            <p:nvPr/>
          </p:nvSpPr>
          <p:spPr>
            <a:xfrm>
              <a:off x="6918162" y="2093060"/>
              <a:ext cx="3980858" cy="3485570"/>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ntent distribution to a larger number of consumers is a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Large number of consumers vs. small number of content crea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and apps is a high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dditional effort is made to deliver more sophisticated and polished rep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Needs for change management and application lifecycle management (ALM) begin to emerge to ensure release stability and a consistent experience for consu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mbination of Power BI Pro licenses, Premium Per User licenses, and/or Premium capacity licens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grpSp>
      <p:grpSp>
        <p:nvGrpSpPr>
          <p:cNvPr id="2" name="Group 1">
            <a:extLst>
              <a:ext uri="{FF2B5EF4-FFF2-40B4-BE49-F238E27FC236}">
                <a16:creationId xmlns:a16="http://schemas.microsoft.com/office/drawing/2014/main" id="{FCF5E851-60C8-40EF-A8B6-F8EC1CA5F23B}"/>
              </a:ext>
            </a:extLst>
          </p:cNvPr>
          <p:cNvGrpSpPr/>
          <p:nvPr/>
        </p:nvGrpSpPr>
        <p:grpSpPr>
          <a:xfrm>
            <a:off x="4481464" y="5440561"/>
            <a:ext cx="4478766" cy="794310"/>
            <a:chOff x="4481562" y="1154580"/>
            <a:chExt cx="4478766" cy="794310"/>
          </a:xfrm>
        </p:grpSpPr>
        <p:cxnSp>
          <p:nvCxnSpPr>
            <p:cNvPr id="50" name="Straight Connector 49">
              <a:extLst>
                <a:ext uri="{FF2B5EF4-FFF2-40B4-BE49-F238E27FC236}">
                  <a16:creationId xmlns:a16="http://schemas.microsoft.com/office/drawing/2014/main" id="{8EE81267-9F8C-40D0-BC66-7337A1295644}"/>
                </a:ext>
              </a:extLst>
            </p:cNvPr>
            <p:cNvCxnSpPr>
              <a:cxnSpLocks/>
            </p:cNvCxnSpPr>
            <p:nvPr/>
          </p:nvCxnSpPr>
          <p:spPr>
            <a:xfrm>
              <a:off x="4481562" y="1948890"/>
              <a:ext cx="4478766" cy="0"/>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B6242-F02F-49E1-8FED-5D2AD6C33382}"/>
                </a:ext>
              </a:extLst>
            </p:cNvPr>
            <p:cNvCxnSpPr>
              <a:cxnSpLocks/>
            </p:cNvCxnSpPr>
            <p:nvPr/>
          </p:nvCxnSpPr>
          <p:spPr>
            <a:xfrm>
              <a:off x="8960328" y="1154580"/>
              <a:ext cx="0" cy="794310"/>
            </a:xfrm>
            <a:prstGeom prst="line">
              <a:avLst/>
            </a:prstGeom>
            <a:ln w="15875">
              <a:solidFill>
                <a:schemeClr val="bg1">
                  <a:lumMod val="65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3" name="Titel 2">
            <a:extLst>
              <a:ext uri="{FF2B5EF4-FFF2-40B4-BE49-F238E27FC236}">
                <a16:creationId xmlns:a16="http://schemas.microsoft.com/office/drawing/2014/main" id="{600BF7A5-C6EE-43A1-90D0-56ADC4B8035D}"/>
              </a:ext>
            </a:extLst>
          </p:cNvPr>
          <p:cNvSpPr>
            <a:spLocks noGrp="1"/>
          </p:cNvSpPr>
          <p:nvPr>
            <p:ph type="title"/>
          </p:nvPr>
        </p:nvSpPr>
        <p:spPr/>
        <p:txBody>
          <a:bodyPr/>
          <a:lstStyle/>
          <a:p>
            <a:r>
              <a:rPr lang="de-DE" err="1"/>
              <a:t>Departmental</a:t>
            </a:r>
            <a:r>
              <a:rPr lang="de-DE"/>
              <a:t> BI</a:t>
            </a:r>
          </a:p>
        </p:txBody>
      </p:sp>
    </p:spTree>
    <p:extLst>
      <p:ext uri="{BB962C8B-B14F-4D97-AF65-F5344CB8AC3E}">
        <p14:creationId xmlns:p14="http://schemas.microsoft.com/office/powerpoint/2010/main" val="21699311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CF5E851-60C8-40EF-A8B6-F8EC1CA5F23B}"/>
              </a:ext>
            </a:extLst>
          </p:cNvPr>
          <p:cNvGrpSpPr/>
          <p:nvPr/>
        </p:nvGrpSpPr>
        <p:grpSpPr>
          <a:xfrm>
            <a:off x="1738077" y="5172247"/>
            <a:ext cx="7197376" cy="1442904"/>
            <a:chOff x="1762952" y="505986"/>
            <a:chExt cx="7197376" cy="1442904"/>
          </a:xfrm>
        </p:grpSpPr>
        <p:cxnSp>
          <p:nvCxnSpPr>
            <p:cNvPr id="50" name="Straight Connector 49">
              <a:extLst>
                <a:ext uri="{FF2B5EF4-FFF2-40B4-BE49-F238E27FC236}">
                  <a16:creationId xmlns:a16="http://schemas.microsoft.com/office/drawing/2014/main" id="{8EE81267-9F8C-40D0-BC66-7337A1295644}"/>
                </a:ext>
              </a:extLst>
            </p:cNvPr>
            <p:cNvCxnSpPr>
              <a:cxnSpLocks/>
            </p:cNvCxnSpPr>
            <p:nvPr/>
          </p:nvCxnSpPr>
          <p:spPr>
            <a:xfrm>
              <a:off x="1762952" y="1924353"/>
              <a:ext cx="7197376" cy="24537"/>
            </a:xfrm>
            <a:prstGeom prst="line">
              <a:avLst/>
            </a:prstGeom>
            <a:ln w="158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B6242-F02F-49E1-8FED-5D2AD6C33382}"/>
                </a:ext>
              </a:extLst>
            </p:cNvPr>
            <p:cNvCxnSpPr>
              <a:cxnSpLocks/>
            </p:cNvCxnSpPr>
            <p:nvPr/>
          </p:nvCxnSpPr>
          <p:spPr>
            <a:xfrm>
              <a:off x="8960328" y="1154580"/>
              <a:ext cx="0" cy="794310"/>
            </a:xfrm>
            <a:prstGeom prst="line">
              <a:avLst/>
            </a:prstGeom>
            <a:ln w="15875">
              <a:solidFill>
                <a:schemeClr val="bg1">
                  <a:lumMod val="65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9CD7EDD-C818-4C9E-ADF0-C7D51EB81DC9}"/>
                </a:ext>
              </a:extLst>
            </p:cNvPr>
            <p:cNvCxnSpPr>
              <a:cxnSpLocks/>
            </p:cNvCxnSpPr>
            <p:nvPr/>
          </p:nvCxnSpPr>
          <p:spPr>
            <a:xfrm flipH="1">
              <a:off x="1762952" y="505986"/>
              <a:ext cx="22446" cy="1442904"/>
            </a:xfrm>
            <a:prstGeom prst="line">
              <a:avLst/>
            </a:prstGeom>
            <a:ln w="15875">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5FB3205-1E5B-40C1-AE17-39E9F203C8E7}"/>
              </a:ext>
            </a:extLst>
          </p:cNvPr>
          <p:cNvGrpSpPr/>
          <p:nvPr/>
        </p:nvGrpSpPr>
        <p:grpSpPr>
          <a:xfrm>
            <a:off x="1241244" y="1403555"/>
            <a:ext cx="10589727" cy="5240830"/>
            <a:chOff x="992827" y="1403555"/>
            <a:chExt cx="10589727" cy="5240830"/>
          </a:xfrm>
        </p:grpSpPr>
        <p:grpSp>
          <p:nvGrpSpPr>
            <p:cNvPr id="47" name="Group 46">
              <a:extLst>
                <a:ext uri="{FF2B5EF4-FFF2-40B4-BE49-F238E27FC236}">
                  <a16:creationId xmlns:a16="http://schemas.microsoft.com/office/drawing/2014/main" id="{80FF6321-8136-4EF1-BC26-40622698698E}"/>
                </a:ext>
              </a:extLst>
            </p:cNvPr>
            <p:cNvGrpSpPr/>
            <p:nvPr/>
          </p:nvGrpSpPr>
          <p:grpSpPr>
            <a:xfrm>
              <a:off x="992827" y="1403555"/>
              <a:ext cx="5246421" cy="5240830"/>
              <a:chOff x="3473824" y="1065633"/>
              <a:chExt cx="5246421" cy="5240830"/>
            </a:xfrm>
          </p:grpSpPr>
          <p:sp>
            <p:nvSpPr>
              <p:cNvPr id="7" name="Freeform: Shape 6">
                <a:extLst>
                  <a:ext uri="{FF2B5EF4-FFF2-40B4-BE49-F238E27FC236}">
                    <a16:creationId xmlns:a16="http://schemas.microsoft.com/office/drawing/2014/main" id="{C6B4CF00-2013-4732-8F07-CF7D7BB01B93}"/>
                  </a:ext>
                </a:extLst>
              </p:cNvPr>
              <p:cNvSpPr/>
              <p:nvPr/>
            </p:nvSpPr>
            <p:spPr>
              <a:xfrm>
                <a:off x="3970657" y="2732760"/>
                <a:ext cx="4252617" cy="1900847"/>
              </a:xfrm>
              <a:custGeom>
                <a:avLst/>
                <a:gdLst>
                  <a:gd name="connsiteX0" fmla="*/ 2126309 w 4252617"/>
                  <a:gd name="connsiteY0" fmla="*/ 950424 h 1900847"/>
                  <a:gd name="connsiteX1" fmla="*/ 0 w 4252617"/>
                  <a:gd name="connsiteY1" fmla="*/ 950424 h 1900847"/>
                  <a:gd name="connsiteX2" fmla="*/ 2126309 w 4252617"/>
                  <a:gd name="connsiteY2" fmla="*/ 950424 h 1900847"/>
                  <a:gd name="connsiteX3" fmla="*/ 4252618 w 4252617"/>
                  <a:gd name="connsiteY3" fmla="*/ 950424 h 1900847"/>
                  <a:gd name="connsiteX4" fmla="*/ 2126309 w 4252617"/>
                  <a:gd name="connsiteY4" fmla="*/ 950424 h 1900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2617" h="1900847">
                    <a:moveTo>
                      <a:pt x="2126309" y="950424"/>
                    </a:moveTo>
                    <a:cubicBezTo>
                      <a:pt x="951988" y="950424"/>
                      <a:pt x="0" y="3088877"/>
                      <a:pt x="0" y="950424"/>
                    </a:cubicBezTo>
                    <a:cubicBezTo>
                      <a:pt x="0" y="-1188030"/>
                      <a:pt x="952126" y="950424"/>
                      <a:pt x="2126309" y="950424"/>
                    </a:cubicBezTo>
                    <a:cubicBezTo>
                      <a:pt x="3300492" y="950424"/>
                      <a:pt x="4252618" y="-1188030"/>
                      <a:pt x="4252618" y="950424"/>
                    </a:cubicBezTo>
                    <a:cubicBezTo>
                      <a:pt x="4252618" y="3088877"/>
                      <a:pt x="3300630" y="950424"/>
                      <a:pt x="2126309" y="950424"/>
                    </a:cubicBezTo>
                    <a:close/>
                  </a:path>
                </a:pathLst>
              </a:custGeom>
              <a:gradFill>
                <a:gsLst>
                  <a:gs pos="0">
                    <a:srgbClr val="FC6E04"/>
                  </a:gs>
                  <a:gs pos="100000">
                    <a:srgbClr val="92D050">
                      <a:alpha val="50000"/>
                    </a:srgbClr>
                  </a:gs>
                  <a:gs pos="50000">
                    <a:srgbClr val="FFFF00">
                      <a:alpha val="50000"/>
                    </a:srgb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30A24E46-2376-42C5-AB44-55C3883E0EC6}"/>
                  </a:ext>
                </a:extLst>
              </p:cNvPr>
              <p:cNvSpPr/>
              <p:nvPr/>
            </p:nvSpPr>
            <p:spPr>
              <a:xfrm>
                <a:off x="4090863" y="3190767"/>
                <a:ext cx="4012205" cy="984834"/>
              </a:xfrm>
              <a:custGeom>
                <a:avLst/>
                <a:gdLst>
                  <a:gd name="connsiteX0" fmla="*/ 2006103 w 4012205"/>
                  <a:gd name="connsiteY0" fmla="*/ 492417 h 984834"/>
                  <a:gd name="connsiteX1" fmla="*/ 0 w 4012205"/>
                  <a:gd name="connsiteY1" fmla="*/ 492417 h 984834"/>
                  <a:gd name="connsiteX2" fmla="*/ 2006103 w 4012205"/>
                  <a:gd name="connsiteY2" fmla="*/ 492417 h 984834"/>
                  <a:gd name="connsiteX3" fmla="*/ 4012205 w 4012205"/>
                  <a:gd name="connsiteY3" fmla="*/ 492417 h 984834"/>
                  <a:gd name="connsiteX4" fmla="*/ 2006103 w 4012205"/>
                  <a:gd name="connsiteY4" fmla="*/ 492417 h 98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205" h="984834">
                    <a:moveTo>
                      <a:pt x="2006103" y="492417"/>
                    </a:moveTo>
                    <a:cubicBezTo>
                      <a:pt x="898164" y="492417"/>
                      <a:pt x="0" y="1600356"/>
                      <a:pt x="0" y="492417"/>
                    </a:cubicBezTo>
                    <a:cubicBezTo>
                      <a:pt x="0" y="-615521"/>
                      <a:pt x="898302" y="492417"/>
                      <a:pt x="2006103" y="492417"/>
                    </a:cubicBezTo>
                    <a:cubicBezTo>
                      <a:pt x="3113903" y="492417"/>
                      <a:pt x="4012205" y="-615521"/>
                      <a:pt x="4012205" y="492417"/>
                    </a:cubicBezTo>
                    <a:cubicBezTo>
                      <a:pt x="4012205" y="1600356"/>
                      <a:pt x="3114041" y="492417"/>
                      <a:pt x="2006103" y="492417"/>
                    </a:cubicBezTo>
                    <a:close/>
                  </a:path>
                </a:pathLst>
              </a:custGeom>
              <a:gradFill>
                <a:gsLst>
                  <a:gs pos="0">
                    <a:schemeClr val="accent1">
                      <a:lumMod val="5000"/>
                      <a:lumOff val="95000"/>
                    </a:schemeClr>
                  </a:gs>
                  <a:gs pos="100000">
                    <a:schemeClr val="bg1"/>
                  </a:gs>
                  <a:gs pos="5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48DBFB8-333F-44C1-BF32-B84B4BC123F5}"/>
                  </a:ext>
                </a:extLst>
              </p:cNvPr>
              <p:cNvSpPr/>
              <p:nvPr/>
            </p:nvSpPr>
            <p:spPr>
              <a:xfrm>
                <a:off x="7485891"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a:effectLst>
                <a:outerShdw blurRad="101600" dist="38100" algn="l"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E43DE847-5A7A-42FA-838B-95A4F99207A3}"/>
                  </a:ext>
                </a:extLst>
              </p:cNvPr>
              <p:cNvSpPr/>
              <p:nvPr/>
            </p:nvSpPr>
            <p:spPr>
              <a:xfrm>
                <a:off x="3473824" y="3087260"/>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a:effectLst>
                <a:outerShdw blurRad="101600" dist="38100" dir="10800000" algn="r"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28EFBFA-0B99-469B-8F67-9F3FA8D2E735}"/>
                  </a:ext>
                </a:extLst>
              </p:cNvPr>
              <p:cNvSpPr/>
              <p:nvPr/>
            </p:nvSpPr>
            <p:spPr>
              <a:xfrm>
                <a:off x="3523659"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08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325EE02-FBF0-4C82-921D-CF6D908EDCB4}"/>
                  </a:ext>
                </a:extLst>
              </p:cNvPr>
              <p:cNvSpPr/>
              <p:nvPr/>
            </p:nvSpPr>
            <p:spPr>
              <a:xfrm>
                <a:off x="7535726" y="3137095"/>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E5058041-5430-471F-9B0C-8F722CCA0B1A}"/>
                  </a:ext>
                </a:extLst>
              </p:cNvPr>
              <p:cNvSpPr/>
              <p:nvPr/>
            </p:nvSpPr>
            <p:spPr>
              <a:xfrm>
                <a:off x="5146542" y="1556875"/>
                <a:ext cx="1900847" cy="4252617"/>
              </a:xfrm>
              <a:custGeom>
                <a:avLst/>
                <a:gdLst>
                  <a:gd name="connsiteX0" fmla="*/ 950424 w 1900847"/>
                  <a:gd name="connsiteY0" fmla="*/ 2126309 h 4252617"/>
                  <a:gd name="connsiteX1" fmla="*/ 950424 w 1900847"/>
                  <a:gd name="connsiteY1" fmla="*/ 4252618 h 4252617"/>
                  <a:gd name="connsiteX2" fmla="*/ 950424 w 1900847"/>
                  <a:gd name="connsiteY2" fmla="*/ 2126309 h 4252617"/>
                  <a:gd name="connsiteX3" fmla="*/ 950424 w 1900847"/>
                  <a:gd name="connsiteY3" fmla="*/ 0 h 4252617"/>
                  <a:gd name="connsiteX4" fmla="*/ 950424 w 1900847"/>
                  <a:gd name="connsiteY4" fmla="*/ 2126309 h 425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847" h="4252617">
                    <a:moveTo>
                      <a:pt x="950424" y="2126309"/>
                    </a:moveTo>
                    <a:cubicBezTo>
                      <a:pt x="950424" y="3300630"/>
                      <a:pt x="3088877" y="4252618"/>
                      <a:pt x="950424" y="4252618"/>
                    </a:cubicBezTo>
                    <a:cubicBezTo>
                      <a:pt x="-1188030" y="4252618"/>
                      <a:pt x="950424" y="3300630"/>
                      <a:pt x="950424" y="2126309"/>
                    </a:cubicBezTo>
                    <a:cubicBezTo>
                      <a:pt x="950424" y="951988"/>
                      <a:pt x="-1188030" y="0"/>
                      <a:pt x="950424" y="0"/>
                    </a:cubicBezTo>
                    <a:cubicBezTo>
                      <a:pt x="3088877" y="0"/>
                      <a:pt x="950424" y="952126"/>
                      <a:pt x="950424" y="2126309"/>
                    </a:cubicBezTo>
                    <a:close/>
                  </a:path>
                </a:pathLst>
              </a:custGeom>
              <a:gradFill flip="none" rotWithShape="1">
                <a:gsLst>
                  <a:gs pos="50000">
                    <a:srgbClr val="FFC000">
                      <a:alpha val="50000"/>
                    </a:srgbClr>
                  </a:gs>
                  <a:gs pos="100000">
                    <a:srgbClr val="F80378">
                      <a:alpha val="50000"/>
                    </a:srgbClr>
                  </a:gs>
                  <a:gs pos="0">
                    <a:srgbClr val="00B0F0">
                      <a:alpha val="50000"/>
                    </a:srgb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50</a:t>
                </a:r>
              </a:p>
            </p:txBody>
          </p:sp>
          <p:sp>
            <p:nvSpPr>
              <p:cNvPr id="10" name="Freeform: Shape 9">
                <a:extLst>
                  <a:ext uri="{FF2B5EF4-FFF2-40B4-BE49-F238E27FC236}">
                    <a16:creationId xmlns:a16="http://schemas.microsoft.com/office/drawing/2014/main" id="{C1DCB4F6-F634-43F3-BB94-09EA38E2D265}"/>
                  </a:ext>
                </a:extLst>
              </p:cNvPr>
              <p:cNvSpPr/>
              <p:nvPr/>
            </p:nvSpPr>
            <p:spPr>
              <a:xfrm>
                <a:off x="5604549" y="1677081"/>
                <a:ext cx="984834" cy="4012205"/>
              </a:xfrm>
              <a:custGeom>
                <a:avLst/>
                <a:gdLst>
                  <a:gd name="connsiteX0" fmla="*/ 492417 w 984834"/>
                  <a:gd name="connsiteY0" fmla="*/ 2006103 h 4012205"/>
                  <a:gd name="connsiteX1" fmla="*/ 492417 w 984834"/>
                  <a:gd name="connsiteY1" fmla="*/ 4012205 h 4012205"/>
                  <a:gd name="connsiteX2" fmla="*/ 492417 w 984834"/>
                  <a:gd name="connsiteY2" fmla="*/ 2006103 h 4012205"/>
                  <a:gd name="connsiteX3" fmla="*/ 492417 w 984834"/>
                  <a:gd name="connsiteY3" fmla="*/ 0 h 4012205"/>
                  <a:gd name="connsiteX4" fmla="*/ 492417 w 984834"/>
                  <a:gd name="connsiteY4" fmla="*/ 2006103 h 4012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34" h="4012205">
                    <a:moveTo>
                      <a:pt x="492417" y="2006103"/>
                    </a:moveTo>
                    <a:cubicBezTo>
                      <a:pt x="492417" y="3114041"/>
                      <a:pt x="1600356" y="4012205"/>
                      <a:pt x="492417" y="4012205"/>
                    </a:cubicBezTo>
                    <a:cubicBezTo>
                      <a:pt x="-615521" y="4012205"/>
                      <a:pt x="492417" y="3114041"/>
                      <a:pt x="492417" y="2006103"/>
                    </a:cubicBezTo>
                    <a:cubicBezTo>
                      <a:pt x="492417" y="898164"/>
                      <a:pt x="-615521" y="0"/>
                      <a:pt x="492417" y="0"/>
                    </a:cubicBezTo>
                    <a:cubicBezTo>
                      <a:pt x="1600356" y="0"/>
                      <a:pt x="492417" y="898302"/>
                      <a:pt x="492417" y="2006103"/>
                    </a:cubicBezTo>
                    <a:close/>
                  </a:path>
                </a:pathLst>
              </a:custGeom>
              <a:gradFill flip="none" rotWithShape="1">
                <a:gsLst>
                  <a:gs pos="0">
                    <a:schemeClr val="accent1">
                      <a:lumMod val="5000"/>
                      <a:lumOff val="95000"/>
                    </a:schemeClr>
                  </a:gs>
                  <a:gs pos="100000">
                    <a:schemeClr val="bg1"/>
                  </a:gs>
                  <a:gs pos="5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13723410-FDEA-4B0A-8BC6-B17213DD64DC}"/>
                  </a:ext>
                </a:extLst>
              </p:cNvPr>
              <p:cNvSpPr/>
              <p:nvPr/>
            </p:nvSpPr>
            <p:spPr>
              <a:xfrm>
                <a:off x="5479788" y="1065633"/>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a:effectLst>
                <a:outerShdw blurRad="101600" dist="38100" dir="16200000"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99BD2BB8-F534-4DFC-B1A3-C8D392A8EFCB}"/>
                  </a:ext>
                </a:extLst>
              </p:cNvPr>
              <p:cNvSpPr/>
              <p:nvPr/>
            </p:nvSpPr>
            <p:spPr>
              <a:xfrm>
                <a:off x="5479788" y="5072109"/>
                <a:ext cx="1234354" cy="123435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a:effectLst>
                <a:outerShdw blurRad="101600" dist="38100" dir="5400000" algn="t" rotWithShape="0">
                  <a:prstClr val="black">
                    <a:alpha val="1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E1ADBBB-A87C-43E3-A1A9-97503E91B4DB}"/>
                  </a:ext>
                </a:extLst>
              </p:cNvPr>
              <p:cNvSpPr/>
              <p:nvPr/>
            </p:nvSpPr>
            <p:spPr>
              <a:xfrm>
                <a:off x="5529623" y="1115468"/>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162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9A9F98F-4080-4876-9D93-0E9F12630DF3}"/>
                  </a:ext>
                </a:extLst>
              </p:cNvPr>
              <p:cNvSpPr/>
              <p:nvPr/>
            </p:nvSpPr>
            <p:spPr>
              <a:xfrm>
                <a:off x="5529623" y="5121944"/>
                <a:ext cx="1134684" cy="1134684"/>
              </a:xfrm>
              <a:custGeom>
                <a:avLst/>
                <a:gdLst>
                  <a:gd name="connsiteX0" fmla="*/ 1234355 w 1234354"/>
                  <a:gd name="connsiteY0" fmla="*/ 617177 h 1234354"/>
                  <a:gd name="connsiteX1" fmla="*/ 617177 w 1234354"/>
                  <a:gd name="connsiteY1" fmla="*/ 1234355 h 1234354"/>
                  <a:gd name="connsiteX2" fmla="*/ 0 w 1234354"/>
                  <a:gd name="connsiteY2" fmla="*/ 617177 h 1234354"/>
                  <a:gd name="connsiteX3" fmla="*/ 617177 w 1234354"/>
                  <a:gd name="connsiteY3" fmla="*/ 0 h 1234354"/>
                  <a:gd name="connsiteX4" fmla="*/ 1234355 w 1234354"/>
                  <a:gd name="connsiteY4" fmla="*/ 617177 h 123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354" h="1234354">
                    <a:moveTo>
                      <a:pt x="1234355" y="617177"/>
                    </a:moveTo>
                    <a:cubicBezTo>
                      <a:pt x="1234355" y="958035"/>
                      <a:pt x="958035" y="1234355"/>
                      <a:pt x="617177" y="1234355"/>
                    </a:cubicBezTo>
                    <a:cubicBezTo>
                      <a:pt x="276320" y="1234355"/>
                      <a:pt x="0" y="958035"/>
                      <a:pt x="0" y="617177"/>
                    </a:cubicBezTo>
                    <a:cubicBezTo>
                      <a:pt x="0" y="276320"/>
                      <a:pt x="276320" y="0"/>
                      <a:pt x="617177" y="0"/>
                    </a:cubicBezTo>
                    <a:cubicBezTo>
                      <a:pt x="958035" y="0"/>
                      <a:pt x="1234355" y="276320"/>
                      <a:pt x="1234355" y="617177"/>
                    </a:cubicBezTo>
                    <a:close/>
                  </a:path>
                </a:pathLst>
              </a:custGeom>
              <a:gradFill flip="none" rotWithShape="1">
                <a:gsLst>
                  <a:gs pos="0">
                    <a:schemeClr val="accent1">
                      <a:lumMod val="5000"/>
                      <a:lumOff val="95000"/>
                    </a:schemeClr>
                  </a:gs>
                  <a:gs pos="100000">
                    <a:schemeClr val="accent1">
                      <a:lumMod val="30000"/>
                      <a:lumOff val="70000"/>
                    </a:schemeClr>
                  </a:gs>
                </a:gsLst>
                <a:lin ang="5400000" scaled="1"/>
                <a:tileRect/>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03D8BD10-70DD-41E4-8682-C440B924E3C3}"/>
                  </a:ext>
                </a:extLst>
              </p:cNvPr>
              <p:cNvSpPr/>
              <p:nvPr/>
            </p:nvSpPr>
            <p:spPr>
              <a:xfrm>
                <a:off x="5208807" y="2794956"/>
                <a:ext cx="1776455" cy="1776455"/>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0">
                    <a:schemeClr val="accent1">
                      <a:lumMod val="5000"/>
                      <a:lumOff val="95000"/>
                    </a:schemeClr>
                  </a:gs>
                  <a:gs pos="10000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3498F16F-2E61-447B-87BB-6E36E8D2C2C3}"/>
                  </a:ext>
                </a:extLst>
              </p:cNvPr>
              <p:cNvSpPr/>
              <p:nvPr/>
            </p:nvSpPr>
            <p:spPr>
              <a:xfrm>
                <a:off x="5342500" y="2928650"/>
                <a:ext cx="1509068" cy="1509066"/>
              </a:xfrm>
              <a:custGeom>
                <a:avLst/>
                <a:gdLst>
                  <a:gd name="connsiteX0" fmla="*/ 1776455 w 1776455"/>
                  <a:gd name="connsiteY0" fmla="*/ 888228 h 1776455"/>
                  <a:gd name="connsiteX1" fmla="*/ 888228 w 1776455"/>
                  <a:gd name="connsiteY1" fmla="*/ 1776455 h 1776455"/>
                  <a:gd name="connsiteX2" fmla="*/ 0 w 1776455"/>
                  <a:gd name="connsiteY2" fmla="*/ 888228 h 1776455"/>
                  <a:gd name="connsiteX3" fmla="*/ 888228 w 1776455"/>
                  <a:gd name="connsiteY3" fmla="*/ 0 h 1776455"/>
                  <a:gd name="connsiteX4" fmla="*/ 1776455 w 1776455"/>
                  <a:gd name="connsiteY4" fmla="*/ 888228 h 1776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6455" h="1776455">
                    <a:moveTo>
                      <a:pt x="1776455" y="888228"/>
                    </a:moveTo>
                    <a:cubicBezTo>
                      <a:pt x="1776455" y="1378782"/>
                      <a:pt x="1378782" y="1776455"/>
                      <a:pt x="888228" y="1776455"/>
                    </a:cubicBezTo>
                    <a:cubicBezTo>
                      <a:pt x="397673" y="1776455"/>
                      <a:pt x="0" y="1378782"/>
                      <a:pt x="0" y="888228"/>
                    </a:cubicBezTo>
                    <a:cubicBezTo>
                      <a:pt x="0" y="397673"/>
                      <a:pt x="397673" y="0"/>
                      <a:pt x="888228" y="0"/>
                    </a:cubicBezTo>
                    <a:cubicBezTo>
                      <a:pt x="1378782" y="0"/>
                      <a:pt x="1776455" y="397673"/>
                      <a:pt x="1776455" y="888228"/>
                    </a:cubicBezTo>
                    <a:close/>
                  </a:path>
                </a:pathLst>
              </a:custGeom>
              <a:gradFill>
                <a:gsLst>
                  <a:gs pos="100000">
                    <a:schemeClr val="accent1">
                      <a:lumMod val="5000"/>
                      <a:lumOff val="95000"/>
                    </a:schemeClr>
                  </a:gs>
                  <a:gs pos="0">
                    <a:schemeClr val="accent1">
                      <a:lumMod val="30000"/>
                      <a:lumOff val="70000"/>
                    </a:schemeClr>
                  </a:gs>
                </a:gsLst>
                <a:lin ang="0" scaled="1"/>
              </a:gradFill>
              <a:ln w="137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A419932-F772-4A8D-9F34-28032A3E1B64}"/>
                  </a:ext>
                </a:extLst>
              </p:cNvPr>
              <p:cNvSpPr txBox="1"/>
              <p:nvPr/>
            </p:nvSpPr>
            <p:spPr>
              <a:xfrm>
                <a:off x="5610249" y="1556875"/>
                <a:ext cx="88678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Personal BI</a:t>
                </a:r>
              </a:p>
            </p:txBody>
          </p:sp>
          <p:sp>
            <p:nvSpPr>
              <p:cNvPr id="37" name="TextBox 36">
                <a:extLst>
                  <a:ext uri="{FF2B5EF4-FFF2-40B4-BE49-F238E27FC236}">
                    <a16:creationId xmlns:a16="http://schemas.microsoft.com/office/drawing/2014/main" id="{4D49261E-CA71-46D0-8032-515D1EB88FD9}"/>
                  </a:ext>
                </a:extLst>
              </p:cNvPr>
              <p:cNvSpPr txBox="1"/>
              <p:nvPr/>
            </p:nvSpPr>
            <p:spPr>
              <a:xfrm>
                <a:off x="7795116" y="3568928"/>
                <a:ext cx="68159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Team BI</a:t>
                </a:r>
              </a:p>
            </p:txBody>
          </p:sp>
          <p:sp>
            <p:nvSpPr>
              <p:cNvPr id="40" name="TextBox 39">
                <a:extLst>
                  <a:ext uri="{FF2B5EF4-FFF2-40B4-BE49-F238E27FC236}">
                    <a16:creationId xmlns:a16="http://schemas.microsoft.com/office/drawing/2014/main" id="{14A32E87-1AE6-45D2-9D67-57AE98E3B3B8}"/>
                  </a:ext>
                </a:extLst>
              </p:cNvPr>
              <p:cNvSpPr txBox="1"/>
              <p:nvPr/>
            </p:nvSpPr>
            <p:spPr>
              <a:xfrm>
                <a:off x="5498123" y="5546572"/>
                <a:ext cx="116570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75000"/>
                      </a:prstClr>
                    </a:solidFill>
                    <a:effectLst/>
                    <a:uLnTx/>
                    <a:uFillTx/>
                    <a:latin typeface="Arial" panose="020B0604020202020204" pitchFamily="34" charset="0"/>
                    <a:ea typeface="+mn-ea"/>
                    <a:cs typeface="Arial" panose="020B0604020202020204" pitchFamily="34" charset="0"/>
                  </a:rPr>
                  <a:t>Departmental BI</a:t>
                </a:r>
              </a:p>
            </p:txBody>
          </p:sp>
          <p:sp>
            <p:nvSpPr>
              <p:cNvPr id="43" name="TextBox 42">
                <a:extLst>
                  <a:ext uri="{FF2B5EF4-FFF2-40B4-BE49-F238E27FC236}">
                    <a16:creationId xmlns:a16="http://schemas.microsoft.com/office/drawing/2014/main" id="{941B73B5-88A6-4324-AED3-189CD2CF130B}"/>
                  </a:ext>
                </a:extLst>
              </p:cNvPr>
              <p:cNvSpPr txBox="1"/>
              <p:nvPr/>
            </p:nvSpPr>
            <p:spPr>
              <a:xfrm>
                <a:off x="3614529" y="3560072"/>
                <a:ext cx="9797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Enterprise BI</a:t>
                </a:r>
              </a:p>
            </p:txBody>
          </p:sp>
          <p:sp>
            <p:nvSpPr>
              <p:cNvPr id="29" name="TextBox 28">
                <a:extLst>
                  <a:ext uri="{FF2B5EF4-FFF2-40B4-BE49-F238E27FC236}">
                    <a16:creationId xmlns:a16="http://schemas.microsoft.com/office/drawing/2014/main" id="{416EC608-72FF-4DC7-AAA7-89D156112C2C}"/>
                  </a:ext>
                </a:extLst>
              </p:cNvPr>
              <p:cNvSpPr txBox="1"/>
              <p:nvPr/>
            </p:nvSpPr>
            <p:spPr>
              <a:xfrm>
                <a:off x="5486765" y="3389789"/>
                <a:ext cx="12779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Ma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ponents</a:t>
                </a:r>
              </a:p>
            </p:txBody>
          </p:sp>
        </p:grpSp>
        <p:sp>
          <p:nvSpPr>
            <p:cNvPr id="17" name="Rectangle 16">
              <a:extLst>
                <a:ext uri="{FF2B5EF4-FFF2-40B4-BE49-F238E27FC236}">
                  <a16:creationId xmlns:a16="http://schemas.microsoft.com/office/drawing/2014/main" id="{1345F3D6-EE4A-45F8-8FF3-9841C2B76716}"/>
                </a:ext>
              </a:extLst>
            </p:cNvPr>
            <p:cNvSpPr/>
            <p:nvPr/>
          </p:nvSpPr>
          <p:spPr>
            <a:xfrm>
              <a:off x="6448803" y="1813589"/>
              <a:ext cx="5133751" cy="3785652"/>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 centralized end-to-end content management  by BI expe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Formal delivery of reports and apps is a high prio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The content is highly sensitive, subject to regulatory requirements, or is considered extremely cr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ublished enterprise-level datasets and dataflows as a source for self-service creators, thus creating a chain of dependencies to the sour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Stability and a consistent experience for consumers are highly importa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Application lifecycle management, such as deployment pipelines and DevOps techniques, is commonly u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hange management processes to review and approve changes before they're deployed are commonly used for enterprise BI con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Processes exist to gather requirements, prioritize efforts, and plan for new projects or enhancements to existing con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Integration with other enterprise-level data architecture and management services may exist, possibly with other Azure services and Power Platform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7F7F7F"/>
                  </a:solidFill>
                  <a:effectLst/>
                  <a:uLnTx/>
                  <a:uFillTx/>
                  <a:latin typeface="Arial" panose="020B0604020202020204" pitchFamily="34" charset="0"/>
                  <a:ea typeface="+mn-ea"/>
                  <a:cs typeface="Arial" panose="020B0604020202020204" pitchFamily="34" charset="0"/>
                </a:rPr>
                <a:t>Combination of Power BI Pro licenses, Premium Per User licenses, and/or Premium capacity licenses.</a:t>
              </a:r>
            </a:p>
          </p:txBody>
        </p:sp>
      </p:grpSp>
      <p:sp>
        <p:nvSpPr>
          <p:cNvPr id="3" name="Titel 2">
            <a:extLst>
              <a:ext uri="{FF2B5EF4-FFF2-40B4-BE49-F238E27FC236}">
                <a16:creationId xmlns:a16="http://schemas.microsoft.com/office/drawing/2014/main" id="{06204C8F-5739-4006-BE60-223C2B065A7F}"/>
              </a:ext>
            </a:extLst>
          </p:cNvPr>
          <p:cNvSpPr>
            <a:spLocks noGrp="1"/>
          </p:cNvSpPr>
          <p:nvPr>
            <p:ph type="title"/>
          </p:nvPr>
        </p:nvSpPr>
        <p:spPr/>
        <p:txBody>
          <a:bodyPr/>
          <a:lstStyle/>
          <a:p>
            <a:r>
              <a:rPr lang="de-DE"/>
              <a:t>Enterprise BI</a:t>
            </a:r>
          </a:p>
        </p:txBody>
      </p:sp>
    </p:spTree>
    <p:extLst>
      <p:ext uri="{BB962C8B-B14F-4D97-AF65-F5344CB8AC3E}">
        <p14:creationId xmlns:p14="http://schemas.microsoft.com/office/powerpoint/2010/main" val="87625096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CC9D61-E87E-462A-9D65-04FC13157F59}"/>
              </a:ext>
            </a:extLst>
          </p:cNvPr>
          <p:cNvSpPr>
            <a:spLocks noGrp="1"/>
          </p:cNvSpPr>
          <p:nvPr>
            <p:ph type="title"/>
          </p:nvPr>
        </p:nvSpPr>
        <p:spPr/>
        <p:txBody>
          <a:bodyPr/>
          <a:lstStyle/>
          <a:p>
            <a:r>
              <a:rPr lang="en-GB"/>
              <a:t>Phases of delivery: Self-Service BI</a:t>
            </a:r>
          </a:p>
        </p:txBody>
      </p:sp>
      <p:sp>
        <p:nvSpPr>
          <p:cNvPr id="2" name="TextBox 1">
            <a:extLst>
              <a:ext uri="{FF2B5EF4-FFF2-40B4-BE49-F238E27FC236}">
                <a16:creationId xmlns:a16="http://schemas.microsoft.com/office/drawing/2014/main" id="{AF15C306-5AF5-48B2-9088-0D488EDD8D27}"/>
              </a:ext>
            </a:extLst>
          </p:cNvPr>
          <p:cNvSpPr txBox="1"/>
          <p:nvPr/>
        </p:nvSpPr>
        <p:spPr>
          <a:xfrm>
            <a:off x="365992" y="5391288"/>
            <a:ext cx="1894558"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ottom-U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4" name="Arrow: Down 3">
            <a:extLst>
              <a:ext uri="{FF2B5EF4-FFF2-40B4-BE49-F238E27FC236}">
                <a16:creationId xmlns:a16="http://schemas.microsoft.com/office/drawing/2014/main" id="{FCE58FD4-B26D-4843-8F18-F97851CBBDFA}"/>
              </a:ext>
            </a:extLst>
          </p:cNvPr>
          <p:cNvSpPr/>
          <p:nvPr/>
        </p:nvSpPr>
        <p:spPr bwMode="auto">
          <a:xfrm flipV="1">
            <a:off x="1001845" y="4569601"/>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2D2084DA-13ED-498E-9946-54FF0847BEFE}"/>
              </a:ext>
            </a:extLst>
          </p:cNvPr>
          <p:cNvSpPr txBox="1"/>
          <p:nvPr/>
        </p:nvSpPr>
        <p:spPr>
          <a:xfrm>
            <a:off x="2523306" y="2263119"/>
            <a:ext cx="2570922" cy="1453619"/>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urrent Stat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ssessment</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7" name="TextBox 6">
            <a:extLst>
              <a:ext uri="{FF2B5EF4-FFF2-40B4-BE49-F238E27FC236}">
                <a16:creationId xmlns:a16="http://schemas.microsoft.com/office/drawing/2014/main" id="{6A77DEA2-F524-4893-BD6C-AAC5397C959F}"/>
              </a:ext>
            </a:extLst>
          </p:cNvPr>
          <p:cNvSpPr txBox="1"/>
          <p:nvPr/>
        </p:nvSpPr>
        <p:spPr>
          <a:xfrm>
            <a:off x="6391147" y="1647256"/>
            <a:ext cx="3200401" cy="1446550"/>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actical Prototyping</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mp; Solution Cre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163BDDBF-610B-455B-9240-CE5B4B171260}"/>
              </a:ext>
            </a:extLst>
          </p:cNvPr>
          <p:cNvSpPr txBox="1"/>
          <p:nvPr/>
        </p:nvSpPr>
        <p:spPr>
          <a:xfrm>
            <a:off x="8633923" y="4512662"/>
            <a:ext cx="2570922"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ublishing &amp; Monitor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9E749784-65E8-4991-B494-DB28A675F1AE}"/>
              </a:ext>
            </a:extLst>
          </p:cNvPr>
          <p:cNvSpPr txBox="1"/>
          <p:nvPr/>
        </p:nvSpPr>
        <p:spPr>
          <a:xfrm>
            <a:off x="4618382" y="4512662"/>
            <a:ext cx="2955235"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4</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pport, Training &amp; Expans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1" name="Connector: Curved 10">
            <a:extLst>
              <a:ext uri="{FF2B5EF4-FFF2-40B4-BE49-F238E27FC236}">
                <a16:creationId xmlns:a16="http://schemas.microsoft.com/office/drawing/2014/main" id="{2EBBC3AF-A4FE-47AB-AC24-D35E3DCED764}"/>
              </a:ext>
            </a:extLst>
          </p:cNvPr>
          <p:cNvCxnSpPr>
            <a:stCxn id="6" idx="3"/>
            <a:endCxn id="7" idx="1"/>
          </p:cNvCxnSpPr>
          <p:nvPr/>
        </p:nvCxnSpPr>
        <p:spPr>
          <a:xfrm flipV="1">
            <a:off x="5094228" y="2370531"/>
            <a:ext cx="1296919" cy="61939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940BCCCA-43B8-4927-A04C-E55DFB11469E}"/>
              </a:ext>
            </a:extLst>
          </p:cNvPr>
          <p:cNvCxnSpPr>
            <a:cxnSpLocks/>
            <a:endCxn id="8" idx="0"/>
          </p:cNvCxnSpPr>
          <p:nvPr/>
        </p:nvCxnSpPr>
        <p:spPr>
          <a:xfrm rot="16200000" flipH="1">
            <a:off x="8622847" y="3216125"/>
            <a:ext cx="1418856" cy="117421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E0B26FCE-6700-4B0F-9E83-D537BA45C8DF}"/>
              </a:ext>
            </a:extLst>
          </p:cNvPr>
          <p:cNvCxnSpPr>
            <a:cxnSpLocks/>
            <a:stCxn id="9" idx="0"/>
          </p:cNvCxnSpPr>
          <p:nvPr/>
        </p:nvCxnSpPr>
        <p:spPr>
          <a:xfrm rot="5400000" flipH="1" flipV="1">
            <a:off x="5925053" y="3264757"/>
            <a:ext cx="1418853" cy="1076958"/>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C8870E7-9364-4DEA-8CB0-457E4E7D3C60}"/>
              </a:ext>
            </a:extLst>
          </p:cNvPr>
          <p:cNvCxnSpPr>
            <a:cxnSpLocks/>
            <a:stCxn id="8" idx="1"/>
            <a:endCxn id="9" idx="3"/>
          </p:cNvCxnSpPr>
          <p:nvPr/>
        </p:nvCxnSpPr>
        <p:spPr>
          <a:xfrm flipH="1">
            <a:off x="7573617" y="5197465"/>
            <a:ext cx="106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2E85A02-C4AD-4404-8043-E911F04CD62A}"/>
              </a:ext>
            </a:extLst>
          </p:cNvPr>
          <p:cNvSpPr txBox="1"/>
          <p:nvPr/>
        </p:nvSpPr>
        <p:spPr>
          <a:xfrm flipH="1">
            <a:off x="6636314" y="3803234"/>
            <a:ext cx="295523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peats for each project</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636013607"/>
      </p:ext>
    </p:extLst>
  </p:cSld>
  <p:clrMapOvr>
    <a:masterClrMapping/>
  </p:clrMapOvr>
  <mc:AlternateContent xmlns:mc="http://schemas.openxmlformats.org/markup-compatibility/2006" xmlns:p14="http://schemas.microsoft.com/office/powerpoint/2010/main">
    <mc:Choice Requires="p14">
      <p:transition spd="med" p14:dur="700" advTm="227033">
        <p:fade/>
      </p:transition>
    </mc:Choice>
    <mc:Fallback xmlns="">
      <p:transition spd="med" advTm="22703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42"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940D8-FA19-496F-860C-14B3FCBD0960}"/>
              </a:ext>
            </a:extLst>
          </p:cNvPr>
          <p:cNvSpPr>
            <a:spLocks noGrp="1"/>
          </p:cNvSpPr>
          <p:nvPr>
            <p:ph type="title"/>
          </p:nvPr>
        </p:nvSpPr>
        <p:spPr/>
        <p:txBody>
          <a:bodyPr/>
          <a:lstStyle/>
          <a:p>
            <a:r>
              <a:rPr lang="en-GB"/>
              <a:t>Phases of delivery: Corporate BI</a:t>
            </a:r>
          </a:p>
        </p:txBody>
      </p:sp>
      <p:sp>
        <p:nvSpPr>
          <p:cNvPr id="8" name="TextBox 7">
            <a:extLst>
              <a:ext uri="{FF2B5EF4-FFF2-40B4-BE49-F238E27FC236}">
                <a16:creationId xmlns:a16="http://schemas.microsoft.com/office/drawing/2014/main" id="{72EEB431-8D14-4DFB-B62F-40853E61386D}"/>
              </a:ext>
            </a:extLst>
          </p:cNvPr>
          <p:cNvSpPr txBox="1"/>
          <p:nvPr/>
        </p:nvSpPr>
        <p:spPr>
          <a:xfrm>
            <a:off x="5150891" y="1709651"/>
            <a:ext cx="3694615"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quirements Discovery</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53F17F0C-A86E-4B5B-9B53-E1B9E556B8CB}"/>
              </a:ext>
            </a:extLst>
          </p:cNvPr>
          <p:cNvSpPr txBox="1"/>
          <p:nvPr/>
        </p:nvSpPr>
        <p:spPr>
          <a:xfrm>
            <a:off x="8279833" y="3400013"/>
            <a:ext cx="3232795"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trategic Prototyp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3BFCB1AF-3D8D-435C-B88B-672BF65D37F1}"/>
              </a:ext>
            </a:extLst>
          </p:cNvPr>
          <p:cNvSpPr txBox="1"/>
          <p:nvPr/>
        </p:nvSpPr>
        <p:spPr>
          <a:xfrm>
            <a:off x="7794782" y="5450924"/>
            <a:ext cx="2101449"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lueprint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TextBox 10">
            <a:extLst>
              <a:ext uri="{FF2B5EF4-FFF2-40B4-BE49-F238E27FC236}">
                <a16:creationId xmlns:a16="http://schemas.microsoft.com/office/drawing/2014/main" id="{67DAB700-FFA3-4ECB-BF0A-38981DEC1B04}"/>
              </a:ext>
            </a:extLst>
          </p:cNvPr>
          <p:cNvSpPr txBox="1"/>
          <p:nvPr/>
        </p:nvSpPr>
        <p:spPr>
          <a:xfrm>
            <a:off x="3957053" y="5450924"/>
            <a:ext cx="2275364" cy="1037207"/>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4</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ment</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3" name="TextBox 12">
            <a:extLst>
              <a:ext uri="{FF2B5EF4-FFF2-40B4-BE49-F238E27FC236}">
                <a16:creationId xmlns:a16="http://schemas.microsoft.com/office/drawing/2014/main" id="{28269A3C-7631-49A4-AAF8-E8AAC8CBC510}"/>
              </a:ext>
            </a:extLst>
          </p:cNvPr>
          <p:cNvSpPr txBox="1"/>
          <p:nvPr/>
        </p:nvSpPr>
        <p:spPr>
          <a:xfrm>
            <a:off x="2479435" y="3233813"/>
            <a:ext cx="2955235" cy="1369606"/>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5</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pport, Training &amp; Expans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15" name="Connector: Curved 14">
            <a:extLst>
              <a:ext uri="{FF2B5EF4-FFF2-40B4-BE49-F238E27FC236}">
                <a16:creationId xmlns:a16="http://schemas.microsoft.com/office/drawing/2014/main" id="{37B474A2-18BE-4116-97FC-9C082A3B8D55}"/>
              </a:ext>
            </a:extLst>
          </p:cNvPr>
          <p:cNvCxnSpPr>
            <a:cxnSpLocks/>
            <a:stCxn id="8" idx="3"/>
            <a:endCxn id="9" idx="0"/>
          </p:cNvCxnSpPr>
          <p:nvPr/>
        </p:nvCxnSpPr>
        <p:spPr>
          <a:xfrm>
            <a:off x="8845506" y="2228255"/>
            <a:ext cx="1050725" cy="1171758"/>
          </a:xfrm>
          <a:prstGeom prst="curved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Curved 16">
            <a:extLst>
              <a:ext uri="{FF2B5EF4-FFF2-40B4-BE49-F238E27FC236}">
                <a16:creationId xmlns:a16="http://schemas.microsoft.com/office/drawing/2014/main" id="{1E5B6269-7FCB-415A-8357-276CD200E521}"/>
              </a:ext>
            </a:extLst>
          </p:cNvPr>
          <p:cNvCxnSpPr>
            <a:stCxn id="9" idx="2"/>
            <a:endCxn id="10" idx="0"/>
          </p:cNvCxnSpPr>
          <p:nvPr/>
        </p:nvCxnSpPr>
        <p:spPr>
          <a:xfrm rot="5400000">
            <a:off x="8864017" y="4418710"/>
            <a:ext cx="1013704" cy="1050724"/>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F74B984-88D8-4895-A3AD-A7C52FCE3457}"/>
              </a:ext>
            </a:extLst>
          </p:cNvPr>
          <p:cNvCxnSpPr>
            <a:stCxn id="10" idx="1"/>
            <a:endCxn id="11" idx="3"/>
          </p:cNvCxnSpPr>
          <p:nvPr/>
        </p:nvCxnSpPr>
        <p:spPr>
          <a:xfrm flipH="1">
            <a:off x="6232417" y="5969528"/>
            <a:ext cx="1562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Connector: Curved 20">
            <a:extLst>
              <a:ext uri="{FF2B5EF4-FFF2-40B4-BE49-F238E27FC236}">
                <a16:creationId xmlns:a16="http://schemas.microsoft.com/office/drawing/2014/main" id="{FAA1E0F1-2A6E-4C43-BDE1-C8F6542F663E}"/>
              </a:ext>
            </a:extLst>
          </p:cNvPr>
          <p:cNvCxnSpPr>
            <a:stCxn id="11" idx="0"/>
            <a:endCxn id="13" idx="2"/>
          </p:cNvCxnSpPr>
          <p:nvPr/>
        </p:nvCxnSpPr>
        <p:spPr>
          <a:xfrm rot="16200000" flipV="1">
            <a:off x="4102142" y="4458331"/>
            <a:ext cx="847505" cy="1137682"/>
          </a:xfrm>
          <a:prstGeom prst="curved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BC158820-2B9C-43FF-BA44-40CE2F49A28E}"/>
              </a:ext>
            </a:extLst>
          </p:cNvPr>
          <p:cNvCxnSpPr>
            <a:cxnSpLocks/>
            <a:stCxn id="13" idx="0"/>
            <a:endCxn id="8" idx="1"/>
          </p:cNvCxnSpPr>
          <p:nvPr/>
        </p:nvCxnSpPr>
        <p:spPr>
          <a:xfrm rot="5400000" flipH="1" flipV="1">
            <a:off x="4051193" y="2134115"/>
            <a:ext cx="1005558" cy="1193838"/>
          </a:xfrm>
          <a:prstGeom prst="curved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2BA589D-B63B-4551-BCB0-88D7C592C478}"/>
              </a:ext>
            </a:extLst>
          </p:cNvPr>
          <p:cNvSpPr txBox="1"/>
          <p:nvPr/>
        </p:nvSpPr>
        <p:spPr>
          <a:xfrm flipH="1">
            <a:off x="5492504" y="4646857"/>
            <a:ext cx="295523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Repeats for each project</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30" name="TextBox 29">
            <a:extLst>
              <a:ext uri="{FF2B5EF4-FFF2-40B4-BE49-F238E27FC236}">
                <a16:creationId xmlns:a16="http://schemas.microsoft.com/office/drawing/2014/main" id="{0D5558D5-E232-4344-BA9D-8A5D862B8323}"/>
              </a:ext>
            </a:extLst>
          </p:cNvPr>
          <p:cNvSpPr txBox="1"/>
          <p:nvPr/>
        </p:nvSpPr>
        <p:spPr>
          <a:xfrm>
            <a:off x="456149" y="2560380"/>
            <a:ext cx="178029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op-Dow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60563E22-20E6-4821-A91D-67307EFC212F}"/>
              </a:ext>
            </a:extLst>
          </p:cNvPr>
          <p:cNvSpPr/>
          <p:nvPr/>
        </p:nvSpPr>
        <p:spPr bwMode="auto">
          <a:xfrm>
            <a:off x="1034871" y="1837716"/>
            <a:ext cx="622852" cy="627864"/>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261934824"/>
      </p:ext>
    </p:extLst>
  </p:cSld>
  <p:clrMapOvr>
    <a:masterClrMapping/>
  </p:clrMapOvr>
  <mc:AlternateContent xmlns:mc="http://schemas.openxmlformats.org/markup-compatibility/2006" xmlns:p14="http://schemas.microsoft.com/office/powerpoint/2010/main">
    <mc:Choice Requires="p14">
      <p:transition spd="med" p14:dur="700" advTm="182495">
        <p:fade/>
      </p:transition>
    </mc:Choice>
    <mc:Fallback xmlns="">
      <p:transition spd="med" advTm="18249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P spid="29"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A9F451-D46F-435C-9B55-17F244D0CE1A}"/>
              </a:ext>
            </a:extLst>
          </p:cNvPr>
          <p:cNvSpPr>
            <a:spLocks noGrp="1"/>
          </p:cNvSpPr>
          <p:nvPr>
            <p:ph type="title"/>
          </p:nvPr>
        </p:nvSpPr>
        <p:spPr/>
        <p:txBody>
          <a:bodyPr/>
          <a:lstStyle/>
          <a:p>
            <a:r>
              <a:rPr lang="en-GB"/>
              <a:t>Phases of Delivery: Ownership Transfer</a:t>
            </a:r>
          </a:p>
        </p:txBody>
      </p:sp>
      <p:sp>
        <p:nvSpPr>
          <p:cNvPr id="2" name="Arrow: Left-Right-Up 1">
            <a:extLst>
              <a:ext uri="{FF2B5EF4-FFF2-40B4-BE49-F238E27FC236}">
                <a16:creationId xmlns:a16="http://schemas.microsoft.com/office/drawing/2014/main" id="{108A385D-564E-4F55-B5A7-93E4F67E3AA7}"/>
              </a:ext>
            </a:extLst>
          </p:cNvPr>
          <p:cNvSpPr/>
          <p:nvPr/>
        </p:nvSpPr>
        <p:spPr bwMode="auto">
          <a:xfrm>
            <a:off x="822442" y="2257347"/>
            <a:ext cx="1216152" cy="850392"/>
          </a:xfrm>
          <a:prstGeom prst="leftRigh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E8109C29-1DFA-4D75-BFE0-81512B98E6D9}"/>
              </a:ext>
            </a:extLst>
          </p:cNvPr>
          <p:cNvSpPr txBox="1"/>
          <p:nvPr/>
        </p:nvSpPr>
        <p:spPr>
          <a:xfrm>
            <a:off x="269240" y="1712582"/>
            <a:ext cx="232255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wnership Transfer</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FDB192B0-056C-4D84-96E8-5BEFF524A587}"/>
              </a:ext>
            </a:extLst>
          </p:cNvPr>
          <p:cNvSpPr txBox="1"/>
          <p:nvPr/>
        </p:nvSpPr>
        <p:spPr>
          <a:xfrm>
            <a:off x="135163" y="3205497"/>
            <a:ext cx="259070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usiness to Corporate</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DF781782-2BEA-4B50-9830-59EBB3718539}"/>
              </a:ext>
            </a:extLst>
          </p:cNvPr>
          <p:cNvSpPr txBox="1"/>
          <p:nvPr/>
        </p:nvSpPr>
        <p:spPr>
          <a:xfrm>
            <a:off x="2976364" y="2264588"/>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 - Publish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869DA093-79D3-4064-8E73-A25327EA9C63}"/>
              </a:ext>
            </a:extLst>
          </p:cNvPr>
          <p:cNvSpPr txBox="1"/>
          <p:nvPr/>
        </p:nvSpPr>
        <p:spPr>
          <a:xfrm>
            <a:off x="3526797" y="3438771"/>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 - Certific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6B4267BF-9B3D-4B54-B952-A44AC9AE348F}"/>
              </a:ext>
            </a:extLst>
          </p:cNvPr>
          <p:cNvSpPr txBox="1"/>
          <p:nvPr/>
        </p:nvSpPr>
        <p:spPr>
          <a:xfrm>
            <a:off x="4284550" y="4612564"/>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 – Assume Ownershi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Arrow: Down 10">
            <a:extLst>
              <a:ext uri="{FF2B5EF4-FFF2-40B4-BE49-F238E27FC236}">
                <a16:creationId xmlns:a16="http://schemas.microsoft.com/office/drawing/2014/main" id="{E3A42EB1-1B84-447D-881C-9CBA9EEDABAE}"/>
              </a:ext>
            </a:extLst>
          </p:cNvPr>
          <p:cNvSpPr/>
          <p:nvPr/>
        </p:nvSpPr>
        <p:spPr bwMode="auto">
          <a:xfrm>
            <a:off x="9575005" y="2892452"/>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Down 12">
            <a:extLst>
              <a:ext uri="{FF2B5EF4-FFF2-40B4-BE49-F238E27FC236}">
                <a16:creationId xmlns:a16="http://schemas.microsoft.com/office/drawing/2014/main" id="{00BA21AF-06AB-4844-837E-FC712D182C91}"/>
              </a:ext>
            </a:extLst>
          </p:cNvPr>
          <p:cNvSpPr/>
          <p:nvPr/>
        </p:nvSpPr>
        <p:spPr bwMode="auto">
          <a:xfrm>
            <a:off x="10125438" y="4066635"/>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796141404"/>
      </p:ext>
    </p:extLst>
  </p:cSld>
  <p:clrMapOvr>
    <a:masterClrMapping/>
  </p:clrMapOvr>
  <mc:AlternateContent xmlns:mc="http://schemas.openxmlformats.org/markup-compatibility/2006" xmlns:p14="http://schemas.microsoft.com/office/powerpoint/2010/main">
    <mc:Choice Requires="p14">
      <p:transition spd="med" p14:dur="700" advTm="105841">
        <p:fade/>
      </p:transition>
    </mc:Choice>
    <mc:Fallback xmlns="">
      <p:transition spd="med" advTm="10584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5938145" y="1089640"/>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249433" y="426161"/>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576228" y="2185262"/>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863859" y="1520086"/>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49326" y="3371413"/>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49568" y="2706730"/>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581826" y="4600511"/>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6875420" y="393461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5880771" y="5747191"/>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178661" y="507443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190734" y="43675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66684" y="334580"/>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83873" y="271927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6815602" y="394495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109714" y="5088422"/>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801754" y="153365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82398" y="1428398"/>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4885" y="2615901"/>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919" y="3843462"/>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7308" y="4986933"/>
            <a:ext cx="636591" cy="753041"/>
          </a:xfrm>
          <a:prstGeom prst="rect">
            <a:avLst/>
          </a:prstGeom>
        </p:spPr>
      </p:pic>
      <p:sp>
        <p:nvSpPr>
          <p:cNvPr id="16" name="Rectangle 15">
            <a:extLst>
              <a:ext uri="{FF2B5EF4-FFF2-40B4-BE49-F238E27FC236}">
                <a16:creationId xmlns:a16="http://schemas.microsoft.com/office/drawing/2014/main" id="{ED9713B2-8C12-46D5-9EC2-6D4627C09EFE}"/>
              </a:ext>
            </a:extLst>
          </p:cNvPr>
          <p:cNvSpPr/>
          <p:nvPr/>
        </p:nvSpPr>
        <p:spPr>
          <a:xfrm>
            <a:off x="6740793" y="623123"/>
            <a:ext cx="436184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171717"/>
                </a:solidFill>
                <a:effectLst/>
                <a:uLnTx/>
                <a:uFillTx/>
                <a:latin typeface="Arial" panose="020B0604020202020204" pitchFamily="34" charset="0"/>
                <a:ea typeface="+mn-ea"/>
                <a:cs typeface="Arial" panose="020B0604020202020204" pitchFamily="34" charset="0"/>
              </a:rPr>
              <a:t>Guidelines, documentation, and other resources are aligned with the strategic goals defined for Power BI adoption</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3DC610B7-C75B-43B0-AF8C-0F70CD5C5230}"/>
              </a:ext>
            </a:extLst>
          </p:cNvPr>
          <p:cNvSpPr/>
          <p:nvPr/>
        </p:nvSpPr>
        <p:spPr>
          <a:xfrm>
            <a:off x="7389597" y="1652488"/>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e scope for content delivery is clarified and is consistent with content ownership</a:t>
            </a:r>
          </a:p>
        </p:txBody>
      </p:sp>
      <p:sp>
        <p:nvSpPr>
          <p:cNvPr id="61" name="Rectangle 60">
            <a:extLst>
              <a:ext uri="{FF2B5EF4-FFF2-40B4-BE49-F238E27FC236}">
                <a16:creationId xmlns:a16="http://schemas.microsoft.com/office/drawing/2014/main" id="{D13E5C68-6674-440A-9119-05FBF1A6D5E8}"/>
              </a:ext>
            </a:extLst>
          </p:cNvPr>
          <p:cNvSpPr/>
          <p:nvPr/>
        </p:nvSpPr>
        <p:spPr>
          <a:xfrm>
            <a:off x="7820464" y="2821722"/>
            <a:ext cx="341732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ules of content publishing in scope of an enterprise-wide audience for smaller teams.</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5E8B4A8E-542F-45BC-A4AD-C7425B15F3F6}"/>
              </a:ext>
            </a:extLst>
          </p:cNvPr>
          <p:cNvSpPr/>
          <p:nvPr/>
        </p:nvSpPr>
        <p:spPr>
          <a:xfrm>
            <a:off x="7456330" y="3996030"/>
            <a:ext cx="3942176"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ocumentation</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for</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munity</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with </a:t>
            </a:r>
            <a:r>
              <a:rPr kumimoji="0" lang="de-DE" sz="1050" b="1" i="0"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xplanation</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hen it's appropriate to use workspaces, apps, or sharing (direct access or link sharing)</a:t>
            </a:r>
            <a:r>
              <a:rPr kumimoji="0" lang="de-DE"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54554985-06EC-4FD4-A0B8-07550E8EC221}"/>
              </a:ext>
            </a:extLst>
          </p:cNvPr>
          <p:cNvSpPr/>
          <p:nvPr/>
        </p:nvSpPr>
        <p:spPr>
          <a:xfrm>
            <a:off x="6775587" y="5164825"/>
            <a:ext cx="3494223"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trategy for handling user  licensing considerations for Power BI Pro, Premium Per User, and Premium capacity.</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53216" y="470007"/>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23876" y="1643098"/>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1928" y="2787021"/>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8474" y="4030733"/>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5995811" y="5095637"/>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2616040"/>
            <a:ext cx="5602467" cy="1325563"/>
          </a:xfrm>
        </p:spPr>
        <p:txBody>
          <a:bodyPr/>
          <a:lstStyle/>
          <a:p>
            <a:r>
              <a:rPr lang="de-DE" b="1">
                <a:latin typeface="Segoe"/>
              </a:rPr>
              <a:t>Content </a:t>
            </a:r>
            <a:r>
              <a:rPr lang="de-DE" b="1" err="1">
                <a:latin typeface="Segoe"/>
              </a:rPr>
              <a:t>Delivery</a:t>
            </a:r>
            <a:r>
              <a:rPr lang="de-DE" b="1">
                <a:latin typeface="Segoe"/>
              </a:rPr>
              <a:t> -Key Actions</a:t>
            </a:r>
            <a:endParaRPr lang="en-US" b="1">
              <a:latin typeface="Segoe"/>
            </a:endParaRPr>
          </a:p>
        </p:txBody>
      </p:sp>
    </p:spTree>
    <p:extLst>
      <p:ext uri="{BB962C8B-B14F-4D97-AF65-F5344CB8AC3E}">
        <p14:creationId xmlns:p14="http://schemas.microsoft.com/office/powerpoint/2010/main" val="1709960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
        <p:nvSpPr>
          <p:cNvPr id="6" name="Titel 5">
            <a:extLst>
              <a:ext uri="{FF2B5EF4-FFF2-40B4-BE49-F238E27FC236}">
                <a16:creationId xmlns:a16="http://schemas.microsoft.com/office/drawing/2014/main" id="{109F0508-145B-4633-902C-A8EB41D04545}"/>
              </a:ext>
            </a:extLst>
          </p:cNvPr>
          <p:cNvSpPr>
            <a:spLocks noGrp="1"/>
          </p:cNvSpPr>
          <p:nvPr>
            <p:ph type="title"/>
          </p:nvPr>
        </p:nvSpPr>
        <p:spPr/>
        <p:txBody>
          <a:bodyPr/>
          <a:lstStyle/>
          <a:p>
            <a:r>
              <a:rPr lang="de-DE"/>
              <a:t>Adoption Framework - Output</a:t>
            </a:r>
          </a:p>
        </p:txBody>
      </p:sp>
    </p:spTree>
    <p:custDataLst>
      <p:tags r:id="rId1"/>
    </p:custDataLst>
    <p:extLst>
      <p:ext uri="{BB962C8B-B14F-4D97-AF65-F5344CB8AC3E}">
        <p14:creationId xmlns:p14="http://schemas.microsoft.com/office/powerpoint/2010/main" val="90812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E978D9-F32A-43CB-BBAC-4E626C7B7498}"/>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A89FCD9F-FAC6-464D-B86E-EA8F32768D58}"/>
              </a:ext>
            </a:extLst>
          </p:cNvPr>
          <p:cNvSpPr>
            <a:spLocks noGrp="1"/>
          </p:cNvSpPr>
          <p:nvPr>
            <p:ph type="body" sz="quarter" idx="10"/>
          </p:nvPr>
        </p:nvSpPr>
        <p:spPr>
          <a:xfrm>
            <a:off x="5652598" y="1018433"/>
            <a:ext cx="5970689" cy="5336846"/>
          </a:xfrm>
        </p:spPr>
        <p:txBody>
          <a:bodyPr/>
          <a:lstStyle/>
          <a:p>
            <a:pPr marL="285750" indent="-285750">
              <a:buFont typeface="Arial" panose="020B0604020202020204" pitchFamily="34" charset="0"/>
              <a:buChar char="•"/>
            </a:pPr>
            <a:r>
              <a:rPr lang="en-US" sz="1800"/>
              <a:t>Guidelines, documentation, and other resources are aligned with the strategic goals defined for Power BI adoption</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The scope for content delivery is clarified and is consistent with content ownership</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Rules of content publishing in scope of an enterprise-wide audience for smaller teams</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Documentation for community with explanation when it's appropriate to use workspaces, apps, or sharing (direct access or link sharing) </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r>
              <a:rPr lang="en-US" sz="1800"/>
              <a:t>Strategy for handling user  licensing considerations for Power BI Pro, Premium Per User, and Premium capacity</a:t>
            </a:r>
          </a:p>
          <a:p>
            <a:endParaRPr lang="en-US" sz="1800"/>
          </a:p>
          <a:p>
            <a:pPr marL="285750" indent="-285750">
              <a:buFont typeface="Arial" panose="020B0604020202020204" pitchFamily="34" charset="0"/>
              <a:buChar char="•"/>
            </a:pPr>
            <a:endParaRPr lang="en-US" sz="1800"/>
          </a:p>
        </p:txBody>
      </p:sp>
    </p:spTree>
    <p:extLst>
      <p:ext uri="{BB962C8B-B14F-4D97-AF65-F5344CB8AC3E}">
        <p14:creationId xmlns:p14="http://schemas.microsoft.com/office/powerpoint/2010/main" val="243433991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ntent </a:t>
            </a:r>
            <a:r>
              <a:rPr lang="de-DE" err="1"/>
              <a:t>Delivery</a:t>
            </a:r>
            <a:endParaRPr lang="en-US"/>
          </a:p>
        </p:txBody>
      </p:sp>
      <p:graphicFrame>
        <p:nvGraphicFramePr>
          <p:cNvPr id="4" name="Tabelle 3">
            <a:extLst>
              <a:ext uri="{FF2B5EF4-FFF2-40B4-BE49-F238E27FC236}">
                <a16:creationId xmlns:a16="http://schemas.microsoft.com/office/drawing/2014/main" id="{CE17E0F4-570B-42FC-9713-C4EE96653514}"/>
              </a:ext>
            </a:extLst>
          </p:cNvPr>
          <p:cNvGraphicFramePr/>
          <p:nvPr/>
        </p:nvGraphicFramePr>
        <p:xfrm>
          <a:off x="780586" y="1194847"/>
          <a:ext cx="10638264" cy="5701773"/>
        </p:xfrm>
        <a:graphic>
          <a:graphicData uri="http://schemas.openxmlformats.org/drawingml/2006/table">
            <a:tbl>
              <a:tblPr>
                <a:tableStyleId>{5C22544A-7EE6-4342-B048-85BDC9FD1C3A}</a:tableStyleId>
              </a:tblPr>
              <a:tblGrid>
                <a:gridCol w="1589948">
                  <a:extLst>
                    <a:ext uri="{9D8B030D-6E8A-4147-A177-3AD203B41FA5}">
                      <a16:colId xmlns:a16="http://schemas.microsoft.com/office/drawing/2014/main" val="956126217"/>
                    </a:ext>
                  </a:extLst>
                </a:gridCol>
                <a:gridCol w="9048316">
                  <a:extLst>
                    <a:ext uri="{9D8B030D-6E8A-4147-A177-3AD203B41FA5}">
                      <a16:colId xmlns:a16="http://schemas.microsoft.com/office/drawing/2014/main" val="918763553"/>
                    </a:ext>
                  </a:extLst>
                </a:gridCol>
              </a:tblGrid>
              <a:tr h="511290">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b="1" u="none" strike="noStrike">
                          <a:effectLst/>
                        </a:rPr>
                        <a:t>State of Power BI content delivery</a:t>
                      </a:r>
                      <a:endParaRPr lang="en-US" sz="1600" b="1"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792064775"/>
                  </a:ext>
                </a:extLst>
              </a:tr>
              <a:tr h="557561">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ontent is published by self-service creators in an uncontrolled way, without a specific strategy.</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300096414"/>
                  </a:ext>
                </a:extLst>
              </a:tr>
              <a:tr h="756901">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Pockets of good practices exist which depend on the knowledge, skills, and habits of the content creator.</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948203033"/>
                  </a:ext>
                </a:extLst>
              </a:tr>
              <a:tr h="1114360">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lear guidelines are defined and communicated to describe what can and cannot occur within each delivery scope. </a:t>
                      </a:r>
                    </a:p>
                    <a:p>
                      <a:pPr marL="285750" indent="-285750" algn="l" fontAlgn="t">
                        <a:spcBef>
                          <a:spcPts val="0"/>
                        </a:spcBef>
                        <a:spcAft>
                          <a:spcPts val="0"/>
                        </a:spcAft>
                        <a:buFont typeface="Arial" panose="020B0604020202020204" pitchFamily="34" charset="0"/>
                        <a:buChar char="•"/>
                      </a:pPr>
                      <a:r>
                        <a:rPr lang="en-US" sz="1600" u="none" strike="noStrike">
                          <a:effectLst/>
                        </a:rPr>
                        <a:t>These guidelines are followed by some—but not all—groups across the organization.</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38065230"/>
                  </a:ext>
                </a:extLst>
              </a:tr>
              <a:tr h="1516565">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Criteria are defined to align governance requirements for self-service versus enterprise content.</a:t>
                      </a:r>
                    </a:p>
                    <a:p>
                      <a:pPr marL="285750" indent="-285750" algn="l" fontAlgn="t">
                        <a:spcBef>
                          <a:spcPts val="0"/>
                        </a:spcBef>
                        <a:spcAft>
                          <a:spcPts val="0"/>
                        </a:spcAft>
                        <a:buFont typeface="Arial" panose="020B0604020202020204" pitchFamily="34" charset="0"/>
                        <a:buChar char="•"/>
                      </a:pPr>
                      <a:r>
                        <a:rPr lang="en-US" sz="1600" u="none" strike="noStrike">
                          <a:effectLst/>
                        </a:rPr>
                        <a:t>Guidelines are followed by most, or all, groups across the organization.</a:t>
                      </a:r>
                    </a:p>
                    <a:p>
                      <a:pPr marL="285750" indent="-285750" algn="l" fontAlgn="t">
                        <a:spcBef>
                          <a:spcPts val="0"/>
                        </a:spcBef>
                        <a:spcAft>
                          <a:spcPts val="0"/>
                        </a:spcAft>
                        <a:buFont typeface="Arial" panose="020B0604020202020204" pitchFamily="34" charset="0"/>
                        <a:buChar char="•"/>
                      </a:pPr>
                      <a:r>
                        <a:rPr lang="en-US" sz="1600" u="none" strike="noStrike">
                          <a:effectLst/>
                        </a:rPr>
                        <a:t>Change management requirements are in place to approve critical changes to content that is distributed to a larger audience.</a:t>
                      </a:r>
                    </a:p>
                    <a:p>
                      <a:pPr marL="285750" indent="-285750" algn="l" fontAlgn="t">
                        <a:spcBef>
                          <a:spcPts val="0"/>
                        </a:spcBef>
                        <a:spcAft>
                          <a:spcPts val="0"/>
                        </a:spcAft>
                        <a:buFont typeface="Arial" panose="020B0604020202020204" pitchFamily="34" charset="0"/>
                        <a:buChar char="•"/>
                      </a:pPr>
                      <a:r>
                        <a:rPr lang="en-US" sz="1600" u="none" strike="noStrike">
                          <a:effectLst/>
                        </a:rPr>
                        <a:t>Changes are announced so creators are aware of the downstream effects on their con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087209441"/>
                  </a:ext>
                </a:extLst>
              </a:tr>
              <a:tr h="958174">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5897" marR="25897" marT="12948" marB="12948"/>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Proactively communicate with a user when any concerning activities are detected in the activity log.</a:t>
                      </a:r>
                    </a:p>
                    <a:p>
                      <a:pPr marL="285750" indent="-285750" algn="l" fontAlgn="t">
                        <a:spcBef>
                          <a:spcPts val="0"/>
                        </a:spcBef>
                        <a:spcAft>
                          <a:spcPts val="0"/>
                        </a:spcAft>
                        <a:buFont typeface="Arial" panose="020B0604020202020204" pitchFamily="34" charset="0"/>
                        <a:buChar char="•"/>
                      </a:pPr>
                      <a:r>
                        <a:rPr lang="en-US" sz="1600" u="none" strike="noStrike">
                          <a:effectLst/>
                        </a:rPr>
                        <a:t>Analysis is conducted regularly to evaluate the business value that's achieved for deployed solutions.</a:t>
                      </a: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946582903"/>
                  </a:ext>
                </a:extLst>
              </a:tr>
            </a:tbl>
          </a:graphicData>
        </a:graphic>
      </p:graphicFrame>
    </p:spTree>
    <p:extLst>
      <p:ext uri="{BB962C8B-B14F-4D97-AF65-F5344CB8AC3E}">
        <p14:creationId xmlns:p14="http://schemas.microsoft.com/office/powerpoint/2010/main" val="73908626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838483" y="1071332"/>
            <a:ext cx="4908864" cy="4739427"/>
          </a:xfrm>
          <a:prstGeom prst="rect">
            <a:avLst/>
          </a:prstGeom>
        </p:spPr>
        <p:txBody>
          <a:bodyPr wrap="square" lIns="179285" tIns="143428" rIns="179285" bIns="143428">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 Refres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ize Limi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upport</a:t>
            </a:r>
          </a:p>
          <a:p>
            <a:pPr marL="0" marR="0" lvl="0" indent="0" algn="l" defTabSz="914400" rtl="0" eaLnBrk="1" fontAlgn="auto" latinLnBrk="0" hangingPunct="1">
              <a:lnSpc>
                <a:spcPct val="3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pic>
        <p:nvPicPr>
          <p:cNvPr id="31" name="Graphic 30" descr="Lock">
            <a:extLst>
              <a:ext uri="{FF2B5EF4-FFF2-40B4-BE49-F238E27FC236}">
                <a16:creationId xmlns:a16="http://schemas.microsoft.com/office/drawing/2014/main" id="{095B2842-AFB8-49BF-B6CD-C266E6EE5F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66946" y="3331086"/>
            <a:ext cx="829153" cy="829153"/>
          </a:xfrm>
          <a:prstGeom prst="rect">
            <a:avLst/>
          </a:prstGeom>
        </p:spPr>
      </p:pic>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Benefits of ownership transfer to IT</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30" name="Graphic 29" descr="Call center">
            <a:extLst>
              <a:ext uri="{FF2B5EF4-FFF2-40B4-BE49-F238E27FC236}">
                <a16:creationId xmlns:a16="http://schemas.microsoft.com/office/drawing/2014/main" id="{7C01E49D-94D5-4BFC-A5DA-BC69C4014A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24322" y="4473885"/>
            <a:ext cx="914400" cy="914400"/>
          </a:xfrm>
          <a:prstGeom prst="rect">
            <a:avLst/>
          </a:prstGeom>
        </p:spPr>
      </p:pic>
      <p:pic>
        <p:nvPicPr>
          <p:cNvPr id="33" name="Graphic 32" descr="Earth Globe Europe-Africa">
            <a:extLst>
              <a:ext uri="{FF2B5EF4-FFF2-40B4-BE49-F238E27FC236}">
                <a16:creationId xmlns:a16="http://schemas.microsoft.com/office/drawing/2014/main" id="{DBC4A794-75CD-4B1F-9E1C-110151CBED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24322" y="2107578"/>
            <a:ext cx="914400" cy="914400"/>
          </a:xfrm>
          <a:prstGeom prst="rect">
            <a:avLst/>
          </a:prstGeom>
        </p:spPr>
      </p:pic>
      <p:pic>
        <p:nvPicPr>
          <p:cNvPr id="35" name="Graphic 34" descr="Watch">
            <a:extLst>
              <a:ext uri="{FF2B5EF4-FFF2-40B4-BE49-F238E27FC236}">
                <a16:creationId xmlns:a16="http://schemas.microsoft.com/office/drawing/2014/main" id="{879DA0E5-0199-4054-8F04-5D70B5877BC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24322" y="857496"/>
            <a:ext cx="914400" cy="914400"/>
          </a:xfrm>
          <a:prstGeom prst="rect">
            <a:avLst/>
          </a:prstGeom>
        </p:spPr>
      </p:pic>
    </p:spTree>
    <p:custDataLst>
      <p:tags r:id="rId1"/>
    </p:custDataLst>
    <p:extLst>
      <p:ext uri="{BB962C8B-B14F-4D97-AF65-F5344CB8AC3E}">
        <p14:creationId xmlns:p14="http://schemas.microsoft.com/office/powerpoint/2010/main" val="4134004119"/>
      </p:ext>
    </p:extLst>
  </p:cSld>
  <p:clrMapOvr>
    <a:masterClrMapping/>
  </p:clrMapOvr>
  <mc:AlternateContent xmlns:mc="http://schemas.openxmlformats.org/markup-compatibility/2006" xmlns:p14="http://schemas.microsoft.com/office/powerpoint/2010/main">
    <mc:Choice Requires="p14">
      <p:transition spd="med" p14:dur="700" advTm="35660">
        <p:fade/>
      </p:transition>
    </mc:Choice>
    <mc:Fallback xmlns="">
      <p:transition spd="med" advTm="3566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A9F451-D46F-435C-9B55-17F244D0CE1A}"/>
              </a:ext>
            </a:extLst>
          </p:cNvPr>
          <p:cNvSpPr>
            <a:spLocks noGrp="1"/>
          </p:cNvSpPr>
          <p:nvPr>
            <p:ph type="title"/>
          </p:nvPr>
        </p:nvSpPr>
        <p:spPr/>
        <p:txBody>
          <a:bodyPr/>
          <a:lstStyle/>
          <a:p>
            <a:r>
              <a:rPr lang="en-GB"/>
              <a:t>Phases of Delivery: Ownership Transfer</a:t>
            </a:r>
          </a:p>
        </p:txBody>
      </p:sp>
      <p:sp>
        <p:nvSpPr>
          <p:cNvPr id="2" name="Arrow: Left-Right-Up 1">
            <a:extLst>
              <a:ext uri="{FF2B5EF4-FFF2-40B4-BE49-F238E27FC236}">
                <a16:creationId xmlns:a16="http://schemas.microsoft.com/office/drawing/2014/main" id="{108A385D-564E-4F55-B5A7-93E4F67E3AA7}"/>
              </a:ext>
            </a:extLst>
          </p:cNvPr>
          <p:cNvSpPr/>
          <p:nvPr/>
        </p:nvSpPr>
        <p:spPr bwMode="auto">
          <a:xfrm>
            <a:off x="822442" y="2257347"/>
            <a:ext cx="1216152" cy="850392"/>
          </a:xfrm>
          <a:prstGeom prst="leftRigh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E8109C29-1DFA-4D75-BFE0-81512B98E6D9}"/>
              </a:ext>
            </a:extLst>
          </p:cNvPr>
          <p:cNvSpPr txBox="1"/>
          <p:nvPr/>
        </p:nvSpPr>
        <p:spPr>
          <a:xfrm>
            <a:off x="269240" y="1712582"/>
            <a:ext cx="232255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wnership Transfer</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6" name="TextBox 5">
            <a:extLst>
              <a:ext uri="{FF2B5EF4-FFF2-40B4-BE49-F238E27FC236}">
                <a16:creationId xmlns:a16="http://schemas.microsoft.com/office/drawing/2014/main" id="{FDB192B0-056C-4D84-96E8-5BEFF524A587}"/>
              </a:ext>
            </a:extLst>
          </p:cNvPr>
          <p:cNvSpPr txBox="1"/>
          <p:nvPr/>
        </p:nvSpPr>
        <p:spPr>
          <a:xfrm>
            <a:off x="135163" y="3205497"/>
            <a:ext cx="259070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orporate to Business</a:t>
            </a:r>
            <a:endParaRPr kumimoji="0" lang="en-US"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DF781782-2BEA-4B50-9830-59EBB3718539}"/>
              </a:ext>
            </a:extLst>
          </p:cNvPr>
          <p:cNvSpPr txBox="1"/>
          <p:nvPr/>
        </p:nvSpPr>
        <p:spPr>
          <a:xfrm>
            <a:off x="2976364" y="2264588"/>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1 - Publishing</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9" name="TextBox 8">
            <a:extLst>
              <a:ext uri="{FF2B5EF4-FFF2-40B4-BE49-F238E27FC236}">
                <a16:creationId xmlns:a16="http://schemas.microsoft.com/office/drawing/2014/main" id="{869DA093-79D3-4064-8E73-A25327EA9C63}"/>
              </a:ext>
            </a:extLst>
          </p:cNvPr>
          <p:cNvSpPr txBox="1"/>
          <p:nvPr/>
        </p:nvSpPr>
        <p:spPr>
          <a:xfrm>
            <a:off x="3526797" y="3438771"/>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2 - Certification</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6B4267BF-9B3D-4B54-B952-A44AC9AE348F}"/>
              </a:ext>
            </a:extLst>
          </p:cNvPr>
          <p:cNvSpPr txBox="1"/>
          <p:nvPr/>
        </p:nvSpPr>
        <p:spPr>
          <a:xfrm>
            <a:off x="4284550" y="4612564"/>
            <a:ext cx="7083273" cy="627864"/>
          </a:xfrm>
          <a:prstGeom prst="rect">
            <a:avLst/>
          </a:prstGeom>
          <a:solidFill>
            <a:srgbClr val="F2C81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hase 3 – Assume Ownership</a:t>
            </a:r>
            <a:endParaRPr kumimoji="0" lang="en-US" sz="24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
        <p:nvSpPr>
          <p:cNvPr id="11" name="Arrow: Down 10">
            <a:extLst>
              <a:ext uri="{FF2B5EF4-FFF2-40B4-BE49-F238E27FC236}">
                <a16:creationId xmlns:a16="http://schemas.microsoft.com/office/drawing/2014/main" id="{E3A42EB1-1B84-447D-881C-9CBA9EEDABAE}"/>
              </a:ext>
            </a:extLst>
          </p:cNvPr>
          <p:cNvSpPr/>
          <p:nvPr/>
        </p:nvSpPr>
        <p:spPr bwMode="auto">
          <a:xfrm>
            <a:off x="9575005" y="2892452"/>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Down 12">
            <a:extLst>
              <a:ext uri="{FF2B5EF4-FFF2-40B4-BE49-F238E27FC236}">
                <a16:creationId xmlns:a16="http://schemas.microsoft.com/office/drawing/2014/main" id="{00BA21AF-06AB-4844-837E-FC712D182C91}"/>
              </a:ext>
            </a:extLst>
          </p:cNvPr>
          <p:cNvSpPr/>
          <p:nvPr/>
        </p:nvSpPr>
        <p:spPr bwMode="auto">
          <a:xfrm>
            <a:off x="10125438" y="4066635"/>
            <a:ext cx="484632" cy="53654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50583525"/>
      </p:ext>
    </p:extLst>
  </p:cSld>
  <p:clrMapOvr>
    <a:masterClrMapping/>
  </p:clrMapOvr>
  <mc:AlternateContent xmlns:mc="http://schemas.openxmlformats.org/markup-compatibility/2006" xmlns:p14="http://schemas.microsoft.com/office/powerpoint/2010/main">
    <mc:Choice Requires="p14">
      <p:transition spd="med" p14:dur="700" advTm="61863">
        <p:fade/>
      </p:transition>
    </mc:Choice>
    <mc:Fallback xmlns="">
      <p:transition spd="med" advTm="6186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reate </a:t>
            </a:r>
            <a:r>
              <a:rPr lang="en-US">
                <a:sym typeface="Wingdings" panose="05000000000000000000" pitchFamily="2" charset="2"/>
              </a:rPr>
              <a:t> Collaborate  Distribute</a:t>
            </a:r>
            <a:endParaRPr lang="en-US"/>
          </a:p>
        </p:txBody>
      </p:sp>
      <p:grpSp>
        <p:nvGrpSpPr>
          <p:cNvPr id="25" name="Group 24"/>
          <p:cNvGrpSpPr/>
          <p:nvPr/>
        </p:nvGrpSpPr>
        <p:grpSpPr>
          <a:xfrm>
            <a:off x="75772" y="1886524"/>
            <a:ext cx="2056133" cy="3841254"/>
            <a:chOff x="2138159" y="1852566"/>
            <a:chExt cx="2097363" cy="3918279"/>
          </a:xfrm>
        </p:grpSpPr>
        <p:sp>
          <p:nvSpPr>
            <p:cNvPr id="16" name="Rectangle 15"/>
            <p:cNvSpPr/>
            <p:nvPr/>
          </p:nvSpPr>
          <p:spPr>
            <a:xfrm>
              <a:off x="2138159" y="1852566"/>
              <a:ext cx="2097363" cy="653046"/>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85" tIns="41162" rIns="52367" bIns="41162" numCol="1" spcCol="1270" anchor="ctr" anchorCtr="0">
              <a:noAutofit/>
            </a:bodyPr>
            <a:lstStyle/>
            <a:p>
              <a:pPr marL="0" marR="0" lvl="0" indent="0" algn="l" defTabSz="784338"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a:ln>
                    <a:noFill/>
                  </a:ln>
                  <a:solidFill>
                    <a:prstClr val="black"/>
                  </a:solidFill>
                  <a:effectLst/>
                  <a:uLnTx/>
                  <a:uFillTx/>
                  <a:latin typeface="Segoe UI"/>
                  <a:ea typeface="+mn-ea"/>
                  <a:cs typeface="+mn-cs"/>
                </a:rPr>
                <a:t>App Workspaces</a:t>
              </a:r>
            </a:p>
          </p:txBody>
        </p:sp>
        <p:sp>
          <p:nvSpPr>
            <p:cNvPr id="17" name="Freeform: Shape 16"/>
            <p:cNvSpPr/>
            <p:nvPr/>
          </p:nvSpPr>
          <p:spPr>
            <a:xfrm>
              <a:off x="2268768" y="2505612"/>
              <a:ext cx="130609" cy="489784"/>
            </a:xfrm>
            <a:custGeom>
              <a:avLst/>
              <a:gdLst/>
              <a:ahLst/>
              <a:cxnLst/>
              <a:rect l="0" t="0" r="0" b="0"/>
              <a:pathLst>
                <a:path>
                  <a:moveTo>
                    <a:pt x="0" y="0"/>
                  </a:moveTo>
                  <a:lnTo>
                    <a:pt x="0" y="489784"/>
                  </a:lnTo>
                  <a:lnTo>
                    <a:pt x="130609" y="48978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Rectangle 17"/>
            <p:cNvSpPr/>
            <p:nvPr/>
          </p:nvSpPr>
          <p:spPr>
            <a:xfrm>
              <a:off x="2399378" y="2668874"/>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shboards</a:t>
              </a:r>
            </a:p>
          </p:txBody>
        </p:sp>
        <p:sp>
          <p:nvSpPr>
            <p:cNvPr id="19" name="Freeform: Shape 18"/>
            <p:cNvSpPr/>
            <p:nvPr/>
          </p:nvSpPr>
          <p:spPr>
            <a:xfrm>
              <a:off x="2268768" y="2505612"/>
              <a:ext cx="130609" cy="1306093"/>
            </a:xfrm>
            <a:custGeom>
              <a:avLst/>
              <a:gdLst/>
              <a:ahLst/>
              <a:cxnLst/>
              <a:rect l="0" t="0" r="0" b="0"/>
              <a:pathLst>
                <a:path>
                  <a:moveTo>
                    <a:pt x="0" y="0"/>
                  </a:moveTo>
                  <a:lnTo>
                    <a:pt x="0" y="1306093"/>
                  </a:lnTo>
                  <a:lnTo>
                    <a:pt x="130609" y="130609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2399378" y="3485182"/>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Reports</a:t>
              </a:r>
            </a:p>
          </p:txBody>
        </p:sp>
        <p:sp>
          <p:nvSpPr>
            <p:cNvPr id="21" name="Freeform: Shape 20"/>
            <p:cNvSpPr/>
            <p:nvPr/>
          </p:nvSpPr>
          <p:spPr>
            <a:xfrm>
              <a:off x="2268768" y="2505612"/>
              <a:ext cx="130609" cy="2122401"/>
            </a:xfrm>
            <a:custGeom>
              <a:avLst/>
              <a:gdLst/>
              <a:ahLst/>
              <a:cxnLst/>
              <a:rect l="0" t="0" r="0" b="0"/>
              <a:pathLst>
                <a:path>
                  <a:moveTo>
                    <a:pt x="0" y="0"/>
                  </a:moveTo>
                  <a:lnTo>
                    <a:pt x="0" y="2122401"/>
                  </a:lnTo>
                  <a:lnTo>
                    <a:pt x="130609" y="212240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Rectangle 21"/>
            <p:cNvSpPr/>
            <p:nvPr/>
          </p:nvSpPr>
          <p:spPr>
            <a:xfrm>
              <a:off x="2399378" y="4301490"/>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tasets</a:t>
              </a:r>
            </a:p>
          </p:txBody>
        </p:sp>
        <p:sp>
          <p:nvSpPr>
            <p:cNvPr id="23" name="Freeform: Shape 22"/>
            <p:cNvSpPr/>
            <p:nvPr/>
          </p:nvSpPr>
          <p:spPr>
            <a:xfrm>
              <a:off x="2268768" y="2505612"/>
              <a:ext cx="130609" cy="2938709"/>
            </a:xfrm>
            <a:custGeom>
              <a:avLst/>
              <a:gdLst/>
              <a:ahLst/>
              <a:cxnLst/>
              <a:rect l="0" t="0" r="0" b="0"/>
              <a:pathLst>
                <a:path>
                  <a:moveTo>
                    <a:pt x="0" y="0"/>
                  </a:moveTo>
                  <a:lnTo>
                    <a:pt x="0" y="2938709"/>
                  </a:lnTo>
                  <a:lnTo>
                    <a:pt x="130609" y="293870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4" name="Rectangle 23"/>
            <p:cNvSpPr/>
            <p:nvPr/>
          </p:nvSpPr>
          <p:spPr>
            <a:xfrm>
              <a:off x="2399378" y="5117799"/>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Content packs</a:t>
              </a:r>
            </a:p>
          </p:txBody>
        </p:sp>
      </p:grpSp>
      <p:grpSp>
        <p:nvGrpSpPr>
          <p:cNvPr id="2" name="Group 1"/>
          <p:cNvGrpSpPr/>
          <p:nvPr/>
        </p:nvGrpSpPr>
        <p:grpSpPr>
          <a:xfrm>
            <a:off x="4684407" y="1717422"/>
            <a:ext cx="3463380" cy="4201981"/>
            <a:chOff x="2559332" y="1539692"/>
            <a:chExt cx="3841784" cy="4258419"/>
          </a:xfrm>
        </p:grpSpPr>
        <p:pic>
          <p:nvPicPr>
            <p:cNvPr id="26" name="Picture 25"/>
            <p:cNvPicPr>
              <a:picLocks noChangeAspect="1"/>
            </p:cNvPicPr>
            <p:nvPr/>
          </p:nvPicPr>
          <p:blipFill>
            <a:blip r:embed="rId3"/>
            <a:stretch>
              <a:fillRect/>
            </a:stretch>
          </p:blipFill>
          <p:spPr>
            <a:xfrm>
              <a:off x="2559332" y="3954463"/>
              <a:ext cx="3841784" cy="1843648"/>
            </a:xfrm>
            <a:prstGeom prst="rect">
              <a:avLst/>
            </a:prstGeom>
            <a:ln>
              <a:solidFill>
                <a:schemeClr val="bg1">
                  <a:lumMod val="85000"/>
                </a:schemeClr>
              </a:solidFill>
            </a:ln>
            <a:effectLst/>
          </p:spPr>
        </p:pic>
        <p:pic>
          <p:nvPicPr>
            <p:cNvPr id="27" name="Picture 26"/>
            <p:cNvPicPr>
              <a:picLocks noChangeAspect="1"/>
            </p:cNvPicPr>
            <p:nvPr/>
          </p:nvPicPr>
          <p:blipFill>
            <a:blip r:embed="rId4"/>
            <a:stretch>
              <a:fillRect/>
            </a:stretch>
          </p:blipFill>
          <p:spPr>
            <a:xfrm>
              <a:off x="2560678" y="1539692"/>
              <a:ext cx="3840438" cy="2313437"/>
            </a:xfrm>
            <a:prstGeom prst="rect">
              <a:avLst/>
            </a:prstGeom>
            <a:ln>
              <a:solidFill>
                <a:schemeClr val="bg1">
                  <a:lumMod val="85000"/>
                </a:schemeClr>
              </a:solidFill>
            </a:ln>
          </p:spPr>
        </p:pic>
      </p:grpSp>
      <p:sp>
        <p:nvSpPr>
          <p:cNvPr id="30" name="Arrow: Chevron 4"/>
          <p:cNvSpPr txBox="1"/>
          <p:nvPr/>
        </p:nvSpPr>
        <p:spPr>
          <a:xfrm>
            <a:off x="8284059" y="1262539"/>
            <a:ext cx="1159980" cy="2988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Distribute</a:t>
            </a:r>
          </a:p>
        </p:txBody>
      </p:sp>
      <p:sp>
        <p:nvSpPr>
          <p:cNvPr id="36" name="TextBox 35"/>
          <p:cNvSpPr txBox="1"/>
          <p:nvPr/>
        </p:nvSpPr>
        <p:spPr>
          <a:xfrm>
            <a:off x="8854135" y="1717422"/>
            <a:ext cx="3337865" cy="456294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haring</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pp Workspaces /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obile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mbedding in apps</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tatic: PPT, Email</a:t>
            </a:r>
          </a:p>
          <a:p>
            <a:pPr marL="0" marR="0" lvl="0" indent="0" algn="l" defTabSz="914400" rtl="0" eaLnBrk="1" fontAlgn="auto" latinLnBrk="0" hangingPunct="1">
              <a:lnSpc>
                <a:spcPct val="90000"/>
              </a:lnSpc>
              <a:spcBef>
                <a:spcPts val="1176"/>
              </a:spcBef>
              <a:spcAft>
                <a:spcPts val="2549"/>
              </a:spcAft>
              <a:buClrTx/>
              <a:buSzPct val="90000"/>
              <a:buFontTx/>
              <a:buNone/>
              <a:tabLst/>
              <a:defRPr/>
            </a:pPr>
            <a:r>
              <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Other: Cortana, Publish to web, Static (Alerts, Print)</a:t>
            </a:r>
          </a:p>
        </p:txBody>
      </p:sp>
      <p:sp>
        <p:nvSpPr>
          <p:cNvPr id="70" name="Arrow: Chevron 4"/>
          <p:cNvSpPr txBox="1"/>
          <p:nvPr/>
        </p:nvSpPr>
        <p:spPr>
          <a:xfrm>
            <a:off x="523847" y="1280167"/>
            <a:ext cx="1597121" cy="2730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765" b="0" i="0" u="none" strike="noStrike" kern="1200" cap="none" spc="0" normalizeH="0" baseline="0" noProof="0">
                <a:ln>
                  <a:noFill/>
                </a:ln>
                <a:solidFill>
                  <a:prstClr val="black"/>
                </a:solidFill>
                <a:effectLst/>
                <a:uLnTx/>
                <a:uFillTx/>
                <a:latin typeface="Segoe UI"/>
                <a:ea typeface="+mn-ea"/>
                <a:cs typeface="+mn-cs"/>
              </a:rPr>
              <a:t>Development</a:t>
            </a:r>
          </a:p>
        </p:txBody>
      </p:sp>
      <p:sp>
        <p:nvSpPr>
          <p:cNvPr id="71" name="Arrow: Chevron 4"/>
          <p:cNvSpPr txBox="1"/>
          <p:nvPr/>
        </p:nvSpPr>
        <p:spPr>
          <a:xfrm>
            <a:off x="2787766" y="1270630"/>
            <a:ext cx="1427834" cy="2825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9422" tIns="43141" rIns="43141" bIns="43141" numCol="1" spcCol="1270" anchor="ctr" anchorCtr="0">
            <a:noAutofit/>
          </a:bodyPr>
          <a:lstStyle/>
          <a:p>
            <a:pPr marL="0" marR="0" lvl="0" indent="0" algn="ctr" defTabSz="1437953" rtl="0" eaLnBrk="1" fontAlgn="auto" latinLnBrk="0" hangingPunct="1">
              <a:lnSpc>
                <a:spcPct val="90000"/>
              </a:lnSpc>
              <a:spcBef>
                <a:spcPct val="0"/>
              </a:spcBef>
              <a:spcAft>
                <a:spcPct val="35000"/>
              </a:spcAft>
              <a:buClrTx/>
              <a:buSzTx/>
              <a:buFontTx/>
              <a:buNone/>
              <a:tabLst/>
              <a:defRPr/>
            </a:pPr>
            <a:r>
              <a:rPr kumimoji="0" lang="en-US" sz="1765" b="0" i="0" u="none" strike="noStrike" kern="1200" cap="none" spc="0" normalizeH="0" baseline="0" noProof="0">
                <a:ln>
                  <a:noFill/>
                </a:ln>
                <a:solidFill>
                  <a:prstClr val="black"/>
                </a:solidFill>
                <a:effectLst/>
                <a:uLnTx/>
                <a:uFillTx/>
                <a:latin typeface="Segoe UI"/>
                <a:ea typeface="+mn-ea"/>
                <a:cs typeface="+mn-cs"/>
              </a:rPr>
              <a:t>Production</a:t>
            </a:r>
          </a:p>
        </p:txBody>
      </p:sp>
      <p:grpSp>
        <p:nvGrpSpPr>
          <p:cNvPr id="60" name="Group 59"/>
          <p:cNvGrpSpPr/>
          <p:nvPr/>
        </p:nvGrpSpPr>
        <p:grpSpPr>
          <a:xfrm>
            <a:off x="8380158" y="1772803"/>
            <a:ext cx="514458" cy="471994"/>
            <a:chOff x="5761038" y="1544180"/>
            <a:chExt cx="404755" cy="409834"/>
          </a:xfrm>
        </p:grpSpPr>
        <p:sp>
          <p:nvSpPr>
            <p:cNvPr id="61" name="Oval 60"/>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Picture 61"/>
            <p:cNvPicPr>
              <a:picLocks noChangeAspect="1"/>
            </p:cNvPicPr>
            <p:nvPr/>
          </p:nvPicPr>
          <p:blipFill>
            <a:blip r:embed="rId5"/>
            <a:stretch>
              <a:fillRect/>
            </a:stretch>
          </p:blipFill>
          <p:spPr>
            <a:xfrm>
              <a:off x="5855349" y="1702679"/>
              <a:ext cx="207693" cy="101432"/>
            </a:xfrm>
            <a:prstGeom prst="rect">
              <a:avLst/>
            </a:prstGeom>
          </p:spPr>
        </p:pic>
      </p:grpSp>
      <p:grpSp>
        <p:nvGrpSpPr>
          <p:cNvPr id="63" name="Group 62"/>
          <p:cNvGrpSpPr/>
          <p:nvPr/>
        </p:nvGrpSpPr>
        <p:grpSpPr>
          <a:xfrm>
            <a:off x="8391272" y="2534888"/>
            <a:ext cx="514458" cy="471994"/>
            <a:chOff x="5761038" y="1544180"/>
            <a:chExt cx="404755" cy="409834"/>
          </a:xfrm>
        </p:grpSpPr>
        <p:sp>
          <p:nvSpPr>
            <p:cNvPr id="64" name="Oval 63"/>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5" name="Picture 64"/>
            <p:cNvPicPr>
              <a:picLocks noChangeAspect="1"/>
            </p:cNvPicPr>
            <p:nvPr/>
          </p:nvPicPr>
          <p:blipFill>
            <a:blip r:embed="rId5"/>
            <a:stretch>
              <a:fillRect/>
            </a:stretch>
          </p:blipFill>
          <p:spPr>
            <a:xfrm>
              <a:off x="5855349" y="1702679"/>
              <a:ext cx="207693" cy="101432"/>
            </a:xfrm>
            <a:prstGeom prst="rect">
              <a:avLst/>
            </a:prstGeom>
          </p:spPr>
        </p:pic>
      </p:grpSp>
      <p:grpSp>
        <p:nvGrpSpPr>
          <p:cNvPr id="66" name="Group 65"/>
          <p:cNvGrpSpPr/>
          <p:nvPr/>
        </p:nvGrpSpPr>
        <p:grpSpPr>
          <a:xfrm>
            <a:off x="8391272" y="3293278"/>
            <a:ext cx="514458" cy="471994"/>
            <a:chOff x="5761038" y="1544180"/>
            <a:chExt cx="404755" cy="409834"/>
          </a:xfrm>
        </p:grpSpPr>
        <p:sp>
          <p:nvSpPr>
            <p:cNvPr id="67" name="Oval 66"/>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p:cNvPicPr>
              <a:picLocks noChangeAspect="1"/>
            </p:cNvPicPr>
            <p:nvPr/>
          </p:nvPicPr>
          <p:blipFill>
            <a:blip r:embed="rId5"/>
            <a:stretch>
              <a:fillRect/>
            </a:stretch>
          </p:blipFill>
          <p:spPr>
            <a:xfrm>
              <a:off x="5855349" y="1702679"/>
              <a:ext cx="207693" cy="101432"/>
            </a:xfrm>
            <a:prstGeom prst="rect">
              <a:avLst/>
            </a:prstGeom>
          </p:spPr>
        </p:pic>
      </p:grpSp>
      <p:grpSp>
        <p:nvGrpSpPr>
          <p:cNvPr id="69" name="Group 68"/>
          <p:cNvGrpSpPr/>
          <p:nvPr/>
        </p:nvGrpSpPr>
        <p:grpSpPr>
          <a:xfrm>
            <a:off x="8396636" y="4088372"/>
            <a:ext cx="514458" cy="471994"/>
            <a:chOff x="5761038" y="1544180"/>
            <a:chExt cx="404755" cy="409834"/>
          </a:xfrm>
        </p:grpSpPr>
        <p:sp>
          <p:nvSpPr>
            <p:cNvPr id="72" name="Oval 71"/>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p:cNvPicPr>
              <a:picLocks noChangeAspect="1"/>
            </p:cNvPicPr>
            <p:nvPr/>
          </p:nvPicPr>
          <p:blipFill>
            <a:blip r:embed="rId5"/>
            <a:stretch>
              <a:fillRect/>
            </a:stretch>
          </p:blipFill>
          <p:spPr>
            <a:xfrm>
              <a:off x="5855349" y="1702679"/>
              <a:ext cx="207693" cy="101432"/>
            </a:xfrm>
            <a:prstGeom prst="rect">
              <a:avLst/>
            </a:prstGeom>
          </p:spPr>
        </p:pic>
      </p:grpSp>
      <p:grpSp>
        <p:nvGrpSpPr>
          <p:cNvPr id="74" name="Group 73"/>
          <p:cNvGrpSpPr/>
          <p:nvPr/>
        </p:nvGrpSpPr>
        <p:grpSpPr>
          <a:xfrm>
            <a:off x="8424277" y="4817448"/>
            <a:ext cx="514458" cy="471994"/>
            <a:chOff x="5761038" y="1544180"/>
            <a:chExt cx="404755" cy="409834"/>
          </a:xfrm>
        </p:grpSpPr>
        <p:sp>
          <p:nvSpPr>
            <p:cNvPr id="75" name="Oval 74"/>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75"/>
            <p:cNvPicPr>
              <a:picLocks noChangeAspect="1"/>
            </p:cNvPicPr>
            <p:nvPr/>
          </p:nvPicPr>
          <p:blipFill>
            <a:blip r:embed="rId5"/>
            <a:stretch>
              <a:fillRect/>
            </a:stretch>
          </p:blipFill>
          <p:spPr>
            <a:xfrm>
              <a:off x="5855349" y="1702679"/>
              <a:ext cx="207693" cy="101432"/>
            </a:xfrm>
            <a:prstGeom prst="rect">
              <a:avLst/>
            </a:prstGeom>
          </p:spPr>
        </p:pic>
      </p:grpSp>
      <p:grpSp>
        <p:nvGrpSpPr>
          <p:cNvPr id="77" name="Group 76"/>
          <p:cNvGrpSpPr/>
          <p:nvPr/>
        </p:nvGrpSpPr>
        <p:grpSpPr>
          <a:xfrm>
            <a:off x="8429641" y="5584369"/>
            <a:ext cx="514458" cy="471994"/>
            <a:chOff x="5761038" y="1544180"/>
            <a:chExt cx="404755" cy="409834"/>
          </a:xfrm>
        </p:grpSpPr>
        <p:sp>
          <p:nvSpPr>
            <p:cNvPr id="78" name="Oval 77"/>
            <p:cNvSpPr/>
            <p:nvPr/>
          </p:nvSpPr>
          <p:spPr bwMode="auto">
            <a:xfrm>
              <a:off x="5761038" y="1544180"/>
              <a:ext cx="404755" cy="409834"/>
            </a:xfrm>
            <a:prstGeom prst="ellipse">
              <a:avLst/>
            </a:prstGeom>
            <a:solidFill>
              <a:srgbClr val="F2C811"/>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 name="Picture 78"/>
            <p:cNvPicPr>
              <a:picLocks noChangeAspect="1"/>
            </p:cNvPicPr>
            <p:nvPr/>
          </p:nvPicPr>
          <p:blipFill>
            <a:blip r:embed="rId5"/>
            <a:stretch>
              <a:fillRect/>
            </a:stretch>
          </p:blipFill>
          <p:spPr>
            <a:xfrm>
              <a:off x="5855349" y="1702679"/>
              <a:ext cx="207693" cy="101432"/>
            </a:xfrm>
            <a:prstGeom prst="rect">
              <a:avLst/>
            </a:prstGeom>
          </p:spPr>
        </p:pic>
      </p:grpSp>
      <p:grpSp>
        <p:nvGrpSpPr>
          <p:cNvPr id="48" name="Group 47">
            <a:extLst>
              <a:ext uri="{FF2B5EF4-FFF2-40B4-BE49-F238E27FC236}">
                <a16:creationId xmlns:a16="http://schemas.microsoft.com/office/drawing/2014/main" id="{1BF4CBEC-BA82-4425-B67C-7DAE2DFA156C}"/>
              </a:ext>
            </a:extLst>
          </p:cNvPr>
          <p:cNvGrpSpPr/>
          <p:nvPr/>
        </p:nvGrpSpPr>
        <p:grpSpPr>
          <a:xfrm>
            <a:off x="2364276" y="1886523"/>
            <a:ext cx="2056133" cy="3841254"/>
            <a:chOff x="2138159" y="1852566"/>
            <a:chExt cx="2097363" cy="3918279"/>
          </a:xfrm>
        </p:grpSpPr>
        <p:sp>
          <p:nvSpPr>
            <p:cNvPr id="49" name="Rectangle 48">
              <a:extLst>
                <a:ext uri="{FF2B5EF4-FFF2-40B4-BE49-F238E27FC236}">
                  <a16:creationId xmlns:a16="http://schemas.microsoft.com/office/drawing/2014/main" id="{E10B72E2-CF7D-49FF-986C-35892DD096DB}"/>
                </a:ext>
              </a:extLst>
            </p:cNvPr>
            <p:cNvSpPr/>
            <p:nvPr/>
          </p:nvSpPr>
          <p:spPr>
            <a:xfrm>
              <a:off x="2138159" y="1852566"/>
              <a:ext cx="2097363" cy="653046"/>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85" tIns="41162" rIns="52367" bIns="41162" numCol="1" spcCol="1270" anchor="ctr" anchorCtr="0">
              <a:noAutofit/>
            </a:bodyPr>
            <a:lstStyle/>
            <a:p>
              <a:pPr marL="0" marR="0" lvl="0" indent="0" algn="l" defTabSz="784338"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a:ln>
                    <a:noFill/>
                  </a:ln>
                  <a:solidFill>
                    <a:prstClr val="black"/>
                  </a:solidFill>
                  <a:effectLst/>
                  <a:uLnTx/>
                  <a:uFillTx/>
                  <a:latin typeface="Segoe UI"/>
                  <a:ea typeface="+mn-ea"/>
                  <a:cs typeface="+mn-cs"/>
                </a:rPr>
                <a:t>App Workspaces</a:t>
              </a:r>
            </a:p>
          </p:txBody>
        </p:sp>
        <p:sp>
          <p:nvSpPr>
            <p:cNvPr id="80" name="Freeform: Shape 79">
              <a:extLst>
                <a:ext uri="{FF2B5EF4-FFF2-40B4-BE49-F238E27FC236}">
                  <a16:creationId xmlns:a16="http://schemas.microsoft.com/office/drawing/2014/main" id="{AD3AEBAD-0FE0-4F90-AA86-E497D78622CE}"/>
                </a:ext>
              </a:extLst>
            </p:cNvPr>
            <p:cNvSpPr/>
            <p:nvPr/>
          </p:nvSpPr>
          <p:spPr>
            <a:xfrm>
              <a:off x="2268768" y="2505612"/>
              <a:ext cx="130609" cy="489784"/>
            </a:xfrm>
            <a:custGeom>
              <a:avLst/>
              <a:gdLst/>
              <a:ahLst/>
              <a:cxnLst/>
              <a:rect l="0" t="0" r="0" b="0"/>
              <a:pathLst>
                <a:path>
                  <a:moveTo>
                    <a:pt x="0" y="0"/>
                  </a:moveTo>
                  <a:lnTo>
                    <a:pt x="0" y="489784"/>
                  </a:lnTo>
                  <a:lnTo>
                    <a:pt x="130609" y="48978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1" name="Rectangle 80">
              <a:extLst>
                <a:ext uri="{FF2B5EF4-FFF2-40B4-BE49-F238E27FC236}">
                  <a16:creationId xmlns:a16="http://schemas.microsoft.com/office/drawing/2014/main" id="{E5A2B5A5-160A-4AA8-A96A-8689947A0C88}"/>
                </a:ext>
              </a:extLst>
            </p:cNvPr>
            <p:cNvSpPr/>
            <p:nvPr/>
          </p:nvSpPr>
          <p:spPr>
            <a:xfrm>
              <a:off x="2399378" y="2668874"/>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shboards</a:t>
              </a:r>
            </a:p>
          </p:txBody>
        </p:sp>
        <p:sp>
          <p:nvSpPr>
            <p:cNvPr id="82" name="Freeform: Shape 81">
              <a:extLst>
                <a:ext uri="{FF2B5EF4-FFF2-40B4-BE49-F238E27FC236}">
                  <a16:creationId xmlns:a16="http://schemas.microsoft.com/office/drawing/2014/main" id="{18B92DF5-FCA3-4B4A-9A62-1FC83EF98544}"/>
                </a:ext>
              </a:extLst>
            </p:cNvPr>
            <p:cNvSpPr/>
            <p:nvPr/>
          </p:nvSpPr>
          <p:spPr>
            <a:xfrm>
              <a:off x="2268768" y="2505612"/>
              <a:ext cx="130609" cy="1306093"/>
            </a:xfrm>
            <a:custGeom>
              <a:avLst/>
              <a:gdLst/>
              <a:ahLst/>
              <a:cxnLst/>
              <a:rect l="0" t="0" r="0" b="0"/>
              <a:pathLst>
                <a:path>
                  <a:moveTo>
                    <a:pt x="0" y="0"/>
                  </a:moveTo>
                  <a:lnTo>
                    <a:pt x="0" y="1306093"/>
                  </a:lnTo>
                  <a:lnTo>
                    <a:pt x="130609" y="130609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3" name="Rectangle 82">
              <a:extLst>
                <a:ext uri="{FF2B5EF4-FFF2-40B4-BE49-F238E27FC236}">
                  <a16:creationId xmlns:a16="http://schemas.microsoft.com/office/drawing/2014/main" id="{46DC8A37-2E4F-44BB-9E09-62606564FF67}"/>
                </a:ext>
              </a:extLst>
            </p:cNvPr>
            <p:cNvSpPr/>
            <p:nvPr/>
          </p:nvSpPr>
          <p:spPr>
            <a:xfrm>
              <a:off x="2399378" y="3485182"/>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Reports</a:t>
              </a:r>
            </a:p>
          </p:txBody>
        </p:sp>
        <p:sp>
          <p:nvSpPr>
            <p:cNvPr id="84" name="Freeform: Shape 83">
              <a:extLst>
                <a:ext uri="{FF2B5EF4-FFF2-40B4-BE49-F238E27FC236}">
                  <a16:creationId xmlns:a16="http://schemas.microsoft.com/office/drawing/2014/main" id="{C0B6BC18-9BF8-4538-91AC-BDF218257F03}"/>
                </a:ext>
              </a:extLst>
            </p:cNvPr>
            <p:cNvSpPr/>
            <p:nvPr/>
          </p:nvSpPr>
          <p:spPr>
            <a:xfrm>
              <a:off x="2268768" y="2505612"/>
              <a:ext cx="130609" cy="2122401"/>
            </a:xfrm>
            <a:custGeom>
              <a:avLst/>
              <a:gdLst/>
              <a:ahLst/>
              <a:cxnLst/>
              <a:rect l="0" t="0" r="0" b="0"/>
              <a:pathLst>
                <a:path>
                  <a:moveTo>
                    <a:pt x="0" y="0"/>
                  </a:moveTo>
                  <a:lnTo>
                    <a:pt x="0" y="2122401"/>
                  </a:lnTo>
                  <a:lnTo>
                    <a:pt x="130609" y="212240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5" name="Rectangle 84">
              <a:extLst>
                <a:ext uri="{FF2B5EF4-FFF2-40B4-BE49-F238E27FC236}">
                  <a16:creationId xmlns:a16="http://schemas.microsoft.com/office/drawing/2014/main" id="{0504F3C2-3863-4853-979D-5ED626466DEC}"/>
                </a:ext>
              </a:extLst>
            </p:cNvPr>
            <p:cNvSpPr/>
            <p:nvPr/>
          </p:nvSpPr>
          <p:spPr>
            <a:xfrm>
              <a:off x="2399378" y="4301490"/>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Datasets</a:t>
              </a:r>
            </a:p>
          </p:txBody>
        </p:sp>
        <p:sp>
          <p:nvSpPr>
            <p:cNvPr id="86" name="Freeform: Shape 85">
              <a:extLst>
                <a:ext uri="{FF2B5EF4-FFF2-40B4-BE49-F238E27FC236}">
                  <a16:creationId xmlns:a16="http://schemas.microsoft.com/office/drawing/2014/main" id="{1E770C10-2F61-4D40-8255-431748AD9F6B}"/>
                </a:ext>
              </a:extLst>
            </p:cNvPr>
            <p:cNvSpPr/>
            <p:nvPr/>
          </p:nvSpPr>
          <p:spPr>
            <a:xfrm>
              <a:off x="2268768" y="2505612"/>
              <a:ext cx="130609" cy="2938709"/>
            </a:xfrm>
            <a:custGeom>
              <a:avLst/>
              <a:gdLst/>
              <a:ahLst/>
              <a:cxnLst/>
              <a:rect l="0" t="0" r="0" b="0"/>
              <a:pathLst>
                <a:path>
                  <a:moveTo>
                    <a:pt x="0" y="0"/>
                  </a:moveTo>
                  <a:lnTo>
                    <a:pt x="0" y="2938709"/>
                  </a:lnTo>
                  <a:lnTo>
                    <a:pt x="130609" y="293870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7" name="Rectangle 86">
              <a:extLst>
                <a:ext uri="{FF2B5EF4-FFF2-40B4-BE49-F238E27FC236}">
                  <a16:creationId xmlns:a16="http://schemas.microsoft.com/office/drawing/2014/main" id="{A48A9407-CE67-46B6-973C-F5481825F3C8}"/>
                </a:ext>
              </a:extLst>
            </p:cNvPr>
            <p:cNvSpPr/>
            <p:nvPr/>
          </p:nvSpPr>
          <p:spPr>
            <a:xfrm>
              <a:off x="2399378" y="5117799"/>
              <a:ext cx="1836144" cy="653046"/>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85" tIns="33691" rIns="41162" bIns="33691" numCol="1" spcCol="1270" anchor="ctr" anchorCtr="0">
              <a:noAutofit/>
            </a:bodyPr>
            <a:lstStyle/>
            <a:p>
              <a:pPr marL="0" marR="0" lvl="0" indent="0" algn="l" defTabSz="522892" rtl="0" eaLnBrk="1" fontAlgn="auto" latinLnBrk="0" hangingPunct="1">
                <a:lnSpc>
                  <a:spcPct val="90000"/>
                </a:lnSpc>
                <a:spcBef>
                  <a:spcPct val="0"/>
                </a:spcBef>
                <a:spcAft>
                  <a:spcPct val="35000"/>
                </a:spcAft>
                <a:buClrTx/>
                <a:buSzTx/>
                <a:buFontTx/>
                <a:buNone/>
                <a:tabLst/>
                <a:defRPr/>
              </a:pPr>
              <a:r>
                <a:rPr kumimoji="0" lang="en-US" sz="1176" b="0" i="0" u="none" strike="noStrike" kern="1200" cap="none" spc="0" normalizeH="0" baseline="0" noProof="0">
                  <a:ln>
                    <a:noFill/>
                  </a:ln>
                  <a:solidFill>
                    <a:prstClr val="black"/>
                  </a:solidFill>
                  <a:effectLst/>
                  <a:uLnTx/>
                  <a:uFillTx/>
                  <a:latin typeface="Segoe UI"/>
                  <a:ea typeface="+mn-ea"/>
                  <a:cs typeface="+mn-cs"/>
                </a:rPr>
                <a:t>Co-owned Content packs</a:t>
              </a:r>
            </a:p>
          </p:txBody>
        </p:sp>
      </p:grpSp>
    </p:spTree>
    <p:extLst>
      <p:ext uri="{BB962C8B-B14F-4D97-AF65-F5344CB8AC3E}">
        <p14:creationId xmlns:p14="http://schemas.microsoft.com/office/powerpoint/2010/main" val="2176770001"/>
      </p:ext>
    </p:extLst>
  </p:cSld>
  <p:clrMapOvr>
    <a:masterClrMapping/>
  </p:clrMapOvr>
  <mc:AlternateContent xmlns:mc="http://schemas.openxmlformats.org/markup-compatibility/2006" xmlns:p14="http://schemas.microsoft.com/office/powerpoint/2010/main">
    <mc:Choice Requires="p14">
      <p:transition spd="med" p14:dur="700" advTm="90553">
        <p:fade/>
      </p:transition>
    </mc:Choice>
    <mc:Fallback xmlns="">
      <p:transition spd="med" advTm="90553">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783419" y="1422390"/>
            <a:ext cx="10408581" cy="1655108"/>
          </a:xfrm>
        </p:spPr>
        <p:txBody>
          <a:bodyPr/>
          <a:lstStyle/>
          <a:p>
            <a:r>
              <a:rPr lang="de-DE" sz="16000"/>
              <a:t> </a:t>
            </a:r>
            <a:r>
              <a:rPr lang="de-DE" sz="5400"/>
              <a:t>Center </a:t>
            </a:r>
            <a:r>
              <a:rPr lang="de-DE" sz="5400" err="1"/>
              <a:t>of</a:t>
            </a:r>
            <a:r>
              <a:rPr lang="de-DE" sz="5400"/>
              <a:t> Excellence (COE)</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5</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28476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2706807039"/>
      </p:ext>
    </p:extLst>
  </p:cSld>
  <p:clrMapOvr>
    <a:masterClrMapping/>
  </p:clrMapOvr>
  <p:transition advTm="207122">
    <p:fade/>
  </p:transition>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5DA41F-9580-4299-B148-0E8A64B1724B}"/>
              </a:ext>
            </a:extLst>
          </p:cNvPr>
          <p:cNvSpPr>
            <a:spLocks noGrp="1"/>
          </p:cNvSpPr>
          <p:nvPr>
            <p:ph type="title"/>
          </p:nvPr>
        </p:nvSpPr>
        <p:spPr/>
        <p:txBody>
          <a:bodyPr/>
          <a:lstStyle/>
          <a:p>
            <a:r>
              <a:rPr lang="de-DE" sz="6000"/>
              <a:t>Center </a:t>
            </a:r>
            <a:r>
              <a:rPr lang="de-DE" sz="6000" err="1"/>
              <a:t>of</a:t>
            </a:r>
            <a:r>
              <a:rPr lang="de-DE" sz="6000"/>
              <a:t> Excellence</a:t>
            </a:r>
            <a:endParaRPr lang="en-US" sz="6000"/>
          </a:p>
        </p:txBody>
      </p:sp>
      <p:graphicFrame>
        <p:nvGraphicFramePr>
          <p:cNvPr id="4" name="Content Placeholder 2">
            <a:extLst>
              <a:ext uri="{FF2B5EF4-FFF2-40B4-BE49-F238E27FC236}">
                <a16:creationId xmlns:a16="http://schemas.microsoft.com/office/drawing/2014/main" id="{79FF0DFE-53A6-448F-8E5A-D70A957258B2}"/>
              </a:ext>
            </a:extLst>
          </p:cNvPr>
          <p:cNvGraphicFramePr>
            <a:graphicFrameLocks/>
          </p:cNvGraphicFramePr>
          <p:nvPr/>
        </p:nvGraphicFramePr>
        <p:xfrm>
          <a:off x="4409440" y="1323867"/>
          <a:ext cx="7315200" cy="4524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203222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5DA41F-9580-4299-B148-0E8A64B1724B}"/>
              </a:ext>
            </a:extLst>
          </p:cNvPr>
          <p:cNvSpPr>
            <a:spLocks noGrp="1"/>
          </p:cNvSpPr>
          <p:nvPr>
            <p:ph type="title"/>
          </p:nvPr>
        </p:nvSpPr>
        <p:spPr/>
        <p:txBody>
          <a:bodyPr/>
          <a:lstStyle/>
          <a:p>
            <a:r>
              <a:rPr lang="de-DE" sz="6000"/>
              <a:t>Center </a:t>
            </a:r>
            <a:r>
              <a:rPr lang="de-DE" sz="6000" err="1"/>
              <a:t>of</a:t>
            </a:r>
            <a:r>
              <a:rPr lang="de-DE" sz="6000"/>
              <a:t> Excellence</a:t>
            </a:r>
            <a:endParaRPr lang="en-US" sz="6000"/>
          </a:p>
        </p:txBody>
      </p:sp>
      <p:graphicFrame>
        <p:nvGraphicFramePr>
          <p:cNvPr id="4" name="Content Placeholder 2">
            <a:extLst>
              <a:ext uri="{FF2B5EF4-FFF2-40B4-BE49-F238E27FC236}">
                <a16:creationId xmlns:a16="http://schemas.microsoft.com/office/drawing/2014/main" id="{79FF0DFE-53A6-448F-8E5A-D70A957258B2}"/>
              </a:ext>
            </a:extLst>
          </p:cNvPr>
          <p:cNvGraphicFramePr>
            <a:graphicFrameLocks/>
          </p:cNvGraphicFramePr>
          <p:nvPr>
            <p:extLst>
              <p:ext uri="{D42A27DB-BD31-4B8C-83A1-F6EECF244321}">
                <p14:modId xmlns:p14="http://schemas.microsoft.com/office/powerpoint/2010/main" val="2608104329"/>
              </p:ext>
            </p:extLst>
          </p:nvPr>
        </p:nvGraphicFramePr>
        <p:xfrm>
          <a:off x="4409440" y="1323867"/>
          <a:ext cx="7315200" cy="4524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17133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C9B09-9C23-449D-897A-C6A9EB6F531A}"/>
              </a:ext>
            </a:extLst>
          </p:cNvPr>
          <p:cNvSpPr>
            <a:spLocks noGrp="1"/>
          </p:cNvSpPr>
          <p:nvPr>
            <p:ph type="title"/>
          </p:nvPr>
        </p:nvSpPr>
        <p:spPr/>
        <p:txBody>
          <a:bodyPr/>
          <a:lstStyle/>
          <a:p>
            <a:r>
              <a:rPr lang="de-DE"/>
              <a:t>Goals </a:t>
            </a:r>
            <a:r>
              <a:rPr lang="de-DE" err="1"/>
              <a:t>of</a:t>
            </a:r>
            <a:r>
              <a:rPr lang="de-DE"/>
              <a:t> COE</a:t>
            </a:r>
            <a:endParaRPr lang="en-US"/>
          </a:p>
        </p:txBody>
      </p:sp>
      <p:sp>
        <p:nvSpPr>
          <p:cNvPr id="3" name="Textplatzhalter 2">
            <a:extLst>
              <a:ext uri="{FF2B5EF4-FFF2-40B4-BE49-F238E27FC236}">
                <a16:creationId xmlns:a16="http://schemas.microsoft.com/office/drawing/2014/main" id="{AC7280C3-1FB1-4A94-935C-8192BBCD0878}"/>
              </a:ext>
            </a:extLst>
          </p:cNvPr>
          <p:cNvSpPr>
            <a:spLocks noGrp="1"/>
          </p:cNvSpPr>
          <p:nvPr>
            <p:ph type="body" sz="quarter" idx="10"/>
          </p:nvPr>
        </p:nvSpPr>
        <p:spPr>
          <a:xfrm>
            <a:off x="4450405" y="898193"/>
            <a:ext cx="7292164" cy="5059847"/>
          </a:xfrm>
        </p:spPr>
        <p:txBody>
          <a:bodyPr/>
          <a:lstStyle/>
          <a:p>
            <a:pPr marL="342900" indent="-342900">
              <a:buFont typeface="Arial" panose="020B0604020202020204" pitchFamily="34" charset="0"/>
              <a:buChar char="•"/>
            </a:pPr>
            <a:r>
              <a:rPr lang="en-US" sz="2400"/>
              <a:t>Evangelizing a data-driven culture</a:t>
            </a:r>
          </a:p>
          <a:p>
            <a:pPr marL="342900" indent="-342900">
              <a:buFont typeface="Arial" panose="020B0604020202020204" pitchFamily="34" charset="0"/>
              <a:buChar char="•"/>
            </a:pPr>
            <a:r>
              <a:rPr lang="en-US" sz="2400"/>
              <a:t>Promoting the adoption of Power BI</a:t>
            </a:r>
          </a:p>
          <a:p>
            <a:pPr marL="342900" indent="-342900">
              <a:buFont typeface="Arial" panose="020B0604020202020204" pitchFamily="34" charset="0"/>
              <a:buChar char="•"/>
            </a:pPr>
            <a:r>
              <a:rPr lang="en-US" sz="2400"/>
              <a:t>Nurturing, mentoring, guiding, and educating internal users</a:t>
            </a:r>
          </a:p>
          <a:p>
            <a:pPr marL="342900" indent="-342900">
              <a:buFont typeface="Arial" panose="020B0604020202020204" pitchFamily="34" charset="0"/>
              <a:buChar char="•"/>
            </a:pPr>
            <a:r>
              <a:rPr lang="en-US" sz="2400"/>
              <a:t>Coordinating efforts and disseminating knowledge across organizational boundaries</a:t>
            </a:r>
          </a:p>
          <a:p>
            <a:pPr marL="342900" indent="-342900">
              <a:buFont typeface="Arial" panose="020B0604020202020204" pitchFamily="34" charset="0"/>
              <a:buChar char="•"/>
            </a:pPr>
            <a:r>
              <a:rPr lang="en-US" sz="2400"/>
              <a:t>Creating consistency and transparency for the user community</a:t>
            </a:r>
          </a:p>
          <a:p>
            <a:pPr marL="342900" indent="-342900">
              <a:buFont typeface="Arial" panose="020B0604020202020204" pitchFamily="34" charset="0"/>
              <a:buChar char="•"/>
            </a:pPr>
            <a:r>
              <a:rPr lang="en-US" sz="2400"/>
              <a:t>Maximizing the benefits of self-service BI, while reducing the risks</a:t>
            </a:r>
          </a:p>
          <a:p>
            <a:pPr marL="342900" indent="-342900">
              <a:buFont typeface="Arial" panose="020B0604020202020204" pitchFamily="34" charset="0"/>
              <a:buChar char="•"/>
            </a:pPr>
            <a:r>
              <a:rPr lang="en-US" sz="2400"/>
              <a:t>Reducing technical debt by helping make good decisions that increase consistency and result in fewer inefficiencies</a:t>
            </a:r>
          </a:p>
        </p:txBody>
      </p:sp>
    </p:spTree>
    <p:extLst>
      <p:ext uri="{BB962C8B-B14F-4D97-AF65-F5344CB8AC3E}">
        <p14:creationId xmlns:p14="http://schemas.microsoft.com/office/powerpoint/2010/main" val="1419771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4ED6F5-6C26-4464-B00E-B13FAF3FB470}"/>
              </a:ext>
            </a:extLst>
          </p:cNvPr>
          <p:cNvSpPr>
            <a:spLocks noGrp="1"/>
          </p:cNvSpPr>
          <p:nvPr>
            <p:ph type="title"/>
          </p:nvPr>
        </p:nvSpPr>
        <p:spPr/>
        <p:txBody>
          <a:bodyPr/>
          <a:lstStyle/>
          <a:p>
            <a:r>
              <a:rPr lang="de-DE"/>
              <a:t>Key Features, Benefits &amp; Drivers</a:t>
            </a:r>
            <a:endParaRPr lang="en-US"/>
          </a:p>
        </p:txBody>
      </p:sp>
      <p:sp>
        <p:nvSpPr>
          <p:cNvPr id="4" name="Textfeld 3">
            <a:extLst>
              <a:ext uri="{FF2B5EF4-FFF2-40B4-BE49-F238E27FC236}">
                <a16:creationId xmlns:a16="http://schemas.microsoft.com/office/drawing/2014/main" id="{343646F5-3FD6-4F38-A4B7-86DBDF5F97EB}"/>
              </a:ext>
            </a:extLst>
          </p:cNvPr>
          <p:cNvSpPr txBox="1"/>
          <p:nvPr/>
        </p:nvSpPr>
        <p:spPr>
          <a:xfrm>
            <a:off x="128337" y="1582340"/>
            <a:ext cx="10972800" cy="4154984"/>
          </a:xfrm>
          <a:prstGeom prst="rect">
            <a:avLst/>
          </a:prstGeom>
          <a:noFill/>
        </p:spPr>
        <p:txBody>
          <a:bodyPr wrap="square">
            <a:spAutoFit/>
          </a:bodyPr>
          <a:lstStyle/>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Key Features and Benefits:</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velo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Platform</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as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on Power BI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suppor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hanging</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mand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f</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your</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rganisation</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uil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apabilit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rapidl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nswer</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usines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quest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d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ak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or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form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cis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velo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indse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ssociate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with</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gile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livery</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of</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p>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p>
          <a:p>
            <a:pPr marL="34290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Key Drivers:</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Readines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dop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 agile 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telligenc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ultur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Business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ata</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at</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ould</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provid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meaningful</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nsight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nd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help</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rive</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cisions</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a:p>
            <a:pPr marL="6858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Business/IT </a:t>
            </a:r>
            <a:r>
              <a:rPr kumimoji="0" lang="de-DE" sz="24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ollaboration</a:t>
            </a:r>
            <a:r>
              <a:rPr kumimoji="0" lang="de-DE"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92880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7E6AB-19FE-4470-83C4-B156054A9D3C}"/>
              </a:ext>
            </a:extLst>
          </p:cNvPr>
          <p:cNvSpPr>
            <a:spLocks noGrp="1"/>
          </p:cNvSpPr>
          <p:nvPr>
            <p:ph type="title"/>
          </p:nvPr>
        </p:nvSpPr>
        <p:spPr>
          <a:xfrm>
            <a:off x="43032" y="2249714"/>
            <a:ext cx="4044875" cy="2358572"/>
          </a:xfrm>
        </p:spPr>
        <p:txBody>
          <a:bodyPr/>
          <a:lstStyle/>
          <a:p>
            <a:r>
              <a:rPr lang="en-US" sz="4400"/>
              <a:t>Responsibilities of COE</a:t>
            </a:r>
          </a:p>
        </p:txBody>
      </p:sp>
      <p:sp>
        <p:nvSpPr>
          <p:cNvPr id="3" name="Textplatzhalter 2">
            <a:extLst>
              <a:ext uri="{FF2B5EF4-FFF2-40B4-BE49-F238E27FC236}">
                <a16:creationId xmlns:a16="http://schemas.microsoft.com/office/drawing/2014/main" id="{A44CC69D-18AC-400E-9EA8-91F789D7BF5B}"/>
              </a:ext>
            </a:extLst>
          </p:cNvPr>
          <p:cNvSpPr>
            <a:spLocks noGrp="1"/>
          </p:cNvSpPr>
          <p:nvPr>
            <p:ph type="body" sz="quarter" idx="10"/>
          </p:nvPr>
        </p:nvSpPr>
        <p:spPr>
          <a:xfrm>
            <a:off x="4399808" y="185053"/>
            <a:ext cx="7436795" cy="7017306"/>
          </a:xfrm>
        </p:spPr>
        <p:txBody>
          <a:bodyPr/>
          <a:lstStyle/>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Mentoring the internal Power BI community</a:t>
            </a:r>
          </a:p>
          <a:p>
            <a:pPr marL="342900" indent="-342900">
              <a:buFont typeface="Arial" panose="020B0604020202020204" pitchFamily="34" charset="0"/>
              <a:buChar char="•"/>
            </a:pPr>
            <a:r>
              <a:rPr lang="en-US" sz="2400"/>
              <a:t>Producing, curating, and promoting training materials</a:t>
            </a:r>
          </a:p>
          <a:p>
            <a:pPr marL="342900" indent="-342900">
              <a:buFont typeface="Arial" panose="020B0604020202020204" pitchFamily="34" charset="0"/>
              <a:buChar char="•"/>
            </a:pPr>
            <a:r>
              <a:rPr lang="en-US" sz="2400"/>
              <a:t>Creating documentation and resources to encourage consistent use of standards and best practices</a:t>
            </a:r>
          </a:p>
          <a:p>
            <a:pPr marL="342900" indent="-342900">
              <a:buFont typeface="Arial" panose="020B0604020202020204" pitchFamily="34" charset="0"/>
              <a:buChar char="•"/>
            </a:pPr>
            <a:r>
              <a:rPr lang="en-US" sz="2400"/>
              <a:t>Applying, communicating, and assisting with governance guidelines </a:t>
            </a:r>
          </a:p>
          <a:p>
            <a:pPr marL="342900" indent="-342900">
              <a:buFont typeface="Arial" panose="020B0604020202020204" pitchFamily="34" charset="0"/>
              <a:buChar char="•"/>
            </a:pPr>
            <a:r>
              <a:rPr lang="en-US" sz="2400"/>
              <a:t>Handling and assisting with system oversight and administration</a:t>
            </a:r>
          </a:p>
          <a:p>
            <a:pPr marL="342900" indent="-342900">
              <a:buFont typeface="Arial" panose="020B0604020202020204" pitchFamily="34" charset="0"/>
              <a:buChar char="•"/>
            </a:pPr>
            <a:r>
              <a:rPr lang="en-US" sz="2400"/>
              <a:t>Responding to user support issues escalated from the help desk</a:t>
            </a:r>
          </a:p>
          <a:p>
            <a:pPr marL="342900" indent="-342900">
              <a:buFont typeface="Arial" panose="020B0604020202020204" pitchFamily="34" charset="0"/>
              <a:buChar char="•"/>
            </a:pPr>
            <a:r>
              <a:rPr lang="en-US" sz="2400"/>
              <a:t>Developing solutions and/or proofs of concept.</a:t>
            </a:r>
          </a:p>
          <a:p>
            <a:pPr marL="342900" indent="-342900">
              <a:buFont typeface="Arial" panose="020B0604020202020204" pitchFamily="34" charset="0"/>
              <a:buChar char="•"/>
            </a:pPr>
            <a:r>
              <a:rPr lang="en-US" sz="2400"/>
              <a:t>Establishing and maintaining the BI platform and data architecture</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1186127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573342-2225-4EF0-AF86-991555160703}"/>
              </a:ext>
            </a:extLst>
          </p:cNvPr>
          <p:cNvSpPr>
            <a:spLocks noGrp="1"/>
          </p:cNvSpPr>
          <p:nvPr>
            <p:ph type="title"/>
          </p:nvPr>
        </p:nvSpPr>
        <p:spPr/>
        <p:txBody>
          <a:bodyPr/>
          <a:lstStyle/>
          <a:p>
            <a:r>
              <a:rPr lang="de-DE" err="1"/>
              <a:t>Staffing</a:t>
            </a:r>
            <a:r>
              <a:rPr lang="de-DE"/>
              <a:t> a </a:t>
            </a:r>
            <a:r>
              <a:rPr lang="de-DE" err="1"/>
              <a:t>CoE</a:t>
            </a:r>
            <a:endParaRPr lang="en-US"/>
          </a:p>
        </p:txBody>
      </p:sp>
      <p:sp>
        <p:nvSpPr>
          <p:cNvPr id="3" name="Textplatzhalter 2">
            <a:extLst>
              <a:ext uri="{FF2B5EF4-FFF2-40B4-BE49-F238E27FC236}">
                <a16:creationId xmlns:a16="http://schemas.microsoft.com/office/drawing/2014/main" id="{C7DECF2C-3B7F-4DC8-B3B8-F6FC95F87332}"/>
              </a:ext>
            </a:extLst>
          </p:cNvPr>
          <p:cNvSpPr>
            <a:spLocks noGrp="1"/>
          </p:cNvSpPr>
          <p:nvPr>
            <p:ph type="body" sz="quarter" idx="10"/>
          </p:nvPr>
        </p:nvSpPr>
        <p:spPr>
          <a:xfrm>
            <a:off x="584200" y="1435497"/>
            <a:ext cx="11018520" cy="4519254"/>
          </a:xfrm>
        </p:spPr>
        <p:txBody>
          <a:bodyPr>
            <a:normAutofit fontScale="62500" lnSpcReduction="20000"/>
          </a:bodyPr>
          <a:lstStyle/>
          <a:p>
            <a:pPr algn="l"/>
            <a:r>
              <a:rPr lang="en-US" b="0" i="0">
                <a:solidFill>
                  <a:srgbClr val="171717"/>
                </a:solidFill>
                <a:effectLst/>
                <a:latin typeface="Segoe UI" panose="020B0502040204020203" pitchFamily="34" charset="0"/>
              </a:rPr>
              <a:t>People who are good candidates as COE members tend to be those who:</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Understand the analytics vision for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 desire to continually improve analytics practices for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 deep interest in, and expertise with, Power BI.</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interested in seeing Power BI used effectively and adopted successfully throughout the organizat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Take the initiative to continually learn, adapt, and grow.</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Readily share their knowledge with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interested in repeatable processes, standardization, and governance with a focus on user enablement.</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hyper-focused on collaboration with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Are comfortable working in an agile fashion.</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Have an inherent interest in being involved and helping other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Can effectively translate business needs into solutions.</a:t>
            </a:r>
          </a:p>
          <a:p>
            <a:pPr marL="457200" indent="-457200" algn="l">
              <a:buFont typeface="Arial" panose="020B0604020202020204" pitchFamily="34" charset="0"/>
              <a:buChar char="•"/>
            </a:pPr>
            <a:r>
              <a:rPr lang="en-US" b="0" i="0">
                <a:solidFill>
                  <a:srgbClr val="171717"/>
                </a:solidFill>
                <a:effectLst/>
                <a:latin typeface="Segoe UI" panose="020B0502040204020203" pitchFamily="34" charset="0"/>
              </a:rPr>
              <a:t>Communicate well with both technical and business colleagues.</a:t>
            </a:r>
          </a:p>
        </p:txBody>
      </p:sp>
    </p:spTree>
    <p:extLst>
      <p:ext uri="{BB962C8B-B14F-4D97-AF65-F5344CB8AC3E}">
        <p14:creationId xmlns:p14="http://schemas.microsoft.com/office/powerpoint/2010/main" val="819364008"/>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4FDEB4-E21B-41AC-8BBC-2F6B33DD4DC1}"/>
              </a:ext>
            </a:extLst>
          </p:cNvPr>
          <p:cNvSpPr>
            <a:spLocks noGrp="1"/>
          </p:cNvSpPr>
          <p:nvPr>
            <p:ph type="title"/>
          </p:nvPr>
        </p:nvSpPr>
        <p:spPr>
          <a:xfrm>
            <a:off x="269240" y="123092"/>
            <a:ext cx="11655840" cy="956908"/>
          </a:xfrm>
        </p:spPr>
        <p:txBody>
          <a:bodyPr wrap="square" anchor="ctr">
            <a:normAutofit/>
          </a:bodyPr>
          <a:lstStyle/>
          <a:p>
            <a:r>
              <a:rPr lang="de-DE" b="1"/>
              <a:t>Funding COE</a:t>
            </a:r>
            <a:endParaRPr lang="en-US" b="1"/>
          </a:p>
        </p:txBody>
      </p:sp>
      <p:grpSp>
        <p:nvGrpSpPr>
          <p:cNvPr id="5" name="Group 4">
            <a:extLst>
              <a:ext uri="{FF2B5EF4-FFF2-40B4-BE49-F238E27FC236}">
                <a16:creationId xmlns:a16="http://schemas.microsoft.com/office/drawing/2014/main" id="{E2BE6994-46EC-4062-8B61-6482D3BD3088}"/>
              </a:ext>
            </a:extLst>
          </p:cNvPr>
          <p:cNvGrpSpPr>
            <a:grpSpLocks noChangeAspect="1"/>
          </p:cNvGrpSpPr>
          <p:nvPr/>
        </p:nvGrpSpPr>
        <p:grpSpPr bwMode="auto">
          <a:xfrm>
            <a:off x="3785822" y="1719239"/>
            <a:ext cx="4619477" cy="4654232"/>
            <a:chOff x="2245" y="553"/>
            <a:chExt cx="3190" cy="3214"/>
          </a:xfrm>
        </p:grpSpPr>
        <p:sp>
          <p:nvSpPr>
            <p:cNvPr id="6" name="Freeform 5">
              <a:extLst>
                <a:ext uri="{FF2B5EF4-FFF2-40B4-BE49-F238E27FC236}">
                  <a16:creationId xmlns:a16="http://schemas.microsoft.com/office/drawing/2014/main" id="{6B0263CC-0D19-486B-8783-5D57E535FFC3}"/>
                </a:ext>
              </a:extLst>
            </p:cNvPr>
            <p:cNvSpPr>
              <a:spLocks/>
            </p:cNvSpPr>
            <p:nvPr/>
          </p:nvSpPr>
          <p:spPr bwMode="auto">
            <a:xfrm>
              <a:off x="3840" y="553"/>
              <a:ext cx="776" cy="635"/>
            </a:xfrm>
            <a:custGeom>
              <a:avLst/>
              <a:gdLst>
                <a:gd name="T0" fmla="*/ 0 w 776"/>
                <a:gd name="T1" fmla="*/ 0 h 635"/>
                <a:gd name="T2" fmla="*/ 0 w 776"/>
                <a:gd name="T3" fmla="*/ 376 h 635"/>
                <a:gd name="T4" fmla="*/ 451 w 776"/>
                <a:gd name="T5" fmla="*/ 635 h 635"/>
                <a:gd name="T6" fmla="*/ 451 w 776"/>
                <a:gd name="T7" fmla="*/ 635 h 635"/>
                <a:gd name="T8" fmla="*/ 776 w 776"/>
                <a:gd name="T9" fmla="*/ 449 h 635"/>
                <a:gd name="T10" fmla="*/ 776 w 776"/>
                <a:gd name="T11" fmla="*/ 449 h 635"/>
                <a:gd name="T12" fmla="*/ 0 w 776"/>
                <a:gd name="T13" fmla="*/ 0 h 635"/>
              </a:gdLst>
              <a:ahLst/>
              <a:cxnLst>
                <a:cxn ang="0">
                  <a:pos x="T0" y="T1"/>
                </a:cxn>
                <a:cxn ang="0">
                  <a:pos x="T2" y="T3"/>
                </a:cxn>
                <a:cxn ang="0">
                  <a:pos x="T4" y="T5"/>
                </a:cxn>
                <a:cxn ang="0">
                  <a:pos x="T6" y="T7"/>
                </a:cxn>
                <a:cxn ang="0">
                  <a:pos x="T8" y="T9"/>
                </a:cxn>
                <a:cxn ang="0">
                  <a:pos x="T10" y="T11"/>
                </a:cxn>
                <a:cxn ang="0">
                  <a:pos x="T12" y="T13"/>
                </a:cxn>
              </a:cxnLst>
              <a:rect l="0" t="0" r="r" b="b"/>
              <a:pathLst>
                <a:path w="776" h="635">
                  <a:moveTo>
                    <a:pt x="0" y="0"/>
                  </a:moveTo>
                  <a:lnTo>
                    <a:pt x="0" y="376"/>
                  </a:lnTo>
                  <a:lnTo>
                    <a:pt x="451" y="635"/>
                  </a:lnTo>
                  <a:lnTo>
                    <a:pt x="451" y="635"/>
                  </a:lnTo>
                  <a:lnTo>
                    <a:pt x="776" y="449"/>
                  </a:lnTo>
                  <a:lnTo>
                    <a:pt x="776" y="449"/>
                  </a:lnTo>
                  <a:lnTo>
                    <a:pt x="0" y="0"/>
                  </a:ln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6">
              <a:extLst>
                <a:ext uri="{FF2B5EF4-FFF2-40B4-BE49-F238E27FC236}">
                  <a16:creationId xmlns:a16="http://schemas.microsoft.com/office/drawing/2014/main" id="{A343EC8E-49E4-40DA-8026-BDD3C13B98B5}"/>
                </a:ext>
              </a:extLst>
            </p:cNvPr>
            <p:cNvSpPr>
              <a:spLocks/>
            </p:cNvSpPr>
            <p:nvPr/>
          </p:nvSpPr>
          <p:spPr bwMode="auto">
            <a:xfrm>
              <a:off x="3840" y="553"/>
              <a:ext cx="776" cy="635"/>
            </a:xfrm>
            <a:custGeom>
              <a:avLst/>
              <a:gdLst>
                <a:gd name="T0" fmla="*/ 0 w 776"/>
                <a:gd name="T1" fmla="*/ 0 h 635"/>
                <a:gd name="T2" fmla="*/ 0 w 776"/>
                <a:gd name="T3" fmla="*/ 376 h 635"/>
                <a:gd name="T4" fmla="*/ 451 w 776"/>
                <a:gd name="T5" fmla="*/ 635 h 635"/>
                <a:gd name="T6" fmla="*/ 451 w 776"/>
                <a:gd name="T7" fmla="*/ 635 h 635"/>
                <a:gd name="T8" fmla="*/ 776 w 776"/>
                <a:gd name="T9" fmla="*/ 449 h 635"/>
                <a:gd name="T10" fmla="*/ 776 w 776"/>
                <a:gd name="T11" fmla="*/ 449 h 635"/>
                <a:gd name="T12" fmla="*/ 0 w 776"/>
                <a:gd name="T13" fmla="*/ 0 h 635"/>
              </a:gdLst>
              <a:ahLst/>
              <a:cxnLst>
                <a:cxn ang="0">
                  <a:pos x="T0" y="T1"/>
                </a:cxn>
                <a:cxn ang="0">
                  <a:pos x="T2" y="T3"/>
                </a:cxn>
                <a:cxn ang="0">
                  <a:pos x="T4" y="T5"/>
                </a:cxn>
                <a:cxn ang="0">
                  <a:pos x="T6" y="T7"/>
                </a:cxn>
                <a:cxn ang="0">
                  <a:pos x="T8" y="T9"/>
                </a:cxn>
                <a:cxn ang="0">
                  <a:pos x="T10" y="T11"/>
                </a:cxn>
                <a:cxn ang="0">
                  <a:pos x="T12" y="T13"/>
                </a:cxn>
              </a:cxnLst>
              <a:rect l="0" t="0" r="r" b="b"/>
              <a:pathLst>
                <a:path w="776" h="635">
                  <a:moveTo>
                    <a:pt x="0" y="0"/>
                  </a:moveTo>
                  <a:lnTo>
                    <a:pt x="0" y="376"/>
                  </a:lnTo>
                  <a:lnTo>
                    <a:pt x="451" y="635"/>
                  </a:lnTo>
                  <a:lnTo>
                    <a:pt x="451" y="635"/>
                  </a:lnTo>
                  <a:lnTo>
                    <a:pt x="776" y="449"/>
                  </a:lnTo>
                  <a:lnTo>
                    <a:pt x="776" y="44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
              <a:extLst>
                <a:ext uri="{FF2B5EF4-FFF2-40B4-BE49-F238E27FC236}">
                  <a16:creationId xmlns:a16="http://schemas.microsoft.com/office/drawing/2014/main" id="{83E927B3-F2D8-45FB-9FF4-C244AC916899}"/>
                </a:ext>
              </a:extLst>
            </p:cNvPr>
            <p:cNvSpPr>
              <a:spLocks/>
            </p:cNvSpPr>
            <p:nvPr/>
          </p:nvSpPr>
          <p:spPr bwMode="auto">
            <a:xfrm>
              <a:off x="3064" y="553"/>
              <a:ext cx="1552" cy="1790"/>
            </a:xfrm>
            <a:custGeom>
              <a:avLst/>
              <a:gdLst>
                <a:gd name="T0" fmla="*/ 776 w 1552"/>
                <a:gd name="T1" fmla="*/ 0 h 1790"/>
                <a:gd name="T2" fmla="*/ 0 w 1552"/>
                <a:gd name="T3" fmla="*/ 449 h 1790"/>
                <a:gd name="T4" fmla="*/ 0 w 1552"/>
                <a:gd name="T5" fmla="*/ 1343 h 1790"/>
                <a:gd name="T6" fmla="*/ 776 w 1552"/>
                <a:gd name="T7" fmla="*/ 1790 h 1790"/>
                <a:gd name="T8" fmla="*/ 1552 w 1552"/>
                <a:gd name="T9" fmla="*/ 1343 h 1790"/>
                <a:gd name="T10" fmla="*/ 1552 w 1552"/>
                <a:gd name="T11" fmla="*/ 449 h 1790"/>
                <a:gd name="T12" fmla="*/ 1227 w 1552"/>
                <a:gd name="T13" fmla="*/ 635 h 1790"/>
                <a:gd name="T14" fmla="*/ 1227 w 1552"/>
                <a:gd name="T15" fmla="*/ 635 h 1790"/>
                <a:gd name="T16" fmla="*/ 776 w 1552"/>
                <a:gd name="T17" fmla="*/ 376 h 1790"/>
                <a:gd name="T18" fmla="*/ 776 w 1552"/>
                <a:gd name="T19" fmla="*/ 0 h 1790"/>
                <a:gd name="T20" fmla="*/ 1267 w 1552"/>
                <a:gd name="T21" fmla="*/ 285 h 1790"/>
                <a:gd name="T22" fmla="*/ 776 w 1552"/>
                <a:gd name="T23"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2" h="1790">
                  <a:moveTo>
                    <a:pt x="776" y="0"/>
                  </a:moveTo>
                  <a:lnTo>
                    <a:pt x="0" y="449"/>
                  </a:lnTo>
                  <a:lnTo>
                    <a:pt x="0" y="1343"/>
                  </a:lnTo>
                  <a:lnTo>
                    <a:pt x="776" y="1790"/>
                  </a:lnTo>
                  <a:lnTo>
                    <a:pt x="1552" y="1343"/>
                  </a:lnTo>
                  <a:lnTo>
                    <a:pt x="1552" y="449"/>
                  </a:lnTo>
                  <a:lnTo>
                    <a:pt x="1227" y="635"/>
                  </a:lnTo>
                  <a:lnTo>
                    <a:pt x="1227" y="635"/>
                  </a:lnTo>
                  <a:lnTo>
                    <a:pt x="776" y="376"/>
                  </a:lnTo>
                  <a:lnTo>
                    <a:pt x="776" y="0"/>
                  </a:lnTo>
                  <a:lnTo>
                    <a:pt x="1267" y="285"/>
                  </a:lnTo>
                  <a:lnTo>
                    <a:pt x="776" y="0"/>
                  </a:lnTo>
                  <a:close/>
                </a:path>
              </a:pathLst>
            </a:custGeom>
            <a:solidFill>
              <a:srgbClr val="F2C812">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8">
              <a:extLst>
                <a:ext uri="{FF2B5EF4-FFF2-40B4-BE49-F238E27FC236}">
                  <a16:creationId xmlns:a16="http://schemas.microsoft.com/office/drawing/2014/main" id="{2344CF12-E9CA-44E2-A75D-A9E446730A40}"/>
                </a:ext>
              </a:extLst>
            </p:cNvPr>
            <p:cNvSpPr>
              <a:spLocks/>
            </p:cNvSpPr>
            <p:nvPr/>
          </p:nvSpPr>
          <p:spPr bwMode="auto">
            <a:xfrm>
              <a:off x="3064" y="553"/>
              <a:ext cx="1552" cy="1790"/>
            </a:xfrm>
            <a:custGeom>
              <a:avLst/>
              <a:gdLst>
                <a:gd name="T0" fmla="*/ 776 w 1552"/>
                <a:gd name="T1" fmla="*/ 0 h 1790"/>
                <a:gd name="T2" fmla="*/ 0 w 1552"/>
                <a:gd name="T3" fmla="*/ 449 h 1790"/>
                <a:gd name="T4" fmla="*/ 0 w 1552"/>
                <a:gd name="T5" fmla="*/ 1343 h 1790"/>
                <a:gd name="T6" fmla="*/ 776 w 1552"/>
                <a:gd name="T7" fmla="*/ 1790 h 1790"/>
                <a:gd name="T8" fmla="*/ 1552 w 1552"/>
                <a:gd name="T9" fmla="*/ 1343 h 1790"/>
                <a:gd name="T10" fmla="*/ 1552 w 1552"/>
                <a:gd name="T11" fmla="*/ 449 h 1790"/>
                <a:gd name="T12" fmla="*/ 1227 w 1552"/>
                <a:gd name="T13" fmla="*/ 635 h 1790"/>
                <a:gd name="T14" fmla="*/ 1227 w 1552"/>
                <a:gd name="T15" fmla="*/ 635 h 1790"/>
                <a:gd name="T16" fmla="*/ 776 w 1552"/>
                <a:gd name="T17" fmla="*/ 376 h 1790"/>
                <a:gd name="T18" fmla="*/ 776 w 1552"/>
                <a:gd name="T19" fmla="*/ 0 h 1790"/>
                <a:gd name="T20" fmla="*/ 1267 w 1552"/>
                <a:gd name="T21" fmla="*/ 285 h 1790"/>
                <a:gd name="T22" fmla="*/ 776 w 1552"/>
                <a:gd name="T23"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2" h="1790">
                  <a:moveTo>
                    <a:pt x="776" y="0"/>
                  </a:moveTo>
                  <a:lnTo>
                    <a:pt x="0" y="449"/>
                  </a:lnTo>
                  <a:lnTo>
                    <a:pt x="0" y="1343"/>
                  </a:lnTo>
                  <a:lnTo>
                    <a:pt x="776" y="1790"/>
                  </a:lnTo>
                  <a:lnTo>
                    <a:pt x="1552" y="1343"/>
                  </a:lnTo>
                  <a:lnTo>
                    <a:pt x="1552" y="449"/>
                  </a:lnTo>
                  <a:lnTo>
                    <a:pt x="1227" y="635"/>
                  </a:lnTo>
                  <a:lnTo>
                    <a:pt x="1227" y="635"/>
                  </a:lnTo>
                  <a:lnTo>
                    <a:pt x="776" y="376"/>
                  </a:lnTo>
                  <a:lnTo>
                    <a:pt x="776" y="0"/>
                  </a:lnTo>
                  <a:lnTo>
                    <a:pt x="1267" y="285"/>
                  </a:lnTo>
                  <a:lnTo>
                    <a:pt x="7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9">
              <a:extLst>
                <a:ext uri="{FF2B5EF4-FFF2-40B4-BE49-F238E27FC236}">
                  <a16:creationId xmlns:a16="http://schemas.microsoft.com/office/drawing/2014/main" id="{EA028389-9578-44A5-8AC8-0F09E89B7297}"/>
                </a:ext>
              </a:extLst>
            </p:cNvPr>
            <p:cNvSpPr>
              <a:spLocks/>
            </p:cNvSpPr>
            <p:nvPr/>
          </p:nvSpPr>
          <p:spPr bwMode="auto">
            <a:xfrm>
              <a:off x="2245" y="1979"/>
              <a:ext cx="1551" cy="1788"/>
            </a:xfrm>
            <a:custGeom>
              <a:avLst/>
              <a:gdLst>
                <a:gd name="T0" fmla="*/ 778 w 1551"/>
                <a:gd name="T1" fmla="*/ 0 h 1788"/>
                <a:gd name="T2" fmla="*/ 776 w 1551"/>
                <a:gd name="T3" fmla="*/ 274 h 1788"/>
                <a:gd name="T4" fmla="*/ 1314 w 1551"/>
                <a:gd name="T5" fmla="*/ 584 h 1788"/>
                <a:gd name="T6" fmla="*/ 1314 w 1551"/>
                <a:gd name="T7" fmla="*/ 1205 h 1788"/>
                <a:gd name="T8" fmla="*/ 776 w 1551"/>
                <a:gd name="T9" fmla="*/ 1514 h 1788"/>
                <a:gd name="T10" fmla="*/ 239 w 1551"/>
                <a:gd name="T11" fmla="*/ 1205 h 1788"/>
                <a:gd name="T12" fmla="*/ 239 w 1551"/>
                <a:gd name="T13" fmla="*/ 584 h 1788"/>
                <a:gd name="T14" fmla="*/ 0 w 1551"/>
                <a:gd name="T15" fmla="*/ 447 h 1788"/>
                <a:gd name="T16" fmla="*/ 0 w 1551"/>
                <a:gd name="T17" fmla="*/ 1342 h 1788"/>
                <a:gd name="T18" fmla="*/ 776 w 1551"/>
                <a:gd name="T19" fmla="*/ 1788 h 1788"/>
                <a:gd name="T20" fmla="*/ 1551 w 1551"/>
                <a:gd name="T21" fmla="*/ 1342 h 1788"/>
                <a:gd name="T22" fmla="*/ 1551 w 1551"/>
                <a:gd name="T23" fmla="*/ 447 h 1788"/>
                <a:gd name="T24" fmla="*/ 778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8" y="0"/>
                  </a:moveTo>
                  <a:lnTo>
                    <a:pt x="776" y="274"/>
                  </a:lnTo>
                  <a:lnTo>
                    <a:pt x="1314" y="584"/>
                  </a:lnTo>
                  <a:lnTo>
                    <a:pt x="1314" y="1205"/>
                  </a:lnTo>
                  <a:lnTo>
                    <a:pt x="776" y="1514"/>
                  </a:lnTo>
                  <a:lnTo>
                    <a:pt x="239" y="1205"/>
                  </a:lnTo>
                  <a:lnTo>
                    <a:pt x="239" y="584"/>
                  </a:lnTo>
                  <a:lnTo>
                    <a:pt x="0" y="447"/>
                  </a:lnTo>
                  <a:lnTo>
                    <a:pt x="0" y="1342"/>
                  </a:lnTo>
                  <a:lnTo>
                    <a:pt x="776" y="1788"/>
                  </a:lnTo>
                  <a:lnTo>
                    <a:pt x="1551" y="1342"/>
                  </a:lnTo>
                  <a:lnTo>
                    <a:pt x="1551" y="447"/>
                  </a:lnTo>
                  <a:lnTo>
                    <a:pt x="778" y="0"/>
                  </a:lnTo>
                  <a:close/>
                </a:path>
              </a:pathLst>
            </a:custGeom>
            <a:solidFill>
              <a:srgbClr val="50C0B5">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0">
              <a:extLst>
                <a:ext uri="{FF2B5EF4-FFF2-40B4-BE49-F238E27FC236}">
                  <a16:creationId xmlns:a16="http://schemas.microsoft.com/office/drawing/2014/main" id="{B19D4AA3-A37C-49A0-9101-799A935C8129}"/>
                </a:ext>
              </a:extLst>
            </p:cNvPr>
            <p:cNvSpPr>
              <a:spLocks/>
            </p:cNvSpPr>
            <p:nvPr/>
          </p:nvSpPr>
          <p:spPr bwMode="auto">
            <a:xfrm>
              <a:off x="2245" y="1979"/>
              <a:ext cx="1551" cy="1788"/>
            </a:xfrm>
            <a:custGeom>
              <a:avLst/>
              <a:gdLst>
                <a:gd name="T0" fmla="*/ 778 w 1551"/>
                <a:gd name="T1" fmla="*/ 0 h 1788"/>
                <a:gd name="T2" fmla="*/ 776 w 1551"/>
                <a:gd name="T3" fmla="*/ 274 h 1788"/>
                <a:gd name="T4" fmla="*/ 1314 w 1551"/>
                <a:gd name="T5" fmla="*/ 584 h 1788"/>
                <a:gd name="T6" fmla="*/ 1314 w 1551"/>
                <a:gd name="T7" fmla="*/ 1205 h 1788"/>
                <a:gd name="T8" fmla="*/ 776 w 1551"/>
                <a:gd name="T9" fmla="*/ 1514 h 1788"/>
                <a:gd name="T10" fmla="*/ 239 w 1551"/>
                <a:gd name="T11" fmla="*/ 1205 h 1788"/>
                <a:gd name="T12" fmla="*/ 239 w 1551"/>
                <a:gd name="T13" fmla="*/ 584 h 1788"/>
                <a:gd name="T14" fmla="*/ 0 w 1551"/>
                <a:gd name="T15" fmla="*/ 447 h 1788"/>
                <a:gd name="T16" fmla="*/ 0 w 1551"/>
                <a:gd name="T17" fmla="*/ 1342 h 1788"/>
                <a:gd name="T18" fmla="*/ 776 w 1551"/>
                <a:gd name="T19" fmla="*/ 1788 h 1788"/>
                <a:gd name="T20" fmla="*/ 1551 w 1551"/>
                <a:gd name="T21" fmla="*/ 1342 h 1788"/>
                <a:gd name="T22" fmla="*/ 1551 w 1551"/>
                <a:gd name="T23" fmla="*/ 447 h 1788"/>
                <a:gd name="T24" fmla="*/ 778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8" y="0"/>
                  </a:moveTo>
                  <a:lnTo>
                    <a:pt x="776" y="274"/>
                  </a:lnTo>
                  <a:lnTo>
                    <a:pt x="1314" y="584"/>
                  </a:lnTo>
                  <a:lnTo>
                    <a:pt x="1314" y="1205"/>
                  </a:lnTo>
                  <a:lnTo>
                    <a:pt x="776" y="1514"/>
                  </a:lnTo>
                  <a:lnTo>
                    <a:pt x="239" y="1205"/>
                  </a:lnTo>
                  <a:lnTo>
                    <a:pt x="239" y="584"/>
                  </a:lnTo>
                  <a:lnTo>
                    <a:pt x="0" y="447"/>
                  </a:lnTo>
                  <a:lnTo>
                    <a:pt x="0" y="1342"/>
                  </a:lnTo>
                  <a:lnTo>
                    <a:pt x="776" y="1788"/>
                  </a:lnTo>
                  <a:lnTo>
                    <a:pt x="1551" y="1342"/>
                  </a:lnTo>
                  <a:lnTo>
                    <a:pt x="1551" y="447"/>
                  </a:lnTo>
                  <a:lnTo>
                    <a:pt x="7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11">
              <a:extLst>
                <a:ext uri="{FF2B5EF4-FFF2-40B4-BE49-F238E27FC236}">
                  <a16:creationId xmlns:a16="http://schemas.microsoft.com/office/drawing/2014/main" id="{F9B80659-FE1B-4871-8C59-B72EF2546525}"/>
                </a:ext>
              </a:extLst>
            </p:cNvPr>
            <p:cNvSpPr>
              <a:spLocks/>
            </p:cNvSpPr>
            <p:nvPr/>
          </p:nvSpPr>
          <p:spPr bwMode="auto">
            <a:xfrm>
              <a:off x="2245" y="1979"/>
              <a:ext cx="778" cy="634"/>
            </a:xfrm>
            <a:custGeom>
              <a:avLst/>
              <a:gdLst>
                <a:gd name="T0" fmla="*/ 0 w 778"/>
                <a:gd name="T1" fmla="*/ 447 h 634"/>
                <a:gd name="T2" fmla="*/ 327 w 778"/>
                <a:gd name="T3" fmla="*/ 634 h 634"/>
                <a:gd name="T4" fmla="*/ 776 w 778"/>
                <a:gd name="T5" fmla="*/ 374 h 634"/>
                <a:gd name="T6" fmla="*/ 776 w 778"/>
                <a:gd name="T7" fmla="*/ 374 h 634"/>
                <a:gd name="T8" fmla="*/ 778 w 778"/>
                <a:gd name="T9" fmla="*/ 0 h 634"/>
                <a:gd name="T10" fmla="*/ 776 w 778"/>
                <a:gd name="T11" fmla="*/ 0 h 634"/>
                <a:gd name="T12" fmla="*/ 0 w 778"/>
                <a:gd name="T13" fmla="*/ 447 h 634"/>
              </a:gdLst>
              <a:ahLst/>
              <a:cxnLst>
                <a:cxn ang="0">
                  <a:pos x="T0" y="T1"/>
                </a:cxn>
                <a:cxn ang="0">
                  <a:pos x="T2" y="T3"/>
                </a:cxn>
                <a:cxn ang="0">
                  <a:pos x="T4" y="T5"/>
                </a:cxn>
                <a:cxn ang="0">
                  <a:pos x="T6" y="T7"/>
                </a:cxn>
                <a:cxn ang="0">
                  <a:pos x="T8" y="T9"/>
                </a:cxn>
                <a:cxn ang="0">
                  <a:pos x="T10" y="T11"/>
                </a:cxn>
                <a:cxn ang="0">
                  <a:pos x="T12" y="T13"/>
                </a:cxn>
              </a:cxnLst>
              <a:rect l="0" t="0" r="r" b="b"/>
              <a:pathLst>
                <a:path w="778" h="634">
                  <a:moveTo>
                    <a:pt x="0" y="447"/>
                  </a:moveTo>
                  <a:lnTo>
                    <a:pt x="327" y="634"/>
                  </a:lnTo>
                  <a:lnTo>
                    <a:pt x="776" y="374"/>
                  </a:lnTo>
                  <a:lnTo>
                    <a:pt x="776" y="374"/>
                  </a:lnTo>
                  <a:lnTo>
                    <a:pt x="778" y="0"/>
                  </a:lnTo>
                  <a:lnTo>
                    <a:pt x="776" y="0"/>
                  </a:lnTo>
                  <a:lnTo>
                    <a:pt x="0" y="447"/>
                  </a:lnTo>
                  <a:close/>
                </a:path>
              </a:pathLst>
            </a:custGeom>
            <a:solidFill>
              <a:srgbClr val="50C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12">
              <a:extLst>
                <a:ext uri="{FF2B5EF4-FFF2-40B4-BE49-F238E27FC236}">
                  <a16:creationId xmlns:a16="http://schemas.microsoft.com/office/drawing/2014/main" id="{0F31B75A-7B88-413C-9978-A02BC8638AF2}"/>
                </a:ext>
              </a:extLst>
            </p:cNvPr>
            <p:cNvSpPr>
              <a:spLocks/>
            </p:cNvSpPr>
            <p:nvPr/>
          </p:nvSpPr>
          <p:spPr bwMode="auto">
            <a:xfrm>
              <a:off x="2245" y="1979"/>
              <a:ext cx="778" cy="634"/>
            </a:xfrm>
            <a:custGeom>
              <a:avLst/>
              <a:gdLst>
                <a:gd name="T0" fmla="*/ 0 w 778"/>
                <a:gd name="T1" fmla="*/ 447 h 634"/>
                <a:gd name="T2" fmla="*/ 327 w 778"/>
                <a:gd name="T3" fmla="*/ 634 h 634"/>
                <a:gd name="T4" fmla="*/ 776 w 778"/>
                <a:gd name="T5" fmla="*/ 374 h 634"/>
                <a:gd name="T6" fmla="*/ 776 w 778"/>
                <a:gd name="T7" fmla="*/ 374 h 634"/>
                <a:gd name="T8" fmla="*/ 778 w 778"/>
                <a:gd name="T9" fmla="*/ 0 h 634"/>
                <a:gd name="T10" fmla="*/ 776 w 778"/>
                <a:gd name="T11" fmla="*/ 0 h 634"/>
                <a:gd name="T12" fmla="*/ 0 w 778"/>
                <a:gd name="T13" fmla="*/ 447 h 634"/>
              </a:gdLst>
              <a:ahLst/>
              <a:cxnLst>
                <a:cxn ang="0">
                  <a:pos x="T0" y="T1"/>
                </a:cxn>
                <a:cxn ang="0">
                  <a:pos x="T2" y="T3"/>
                </a:cxn>
                <a:cxn ang="0">
                  <a:pos x="T4" y="T5"/>
                </a:cxn>
                <a:cxn ang="0">
                  <a:pos x="T6" y="T7"/>
                </a:cxn>
                <a:cxn ang="0">
                  <a:pos x="T8" y="T9"/>
                </a:cxn>
                <a:cxn ang="0">
                  <a:pos x="T10" y="T11"/>
                </a:cxn>
                <a:cxn ang="0">
                  <a:pos x="T12" y="T13"/>
                </a:cxn>
              </a:cxnLst>
              <a:rect l="0" t="0" r="r" b="b"/>
              <a:pathLst>
                <a:path w="778" h="634">
                  <a:moveTo>
                    <a:pt x="0" y="447"/>
                  </a:moveTo>
                  <a:lnTo>
                    <a:pt x="327" y="634"/>
                  </a:lnTo>
                  <a:lnTo>
                    <a:pt x="776" y="374"/>
                  </a:lnTo>
                  <a:lnTo>
                    <a:pt x="776" y="374"/>
                  </a:lnTo>
                  <a:lnTo>
                    <a:pt x="778" y="0"/>
                  </a:lnTo>
                  <a:lnTo>
                    <a:pt x="776" y="0"/>
                  </a:lnTo>
                  <a:lnTo>
                    <a:pt x="0" y="4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13">
              <a:extLst>
                <a:ext uri="{FF2B5EF4-FFF2-40B4-BE49-F238E27FC236}">
                  <a16:creationId xmlns:a16="http://schemas.microsoft.com/office/drawing/2014/main" id="{6B9E46B6-4646-431B-AD48-D7149C343068}"/>
                </a:ext>
              </a:extLst>
            </p:cNvPr>
            <p:cNvSpPr>
              <a:spLocks/>
            </p:cNvSpPr>
            <p:nvPr/>
          </p:nvSpPr>
          <p:spPr bwMode="auto">
            <a:xfrm>
              <a:off x="4659" y="3184"/>
              <a:ext cx="776" cy="583"/>
            </a:xfrm>
            <a:custGeom>
              <a:avLst/>
              <a:gdLst>
                <a:gd name="T0" fmla="*/ 537 w 776"/>
                <a:gd name="T1" fmla="*/ 0 h 583"/>
                <a:gd name="T2" fmla="*/ 0 w 776"/>
                <a:gd name="T3" fmla="*/ 309 h 583"/>
                <a:gd name="T4" fmla="*/ 0 w 776"/>
                <a:gd name="T5" fmla="*/ 309 h 583"/>
                <a:gd name="T6" fmla="*/ 0 w 776"/>
                <a:gd name="T7" fmla="*/ 583 h 583"/>
                <a:gd name="T8" fmla="*/ 0 w 776"/>
                <a:gd name="T9" fmla="*/ 583 h 583"/>
                <a:gd name="T10" fmla="*/ 776 w 776"/>
                <a:gd name="T11" fmla="*/ 137 h 583"/>
                <a:gd name="T12" fmla="*/ 491 w 776"/>
                <a:gd name="T13" fmla="*/ 299 h 583"/>
                <a:gd name="T14" fmla="*/ 776 w 776"/>
                <a:gd name="T15" fmla="*/ 137 h 583"/>
                <a:gd name="T16" fmla="*/ 537 w 776"/>
                <a:gd name="T17" fmla="*/ 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583">
                  <a:moveTo>
                    <a:pt x="537" y="0"/>
                  </a:moveTo>
                  <a:lnTo>
                    <a:pt x="0" y="309"/>
                  </a:lnTo>
                  <a:lnTo>
                    <a:pt x="0" y="309"/>
                  </a:lnTo>
                  <a:lnTo>
                    <a:pt x="0" y="583"/>
                  </a:lnTo>
                  <a:lnTo>
                    <a:pt x="0" y="583"/>
                  </a:lnTo>
                  <a:lnTo>
                    <a:pt x="776" y="137"/>
                  </a:lnTo>
                  <a:lnTo>
                    <a:pt x="491" y="299"/>
                  </a:lnTo>
                  <a:lnTo>
                    <a:pt x="776" y="137"/>
                  </a:lnTo>
                  <a:lnTo>
                    <a:pt x="537" y="0"/>
                  </a:lnTo>
                  <a:close/>
                </a:path>
              </a:pathLst>
            </a:custGeom>
            <a:solidFill>
              <a:srgbClr val="2A88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14">
              <a:extLst>
                <a:ext uri="{FF2B5EF4-FFF2-40B4-BE49-F238E27FC236}">
                  <a16:creationId xmlns:a16="http://schemas.microsoft.com/office/drawing/2014/main" id="{FD5AA0A5-7947-4496-B5D3-0DF8DE8179E9}"/>
                </a:ext>
              </a:extLst>
            </p:cNvPr>
            <p:cNvSpPr>
              <a:spLocks/>
            </p:cNvSpPr>
            <p:nvPr/>
          </p:nvSpPr>
          <p:spPr bwMode="auto">
            <a:xfrm>
              <a:off x="4659" y="3184"/>
              <a:ext cx="776" cy="583"/>
            </a:xfrm>
            <a:custGeom>
              <a:avLst/>
              <a:gdLst>
                <a:gd name="T0" fmla="*/ 537 w 776"/>
                <a:gd name="T1" fmla="*/ 0 h 583"/>
                <a:gd name="T2" fmla="*/ 0 w 776"/>
                <a:gd name="T3" fmla="*/ 309 h 583"/>
                <a:gd name="T4" fmla="*/ 0 w 776"/>
                <a:gd name="T5" fmla="*/ 309 h 583"/>
                <a:gd name="T6" fmla="*/ 0 w 776"/>
                <a:gd name="T7" fmla="*/ 583 h 583"/>
                <a:gd name="T8" fmla="*/ 0 w 776"/>
                <a:gd name="T9" fmla="*/ 583 h 583"/>
                <a:gd name="T10" fmla="*/ 776 w 776"/>
                <a:gd name="T11" fmla="*/ 137 h 583"/>
                <a:gd name="T12" fmla="*/ 491 w 776"/>
                <a:gd name="T13" fmla="*/ 299 h 583"/>
                <a:gd name="T14" fmla="*/ 776 w 776"/>
                <a:gd name="T15" fmla="*/ 137 h 583"/>
                <a:gd name="T16" fmla="*/ 537 w 776"/>
                <a:gd name="T17" fmla="*/ 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6" h="583">
                  <a:moveTo>
                    <a:pt x="537" y="0"/>
                  </a:moveTo>
                  <a:lnTo>
                    <a:pt x="0" y="309"/>
                  </a:lnTo>
                  <a:lnTo>
                    <a:pt x="0" y="309"/>
                  </a:lnTo>
                  <a:lnTo>
                    <a:pt x="0" y="583"/>
                  </a:lnTo>
                  <a:lnTo>
                    <a:pt x="0" y="583"/>
                  </a:lnTo>
                  <a:lnTo>
                    <a:pt x="776" y="137"/>
                  </a:lnTo>
                  <a:lnTo>
                    <a:pt x="491" y="299"/>
                  </a:lnTo>
                  <a:lnTo>
                    <a:pt x="776" y="137"/>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CA7397B4-A21A-4218-8CDB-0BFE99E92261}"/>
                </a:ext>
              </a:extLst>
            </p:cNvPr>
            <p:cNvSpPr>
              <a:spLocks/>
            </p:cNvSpPr>
            <p:nvPr/>
          </p:nvSpPr>
          <p:spPr bwMode="auto">
            <a:xfrm>
              <a:off x="3884" y="1979"/>
              <a:ext cx="1551" cy="1788"/>
            </a:xfrm>
            <a:custGeom>
              <a:avLst/>
              <a:gdLst>
                <a:gd name="T0" fmla="*/ 775 w 1551"/>
                <a:gd name="T1" fmla="*/ 0 h 1788"/>
                <a:gd name="T2" fmla="*/ 0 w 1551"/>
                <a:gd name="T3" fmla="*/ 447 h 1788"/>
                <a:gd name="T4" fmla="*/ 0 w 1551"/>
                <a:gd name="T5" fmla="*/ 1342 h 1788"/>
                <a:gd name="T6" fmla="*/ 775 w 1551"/>
                <a:gd name="T7" fmla="*/ 1788 h 1788"/>
                <a:gd name="T8" fmla="*/ 775 w 1551"/>
                <a:gd name="T9" fmla="*/ 1514 h 1788"/>
                <a:gd name="T10" fmla="*/ 237 w 1551"/>
                <a:gd name="T11" fmla="*/ 1205 h 1788"/>
                <a:gd name="T12" fmla="*/ 237 w 1551"/>
                <a:gd name="T13" fmla="*/ 584 h 1788"/>
                <a:gd name="T14" fmla="*/ 775 w 1551"/>
                <a:gd name="T15" fmla="*/ 274 h 1788"/>
                <a:gd name="T16" fmla="*/ 1312 w 1551"/>
                <a:gd name="T17" fmla="*/ 584 h 1788"/>
                <a:gd name="T18" fmla="*/ 1312 w 1551"/>
                <a:gd name="T19" fmla="*/ 1205 h 1788"/>
                <a:gd name="T20" fmla="*/ 1551 w 1551"/>
                <a:gd name="T21" fmla="*/ 1342 h 1788"/>
                <a:gd name="T22" fmla="*/ 1551 w 1551"/>
                <a:gd name="T23" fmla="*/ 447 h 1788"/>
                <a:gd name="T24" fmla="*/ 775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5" y="0"/>
                  </a:moveTo>
                  <a:lnTo>
                    <a:pt x="0" y="447"/>
                  </a:lnTo>
                  <a:lnTo>
                    <a:pt x="0" y="1342"/>
                  </a:lnTo>
                  <a:lnTo>
                    <a:pt x="775" y="1788"/>
                  </a:lnTo>
                  <a:lnTo>
                    <a:pt x="775" y="1514"/>
                  </a:lnTo>
                  <a:lnTo>
                    <a:pt x="237" y="1205"/>
                  </a:lnTo>
                  <a:lnTo>
                    <a:pt x="237" y="584"/>
                  </a:lnTo>
                  <a:lnTo>
                    <a:pt x="775" y="274"/>
                  </a:lnTo>
                  <a:lnTo>
                    <a:pt x="1312" y="584"/>
                  </a:lnTo>
                  <a:lnTo>
                    <a:pt x="1312" y="1205"/>
                  </a:lnTo>
                  <a:lnTo>
                    <a:pt x="1551" y="1342"/>
                  </a:lnTo>
                  <a:lnTo>
                    <a:pt x="1551" y="447"/>
                  </a:lnTo>
                  <a:lnTo>
                    <a:pt x="775" y="0"/>
                  </a:lnTo>
                  <a:close/>
                </a:path>
              </a:pathLst>
            </a:custGeom>
            <a:solidFill>
              <a:srgbClr val="2A88B5">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16">
              <a:extLst>
                <a:ext uri="{FF2B5EF4-FFF2-40B4-BE49-F238E27FC236}">
                  <a16:creationId xmlns:a16="http://schemas.microsoft.com/office/drawing/2014/main" id="{3672291A-5288-4B0B-AFA1-944A153AC25C}"/>
                </a:ext>
              </a:extLst>
            </p:cNvPr>
            <p:cNvSpPr>
              <a:spLocks/>
            </p:cNvSpPr>
            <p:nvPr/>
          </p:nvSpPr>
          <p:spPr bwMode="auto">
            <a:xfrm>
              <a:off x="3884" y="1979"/>
              <a:ext cx="1551" cy="1788"/>
            </a:xfrm>
            <a:custGeom>
              <a:avLst/>
              <a:gdLst>
                <a:gd name="T0" fmla="*/ 775 w 1551"/>
                <a:gd name="T1" fmla="*/ 0 h 1788"/>
                <a:gd name="T2" fmla="*/ 0 w 1551"/>
                <a:gd name="T3" fmla="*/ 447 h 1788"/>
                <a:gd name="T4" fmla="*/ 0 w 1551"/>
                <a:gd name="T5" fmla="*/ 1342 h 1788"/>
                <a:gd name="T6" fmla="*/ 775 w 1551"/>
                <a:gd name="T7" fmla="*/ 1788 h 1788"/>
                <a:gd name="T8" fmla="*/ 775 w 1551"/>
                <a:gd name="T9" fmla="*/ 1514 h 1788"/>
                <a:gd name="T10" fmla="*/ 237 w 1551"/>
                <a:gd name="T11" fmla="*/ 1205 h 1788"/>
                <a:gd name="T12" fmla="*/ 237 w 1551"/>
                <a:gd name="T13" fmla="*/ 584 h 1788"/>
                <a:gd name="T14" fmla="*/ 775 w 1551"/>
                <a:gd name="T15" fmla="*/ 274 h 1788"/>
                <a:gd name="T16" fmla="*/ 1312 w 1551"/>
                <a:gd name="T17" fmla="*/ 584 h 1788"/>
                <a:gd name="T18" fmla="*/ 1312 w 1551"/>
                <a:gd name="T19" fmla="*/ 1205 h 1788"/>
                <a:gd name="T20" fmla="*/ 1551 w 1551"/>
                <a:gd name="T21" fmla="*/ 1342 h 1788"/>
                <a:gd name="T22" fmla="*/ 1551 w 1551"/>
                <a:gd name="T23" fmla="*/ 447 h 1788"/>
                <a:gd name="T24" fmla="*/ 775 w 1551"/>
                <a:gd name="T25" fmla="*/ 0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1" h="1788">
                  <a:moveTo>
                    <a:pt x="775" y="0"/>
                  </a:moveTo>
                  <a:lnTo>
                    <a:pt x="0" y="447"/>
                  </a:lnTo>
                  <a:lnTo>
                    <a:pt x="0" y="1342"/>
                  </a:lnTo>
                  <a:lnTo>
                    <a:pt x="775" y="1788"/>
                  </a:lnTo>
                  <a:lnTo>
                    <a:pt x="775" y="1514"/>
                  </a:lnTo>
                  <a:lnTo>
                    <a:pt x="237" y="1205"/>
                  </a:lnTo>
                  <a:lnTo>
                    <a:pt x="237" y="584"/>
                  </a:lnTo>
                  <a:lnTo>
                    <a:pt x="775" y="274"/>
                  </a:lnTo>
                  <a:lnTo>
                    <a:pt x="1312" y="584"/>
                  </a:lnTo>
                  <a:lnTo>
                    <a:pt x="1312" y="1205"/>
                  </a:lnTo>
                  <a:lnTo>
                    <a:pt x="1551" y="1342"/>
                  </a:lnTo>
                  <a:lnTo>
                    <a:pt x="1551" y="447"/>
                  </a:lnTo>
                  <a:lnTo>
                    <a:pt x="7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17">
              <a:extLst>
                <a:ext uri="{FF2B5EF4-FFF2-40B4-BE49-F238E27FC236}">
                  <a16:creationId xmlns:a16="http://schemas.microsoft.com/office/drawing/2014/main" id="{6A5989D8-7CF1-4C04-A569-A2EDC7EE095A}"/>
                </a:ext>
              </a:extLst>
            </p:cNvPr>
            <p:cNvSpPr>
              <a:spLocks/>
            </p:cNvSpPr>
            <p:nvPr/>
          </p:nvSpPr>
          <p:spPr bwMode="auto">
            <a:xfrm>
              <a:off x="3301" y="829"/>
              <a:ext cx="1078" cy="1240"/>
            </a:xfrm>
            <a:custGeom>
              <a:avLst/>
              <a:gdLst>
                <a:gd name="T0" fmla="*/ 539 w 1078"/>
                <a:gd name="T1" fmla="*/ 1240 h 1240"/>
                <a:gd name="T2" fmla="*/ 0 w 1078"/>
                <a:gd name="T3" fmla="*/ 930 h 1240"/>
                <a:gd name="T4" fmla="*/ 0 w 1078"/>
                <a:gd name="T5" fmla="*/ 310 h 1240"/>
                <a:gd name="T6" fmla="*/ 539 w 1078"/>
                <a:gd name="T7" fmla="*/ 0 h 1240"/>
                <a:gd name="T8" fmla="*/ 1078 w 1078"/>
                <a:gd name="T9" fmla="*/ 310 h 1240"/>
                <a:gd name="T10" fmla="*/ 1078 w 1078"/>
                <a:gd name="T11" fmla="*/ 930 h 1240"/>
                <a:gd name="T12" fmla="*/ 539 w 1078"/>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8" h="1240">
                  <a:moveTo>
                    <a:pt x="539" y="1240"/>
                  </a:moveTo>
                  <a:lnTo>
                    <a:pt x="0" y="930"/>
                  </a:lnTo>
                  <a:lnTo>
                    <a:pt x="0" y="310"/>
                  </a:lnTo>
                  <a:lnTo>
                    <a:pt x="539" y="0"/>
                  </a:lnTo>
                  <a:lnTo>
                    <a:pt x="1078" y="310"/>
                  </a:lnTo>
                  <a:lnTo>
                    <a:pt x="1078" y="930"/>
                  </a:lnTo>
                  <a:lnTo>
                    <a:pt x="539" y="12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18">
              <a:extLst>
                <a:ext uri="{FF2B5EF4-FFF2-40B4-BE49-F238E27FC236}">
                  <a16:creationId xmlns:a16="http://schemas.microsoft.com/office/drawing/2014/main" id="{D26FD1F1-0D4F-41F9-BC30-BAF9813BB9A2}"/>
                </a:ext>
              </a:extLst>
            </p:cNvPr>
            <p:cNvSpPr>
              <a:spLocks/>
            </p:cNvSpPr>
            <p:nvPr/>
          </p:nvSpPr>
          <p:spPr bwMode="auto">
            <a:xfrm>
              <a:off x="3335" y="864"/>
              <a:ext cx="1010" cy="1167"/>
            </a:xfrm>
            <a:custGeom>
              <a:avLst/>
              <a:gdLst>
                <a:gd name="T0" fmla="*/ 505 w 1010"/>
                <a:gd name="T1" fmla="*/ 1167 h 1167"/>
                <a:gd name="T2" fmla="*/ 0 w 1010"/>
                <a:gd name="T3" fmla="*/ 877 h 1167"/>
                <a:gd name="T4" fmla="*/ 0 w 1010"/>
                <a:gd name="T5" fmla="*/ 293 h 1167"/>
                <a:gd name="T6" fmla="*/ 505 w 1010"/>
                <a:gd name="T7" fmla="*/ 0 h 1167"/>
                <a:gd name="T8" fmla="*/ 1010 w 1010"/>
                <a:gd name="T9" fmla="*/ 293 h 1167"/>
                <a:gd name="T10" fmla="*/ 1010 w 1010"/>
                <a:gd name="T11" fmla="*/ 877 h 1167"/>
                <a:gd name="T12" fmla="*/ 505 w 1010"/>
                <a:gd name="T13" fmla="*/ 1167 h 1167"/>
              </a:gdLst>
              <a:ahLst/>
              <a:cxnLst>
                <a:cxn ang="0">
                  <a:pos x="T0" y="T1"/>
                </a:cxn>
                <a:cxn ang="0">
                  <a:pos x="T2" y="T3"/>
                </a:cxn>
                <a:cxn ang="0">
                  <a:pos x="T4" y="T5"/>
                </a:cxn>
                <a:cxn ang="0">
                  <a:pos x="T6" y="T7"/>
                </a:cxn>
                <a:cxn ang="0">
                  <a:pos x="T8" y="T9"/>
                </a:cxn>
                <a:cxn ang="0">
                  <a:pos x="T10" y="T11"/>
                </a:cxn>
                <a:cxn ang="0">
                  <a:pos x="T12" y="T13"/>
                </a:cxn>
              </a:cxnLst>
              <a:rect l="0" t="0" r="r" b="b"/>
              <a:pathLst>
                <a:path w="1010" h="1167">
                  <a:moveTo>
                    <a:pt x="505" y="1167"/>
                  </a:moveTo>
                  <a:lnTo>
                    <a:pt x="0" y="877"/>
                  </a:lnTo>
                  <a:lnTo>
                    <a:pt x="0" y="293"/>
                  </a:lnTo>
                  <a:lnTo>
                    <a:pt x="505" y="0"/>
                  </a:lnTo>
                  <a:lnTo>
                    <a:pt x="1010" y="293"/>
                  </a:lnTo>
                  <a:lnTo>
                    <a:pt x="1010" y="877"/>
                  </a:lnTo>
                  <a:lnTo>
                    <a:pt x="505" y="1167"/>
                  </a:ln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19">
              <a:extLst>
                <a:ext uri="{FF2B5EF4-FFF2-40B4-BE49-F238E27FC236}">
                  <a16:creationId xmlns:a16="http://schemas.microsoft.com/office/drawing/2014/main" id="{7DA952AA-C43C-45CD-B0C3-D54EC9B7C4E0}"/>
                </a:ext>
              </a:extLst>
            </p:cNvPr>
            <p:cNvSpPr>
              <a:spLocks/>
            </p:cNvSpPr>
            <p:nvPr/>
          </p:nvSpPr>
          <p:spPr bwMode="auto">
            <a:xfrm>
              <a:off x="4121" y="2253"/>
              <a:ext cx="1075" cy="1240"/>
            </a:xfrm>
            <a:custGeom>
              <a:avLst/>
              <a:gdLst>
                <a:gd name="T0" fmla="*/ 538 w 1075"/>
                <a:gd name="T1" fmla="*/ 1240 h 1240"/>
                <a:gd name="T2" fmla="*/ 0 w 1075"/>
                <a:gd name="T3" fmla="*/ 931 h 1240"/>
                <a:gd name="T4" fmla="*/ 0 w 1075"/>
                <a:gd name="T5" fmla="*/ 310 h 1240"/>
                <a:gd name="T6" fmla="*/ 538 w 1075"/>
                <a:gd name="T7" fmla="*/ 0 h 1240"/>
                <a:gd name="T8" fmla="*/ 1075 w 1075"/>
                <a:gd name="T9" fmla="*/ 310 h 1240"/>
                <a:gd name="T10" fmla="*/ 1075 w 1075"/>
                <a:gd name="T11" fmla="*/ 931 h 1240"/>
                <a:gd name="T12" fmla="*/ 538 w 1075"/>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5" h="1240">
                  <a:moveTo>
                    <a:pt x="538" y="1240"/>
                  </a:moveTo>
                  <a:lnTo>
                    <a:pt x="0" y="931"/>
                  </a:lnTo>
                  <a:lnTo>
                    <a:pt x="0" y="310"/>
                  </a:lnTo>
                  <a:lnTo>
                    <a:pt x="538" y="0"/>
                  </a:lnTo>
                  <a:lnTo>
                    <a:pt x="1075" y="310"/>
                  </a:lnTo>
                  <a:lnTo>
                    <a:pt x="1075" y="931"/>
                  </a:lnTo>
                  <a:lnTo>
                    <a:pt x="538" y="1240"/>
                  </a:lnTo>
                  <a:close/>
                </a:path>
              </a:pathLst>
            </a:custGeom>
            <a:solidFill>
              <a:srgbClr val="CFE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20">
              <a:extLst>
                <a:ext uri="{FF2B5EF4-FFF2-40B4-BE49-F238E27FC236}">
                  <a16:creationId xmlns:a16="http://schemas.microsoft.com/office/drawing/2014/main" id="{1AE14C97-D6F9-439B-B24F-1303A45F9477}"/>
                </a:ext>
              </a:extLst>
            </p:cNvPr>
            <p:cNvSpPr>
              <a:spLocks/>
            </p:cNvSpPr>
            <p:nvPr/>
          </p:nvSpPr>
          <p:spPr bwMode="auto">
            <a:xfrm>
              <a:off x="4121" y="2253"/>
              <a:ext cx="1075" cy="1240"/>
            </a:xfrm>
            <a:custGeom>
              <a:avLst/>
              <a:gdLst>
                <a:gd name="T0" fmla="*/ 538 w 1075"/>
                <a:gd name="T1" fmla="*/ 1240 h 1240"/>
                <a:gd name="T2" fmla="*/ 0 w 1075"/>
                <a:gd name="T3" fmla="*/ 931 h 1240"/>
                <a:gd name="T4" fmla="*/ 0 w 1075"/>
                <a:gd name="T5" fmla="*/ 310 h 1240"/>
                <a:gd name="T6" fmla="*/ 538 w 1075"/>
                <a:gd name="T7" fmla="*/ 0 h 1240"/>
                <a:gd name="T8" fmla="*/ 1075 w 1075"/>
                <a:gd name="T9" fmla="*/ 310 h 1240"/>
                <a:gd name="T10" fmla="*/ 1075 w 1075"/>
                <a:gd name="T11" fmla="*/ 931 h 1240"/>
                <a:gd name="T12" fmla="*/ 538 w 1075"/>
                <a:gd name="T13" fmla="*/ 1240 h 1240"/>
              </a:gdLst>
              <a:ahLst/>
              <a:cxnLst>
                <a:cxn ang="0">
                  <a:pos x="T0" y="T1"/>
                </a:cxn>
                <a:cxn ang="0">
                  <a:pos x="T2" y="T3"/>
                </a:cxn>
                <a:cxn ang="0">
                  <a:pos x="T4" y="T5"/>
                </a:cxn>
                <a:cxn ang="0">
                  <a:pos x="T6" y="T7"/>
                </a:cxn>
                <a:cxn ang="0">
                  <a:pos x="T8" y="T9"/>
                </a:cxn>
                <a:cxn ang="0">
                  <a:pos x="T10" y="T11"/>
                </a:cxn>
                <a:cxn ang="0">
                  <a:pos x="T12" y="T13"/>
                </a:cxn>
              </a:cxnLst>
              <a:rect l="0" t="0" r="r" b="b"/>
              <a:pathLst>
                <a:path w="1075" h="1240">
                  <a:moveTo>
                    <a:pt x="538" y="1240"/>
                  </a:moveTo>
                  <a:lnTo>
                    <a:pt x="0" y="931"/>
                  </a:lnTo>
                  <a:lnTo>
                    <a:pt x="0" y="310"/>
                  </a:lnTo>
                  <a:lnTo>
                    <a:pt x="538" y="0"/>
                  </a:lnTo>
                  <a:lnTo>
                    <a:pt x="1075" y="310"/>
                  </a:lnTo>
                  <a:lnTo>
                    <a:pt x="1075" y="931"/>
                  </a:lnTo>
                  <a:lnTo>
                    <a:pt x="538" y="124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21">
              <a:extLst>
                <a:ext uri="{FF2B5EF4-FFF2-40B4-BE49-F238E27FC236}">
                  <a16:creationId xmlns:a16="http://schemas.microsoft.com/office/drawing/2014/main" id="{4B288A26-3FB8-4BC3-B12D-4E2E80E1A04C}"/>
                </a:ext>
              </a:extLst>
            </p:cNvPr>
            <p:cNvSpPr>
              <a:spLocks/>
            </p:cNvSpPr>
            <p:nvPr/>
          </p:nvSpPr>
          <p:spPr bwMode="auto">
            <a:xfrm>
              <a:off x="4154" y="2291"/>
              <a:ext cx="1011" cy="1165"/>
            </a:xfrm>
            <a:custGeom>
              <a:avLst/>
              <a:gdLst>
                <a:gd name="T0" fmla="*/ 505 w 1011"/>
                <a:gd name="T1" fmla="*/ 0 h 1165"/>
                <a:gd name="T2" fmla="*/ 0 w 1011"/>
                <a:gd name="T3" fmla="*/ 291 h 1165"/>
                <a:gd name="T4" fmla="*/ 0 w 1011"/>
                <a:gd name="T5" fmla="*/ 874 h 1165"/>
                <a:gd name="T6" fmla="*/ 505 w 1011"/>
                <a:gd name="T7" fmla="*/ 1165 h 1165"/>
                <a:gd name="T8" fmla="*/ 1011 w 1011"/>
                <a:gd name="T9" fmla="*/ 874 h 1165"/>
                <a:gd name="T10" fmla="*/ 1011 w 1011"/>
                <a:gd name="T11" fmla="*/ 291 h 1165"/>
                <a:gd name="T12" fmla="*/ 505 w 1011"/>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5" y="0"/>
                  </a:moveTo>
                  <a:lnTo>
                    <a:pt x="0" y="291"/>
                  </a:lnTo>
                  <a:lnTo>
                    <a:pt x="0" y="874"/>
                  </a:lnTo>
                  <a:lnTo>
                    <a:pt x="505" y="1165"/>
                  </a:lnTo>
                  <a:lnTo>
                    <a:pt x="1011" y="874"/>
                  </a:lnTo>
                  <a:lnTo>
                    <a:pt x="1011" y="291"/>
                  </a:lnTo>
                  <a:lnTo>
                    <a:pt x="505" y="0"/>
                  </a:lnTo>
                  <a:close/>
                </a:path>
              </a:pathLst>
            </a:custGeom>
            <a:solidFill>
              <a:srgbClr val="2A88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22">
              <a:extLst>
                <a:ext uri="{FF2B5EF4-FFF2-40B4-BE49-F238E27FC236}">
                  <a16:creationId xmlns:a16="http://schemas.microsoft.com/office/drawing/2014/main" id="{BC1E0FA9-00AA-487A-B163-F4CB8A1FB07A}"/>
                </a:ext>
              </a:extLst>
            </p:cNvPr>
            <p:cNvSpPr>
              <a:spLocks/>
            </p:cNvSpPr>
            <p:nvPr/>
          </p:nvSpPr>
          <p:spPr bwMode="auto">
            <a:xfrm>
              <a:off x="4154" y="2291"/>
              <a:ext cx="1011" cy="1165"/>
            </a:xfrm>
            <a:custGeom>
              <a:avLst/>
              <a:gdLst>
                <a:gd name="T0" fmla="*/ 505 w 1011"/>
                <a:gd name="T1" fmla="*/ 0 h 1165"/>
                <a:gd name="T2" fmla="*/ 0 w 1011"/>
                <a:gd name="T3" fmla="*/ 291 h 1165"/>
                <a:gd name="T4" fmla="*/ 0 w 1011"/>
                <a:gd name="T5" fmla="*/ 874 h 1165"/>
                <a:gd name="T6" fmla="*/ 505 w 1011"/>
                <a:gd name="T7" fmla="*/ 1165 h 1165"/>
                <a:gd name="T8" fmla="*/ 1011 w 1011"/>
                <a:gd name="T9" fmla="*/ 874 h 1165"/>
                <a:gd name="T10" fmla="*/ 1011 w 1011"/>
                <a:gd name="T11" fmla="*/ 291 h 1165"/>
                <a:gd name="T12" fmla="*/ 505 w 1011"/>
                <a:gd name="T13" fmla="*/ 0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5" y="0"/>
                  </a:moveTo>
                  <a:lnTo>
                    <a:pt x="0" y="291"/>
                  </a:lnTo>
                  <a:lnTo>
                    <a:pt x="0" y="874"/>
                  </a:lnTo>
                  <a:lnTo>
                    <a:pt x="505" y="1165"/>
                  </a:lnTo>
                  <a:lnTo>
                    <a:pt x="1011" y="874"/>
                  </a:lnTo>
                  <a:lnTo>
                    <a:pt x="1011" y="291"/>
                  </a:lnTo>
                  <a:lnTo>
                    <a:pt x="5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3">
              <a:extLst>
                <a:ext uri="{FF2B5EF4-FFF2-40B4-BE49-F238E27FC236}">
                  <a16:creationId xmlns:a16="http://schemas.microsoft.com/office/drawing/2014/main" id="{04FE2D37-5848-4679-BFD0-05B13EBE0DBF}"/>
                </a:ext>
              </a:extLst>
            </p:cNvPr>
            <p:cNvSpPr>
              <a:spLocks/>
            </p:cNvSpPr>
            <p:nvPr/>
          </p:nvSpPr>
          <p:spPr bwMode="auto">
            <a:xfrm>
              <a:off x="2484" y="2253"/>
              <a:ext cx="1075" cy="1240"/>
            </a:xfrm>
            <a:custGeom>
              <a:avLst/>
              <a:gdLst>
                <a:gd name="T0" fmla="*/ 537 w 1075"/>
                <a:gd name="T1" fmla="*/ 0 h 1240"/>
                <a:gd name="T2" fmla="*/ 537 w 1075"/>
                <a:gd name="T3" fmla="*/ 100 h 1240"/>
                <a:gd name="T4" fmla="*/ 537 w 1075"/>
                <a:gd name="T5" fmla="*/ 100 h 1240"/>
                <a:gd name="T6" fmla="*/ 88 w 1075"/>
                <a:gd name="T7" fmla="*/ 360 h 1240"/>
                <a:gd name="T8" fmla="*/ 0 w 1075"/>
                <a:gd name="T9" fmla="*/ 310 h 1240"/>
                <a:gd name="T10" fmla="*/ 0 w 1075"/>
                <a:gd name="T11" fmla="*/ 310 h 1240"/>
                <a:gd name="T12" fmla="*/ 0 w 1075"/>
                <a:gd name="T13" fmla="*/ 931 h 1240"/>
                <a:gd name="T14" fmla="*/ 537 w 1075"/>
                <a:gd name="T15" fmla="*/ 1240 h 1240"/>
                <a:gd name="T16" fmla="*/ 1075 w 1075"/>
                <a:gd name="T17" fmla="*/ 931 h 1240"/>
                <a:gd name="T18" fmla="*/ 1075 w 1075"/>
                <a:gd name="T19" fmla="*/ 310 h 1240"/>
                <a:gd name="T20" fmla="*/ 537 w 1075"/>
                <a:gd name="T21" fmla="*/ 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5" h="1240">
                  <a:moveTo>
                    <a:pt x="537" y="0"/>
                  </a:moveTo>
                  <a:lnTo>
                    <a:pt x="537" y="100"/>
                  </a:lnTo>
                  <a:lnTo>
                    <a:pt x="537" y="100"/>
                  </a:lnTo>
                  <a:lnTo>
                    <a:pt x="88" y="360"/>
                  </a:lnTo>
                  <a:lnTo>
                    <a:pt x="0" y="310"/>
                  </a:lnTo>
                  <a:lnTo>
                    <a:pt x="0" y="310"/>
                  </a:lnTo>
                  <a:lnTo>
                    <a:pt x="0" y="931"/>
                  </a:lnTo>
                  <a:lnTo>
                    <a:pt x="537" y="1240"/>
                  </a:lnTo>
                  <a:lnTo>
                    <a:pt x="1075" y="931"/>
                  </a:lnTo>
                  <a:lnTo>
                    <a:pt x="1075" y="310"/>
                  </a:lnTo>
                  <a:lnTo>
                    <a:pt x="53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4">
              <a:extLst>
                <a:ext uri="{FF2B5EF4-FFF2-40B4-BE49-F238E27FC236}">
                  <a16:creationId xmlns:a16="http://schemas.microsoft.com/office/drawing/2014/main" id="{0C61212B-35C4-4871-B950-C4ED4EE2A4C3}"/>
                </a:ext>
              </a:extLst>
            </p:cNvPr>
            <p:cNvSpPr>
              <a:spLocks/>
            </p:cNvSpPr>
            <p:nvPr/>
          </p:nvSpPr>
          <p:spPr bwMode="auto">
            <a:xfrm>
              <a:off x="2484" y="2253"/>
              <a:ext cx="1075" cy="1240"/>
            </a:xfrm>
            <a:custGeom>
              <a:avLst/>
              <a:gdLst>
                <a:gd name="T0" fmla="*/ 537 w 1075"/>
                <a:gd name="T1" fmla="*/ 0 h 1240"/>
                <a:gd name="T2" fmla="*/ 537 w 1075"/>
                <a:gd name="T3" fmla="*/ 100 h 1240"/>
                <a:gd name="T4" fmla="*/ 537 w 1075"/>
                <a:gd name="T5" fmla="*/ 100 h 1240"/>
                <a:gd name="T6" fmla="*/ 88 w 1075"/>
                <a:gd name="T7" fmla="*/ 360 h 1240"/>
                <a:gd name="T8" fmla="*/ 0 w 1075"/>
                <a:gd name="T9" fmla="*/ 310 h 1240"/>
                <a:gd name="T10" fmla="*/ 0 w 1075"/>
                <a:gd name="T11" fmla="*/ 310 h 1240"/>
                <a:gd name="T12" fmla="*/ 0 w 1075"/>
                <a:gd name="T13" fmla="*/ 931 h 1240"/>
                <a:gd name="T14" fmla="*/ 537 w 1075"/>
                <a:gd name="T15" fmla="*/ 1240 h 1240"/>
                <a:gd name="T16" fmla="*/ 1075 w 1075"/>
                <a:gd name="T17" fmla="*/ 931 h 1240"/>
                <a:gd name="T18" fmla="*/ 1075 w 1075"/>
                <a:gd name="T19" fmla="*/ 310 h 1240"/>
                <a:gd name="T20" fmla="*/ 537 w 1075"/>
                <a:gd name="T21" fmla="*/ 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5" h="1240">
                  <a:moveTo>
                    <a:pt x="537" y="0"/>
                  </a:moveTo>
                  <a:lnTo>
                    <a:pt x="537" y="100"/>
                  </a:lnTo>
                  <a:lnTo>
                    <a:pt x="537" y="100"/>
                  </a:lnTo>
                  <a:lnTo>
                    <a:pt x="88" y="360"/>
                  </a:lnTo>
                  <a:lnTo>
                    <a:pt x="0" y="310"/>
                  </a:lnTo>
                  <a:lnTo>
                    <a:pt x="0" y="310"/>
                  </a:lnTo>
                  <a:lnTo>
                    <a:pt x="0" y="931"/>
                  </a:lnTo>
                  <a:lnTo>
                    <a:pt x="537" y="1240"/>
                  </a:lnTo>
                  <a:lnTo>
                    <a:pt x="1075" y="931"/>
                  </a:lnTo>
                  <a:lnTo>
                    <a:pt x="1075" y="310"/>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25">
              <a:extLst>
                <a:ext uri="{FF2B5EF4-FFF2-40B4-BE49-F238E27FC236}">
                  <a16:creationId xmlns:a16="http://schemas.microsoft.com/office/drawing/2014/main" id="{8490C87C-A323-4583-BB52-198128206A98}"/>
                </a:ext>
              </a:extLst>
            </p:cNvPr>
            <p:cNvSpPr>
              <a:spLocks/>
            </p:cNvSpPr>
            <p:nvPr/>
          </p:nvSpPr>
          <p:spPr bwMode="auto">
            <a:xfrm>
              <a:off x="2484" y="2253"/>
              <a:ext cx="537" cy="360"/>
            </a:xfrm>
            <a:custGeom>
              <a:avLst/>
              <a:gdLst>
                <a:gd name="T0" fmla="*/ 537 w 537"/>
                <a:gd name="T1" fmla="*/ 0 h 360"/>
                <a:gd name="T2" fmla="*/ 0 w 537"/>
                <a:gd name="T3" fmla="*/ 310 h 360"/>
                <a:gd name="T4" fmla="*/ 88 w 537"/>
                <a:gd name="T5" fmla="*/ 360 h 360"/>
                <a:gd name="T6" fmla="*/ 537 w 537"/>
                <a:gd name="T7" fmla="*/ 100 h 360"/>
                <a:gd name="T8" fmla="*/ 537 w 537"/>
                <a:gd name="T9" fmla="*/ 100 h 360"/>
                <a:gd name="T10" fmla="*/ 537 w 537"/>
                <a:gd name="T11" fmla="*/ 0 h 360"/>
                <a:gd name="T12" fmla="*/ 537 w 537"/>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537" h="360">
                  <a:moveTo>
                    <a:pt x="537" y="0"/>
                  </a:moveTo>
                  <a:lnTo>
                    <a:pt x="0" y="310"/>
                  </a:lnTo>
                  <a:lnTo>
                    <a:pt x="88" y="360"/>
                  </a:lnTo>
                  <a:lnTo>
                    <a:pt x="537" y="100"/>
                  </a:lnTo>
                  <a:lnTo>
                    <a:pt x="537" y="100"/>
                  </a:lnTo>
                  <a:lnTo>
                    <a:pt x="537" y="0"/>
                  </a:lnTo>
                  <a:lnTo>
                    <a:pt x="53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26">
              <a:extLst>
                <a:ext uri="{FF2B5EF4-FFF2-40B4-BE49-F238E27FC236}">
                  <a16:creationId xmlns:a16="http://schemas.microsoft.com/office/drawing/2014/main" id="{23BD647E-0638-4768-89F5-82FED29EFF89}"/>
                </a:ext>
              </a:extLst>
            </p:cNvPr>
            <p:cNvSpPr>
              <a:spLocks/>
            </p:cNvSpPr>
            <p:nvPr/>
          </p:nvSpPr>
          <p:spPr bwMode="auto">
            <a:xfrm>
              <a:off x="2484" y="2253"/>
              <a:ext cx="537" cy="360"/>
            </a:xfrm>
            <a:custGeom>
              <a:avLst/>
              <a:gdLst>
                <a:gd name="T0" fmla="*/ 537 w 537"/>
                <a:gd name="T1" fmla="*/ 0 h 360"/>
                <a:gd name="T2" fmla="*/ 0 w 537"/>
                <a:gd name="T3" fmla="*/ 310 h 360"/>
                <a:gd name="T4" fmla="*/ 88 w 537"/>
                <a:gd name="T5" fmla="*/ 360 h 360"/>
                <a:gd name="T6" fmla="*/ 537 w 537"/>
                <a:gd name="T7" fmla="*/ 100 h 360"/>
                <a:gd name="T8" fmla="*/ 537 w 537"/>
                <a:gd name="T9" fmla="*/ 100 h 360"/>
                <a:gd name="T10" fmla="*/ 537 w 537"/>
                <a:gd name="T11" fmla="*/ 0 h 360"/>
                <a:gd name="T12" fmla="*/ 537 w 537"/>
                <a:gd name="T13" fmla="*/ 0 h 360"/>
              </a:gdLst>
              <a:ahLst/>
              <a:cxnLst>
                <a:cxn ang="0">
                  <a:pos x="T0" y="T1"/>
                </a:cxn>
                <a:cxn ang="0">
                  <a:pos x="T2" y="T3"/>
                </a:cxn>
                <a:cxn ang="0">
                  <a:pos x="T4" y="T5"/>
                </a:cxn>
                <a:cxn ang="0">
                  <a:pos x="T6" y="T7"/>
                </a:cxn>
                <a:cxn ang="0">
                  <a:pos x="T8" y="T9"/>
                </a:cxn>
                <a:cxn ang="0">
                  <a:pos x="T10" y="T11"/>
                </a:cxn>
                <a:cxn ang="0">
                  <a:pos x="T12" y="T13"/>
                </a:cxn>
              </a:cxnLst>
              <a:rect l="0" t="0" r="r" b="b"/>
              <a:pathLst>
                <a:path w="537" h="360">
                  <a:moveTo>
                    <a:pt x="537" y="0"/>
                  </a:moveTo>
                  <a:lnTo>
                    <a:pt x="0" y="310"/>
                  </a:lnTo>
                  <a:lnTo>
                    <a:pt x="88" y="360"/>
                  </a:lnTo>
                  <a:lnTo>
                    <a:pt x="537" y="100"/>
                  </a:lnTo>
                  <a:lnTo>
                    <a:pt x="537" y="100"/>
                  </a:lnTo>
                  <a:lnTo>
                    <a:pt x="537" y="0"/>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27">
              <a:extLst>
                <a:ext uri="{FF2B5EF4-FFF2-40B4-BE49-F238E27FC236}">
                  <a16:creationId xmlns:a16="http://schemas.microsoft.com/office/drawing/2014/main" id="{187CE65B-57F4-40EF-824C-857B92AE4915}"/>
                </a:ext>
              </a:extLst>
            </p:cNvPr>
            <p:cNvSpPr>
              <a:spLocks/>
            </p:cNvSpPr>
            <p:nvPr/>
          </p:nvSpPr>
          <p:spPr bwMode="auto">
            <a:xfrm>
              <a:off x="2515" y="2291"/>
              <a:ext cx="1011" cy="1165"/>
            </a:xfrm>
            <a:custGeom>
              <a:avLst/>
              <a:gdLst>
                <a:gd name="T0" fmla="*/ 506 w 1011"/>
                <a:gd name="T1" fmla="*/ 1165 h 1165"/>
                <a:gd name="T2" fmla="*/ 0 w 1011"/>
                <a:gd name="T3" fmla="*/ 874 h 1165"/>
                <a:gd name="T4" fmla="*/ 0 w 1011"/>
                <a:gd name="T5" fmla="*/ 291 h 1165"/>
                <a:gd name="T6" fmla="*/ 506 w 1011"/>
                <a:gd name="T7" fmla="*/ 0 h 1165"/>
                <a:gd name="T8" fmla="*/ 1011 w 1011"/>
                <a:gd name="T9" fmla="*/ 291 h 1165"/>
                <a:gd name="T10" fmla="*/ 1011 w 1011"/>
                <a:gd name="T11" fmla="*/ 874 h 1165"/>
                <a:gd name="T12" fmla="*/ 506 w 1011"/>
                <a:gd name="T13" fmla="*/ 1165 h 1165"/>
              </a:gdLst>
              <a:ahLst/>
              <a:cxnLst>
                <a:cxn ang="0">
                  <a:pos x="T0" y="T1"/>
                </a:cxn>
                <a:cxn ang="0">
                  <a:pos x="T2" y="T3"/>
                </a:cxn>
                <a:cxn ang="0">
                  <a:pos x="T4" y="T5"/>
                </a:cxn>
                <a:cxn ang="0">
                  <a:pos x="T6" y="T7"/>
                </a:cxn>
                <a:cxn ang="0">
                  <a:pos x="T8" y="T9"/>
                </a:cxn>
                <a:cxn ang="0">
                  <a:pos x="T10" y="T11"/>
                </a:cxn>
                <a:cxn ang="0">
                  <a:pos x="T12" y="T13"/>
                </a:cxn>
              </a:cxnLst>
              <a:rect l="0" t="0" r="r" b="b"/>
              <a:pathLst>
                <a:path w="1011" h="1165">
                  <a:moveTo>
                    <a:pt x="506" y="1165"/>
                  </a:moveTo>
                  <a:lnTo>
                    <a:pt x="0" y="874"/>
                  </a:lnTo>
                  <a:lnTo>
                    <a:pt x="0" y="291"/>
                  </a:lnTo>
                  <a:lnTo>
                    <a:pt x="506" y="0"/>
                  </a:lnTo>
                  <a:lnTo>
                    <a:pt x="1011" y="291"/>
                  </a:lnTo>
                  <a:lnTo>
                    <a:pt x="1011" y="874"/>
                  </a:lnTo>
                  <a:lnTo>
                    <a:pt x="506" y="1165"/>
                  </a:lnTo>
                  <a:close/>
                </a:path>
              </a:pathLst>
            </a:custGeom>
            <a:solidFill>
              <a:srgbClr val="50C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0" name="TextBox 35">
            <a:extLst>
              <a:ext uri="{FF2B5EF4-FFF2-40B4-BE49-F238E27FC236}">
                <a16:creationId xmlns:a16="http://schemas.microsoft.com/office/drawing/2014/main" id="{F793350D-9AD3-49A2-9301-0A950A89477F}"/>
              </a:ext>
            </a:extLst>
          </p:cNvPr>
          <p:cNvSpPr txBox="1"/>
          <p:nvPr/>
        </p:nvSpPr>
        <p:spPr>
          <a:xfrm>
            <a:off x="7343863" y="2276903"/>
            <a:ext cx="1932339"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EDC30D"/>
                </a:solidFill>
                <a:effectLst/>
                <a:uLnTx/>
                <a:uFillTx/>
                <a:latin typeface="Arial" panose="020B0604020202020204" pitchFamily="34" charset="0"/>
                <a:ea typeface="+mn-ea"/>
                <a:cs typeface="Arial" panose="020B0604020202020204" pitchFamily="34" charset="0"/>
              </a:rPr>
              <a:t>Cost </a:t>
            </a:r>
            <a:r>
              <a:rPr kumimoji="0" lang="en-IN" sz="1800" b="1" i="0" u="none" strike="noStrike" kern="1200" cap="none" spc="0" normalizeH="0" baseline="0" noProof="0" err="1">
                <a:ln>
                  <a:noFill/>
                </a:ln>
                <a:solidFill>
                  <a:srgbClr val="EDC30D"/>
                </a:solidFill>
                <a:effectLst/>
                <a:uLnTx/>
                <a:uFillTx/>
                <a:latin typeface="Arial" panose="020B0604020202020204" pitchFamily="34" charset="0"/>
                <a:ea typeface="+mn-ea"/>
                <a:cs typeface="Arial" panose="020B0604020202020204" pitchFamily="34" charset="0"/>
              </a:rPr>
              <a:t>Center</a:t>
            </a:r>
            <a:endParaRPr kumimoji="0" lang="en-IN" sz="1800" b="1" i="0" u="none" strike="noStrike" kern="1200" cap="none" spc="0" normalizeH="0" baseline="0" noProof="0">
              <a:ln>
                <a:noFill/>
              </a:ln>
              <a:solidFill>
                <a:srgbClr val="EDC30D"/>
              </a:solidFill>
              <a:effectLst/>
              <a:uLnTx/>
              <a:uFillTx/>
              <a:latin typeface="Arial" panose="020B0604020202020204" pitchFamily="34" charset="0"/>
              <a:ea typeface="+mn-ea"/>
              <a:cs typeface="Arial" panose="020B0604020202020204" pitchFamily="34" charset="0"/>
            </a:endParaRPr>
          </a:p>
        </p:txBody>
      </p:sp>
      <p:sp>
        <p:nvSpPr>
          <p:cNvPr id="31" name="TextBox 36">
            <a:extLst>
              <a:ext uri="{FF2B5EF4-FFF2-40B4-BE49-F238E27FC236}">
                <a16:creationId xmlns:a16="http://schemas.microsoft.com/office/drawing/2014/main" id="{FB75633B-A88C-4A44-98E0-66E4D77F48E4}"/>
              </a:ext>
            </a:extLst>
          </p:cNvPr>
          <p:cNvSpPr txBox="1"/>
          <p:nvPr/>
        </p:nvSpPr>
        <p:spPr>
          <a:xfrm>
            <a:off x="8525112" y="4335009"/>
            <a:ext cx="3148728" cy="58477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rPr>
              <a:t>Combination of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rPr>
              <a:t>Cost and Profit </a:t>
            </a:r>
            <a:r>
              <a:rPr kumimoji="0" lang="en-IN" sz="1600" b="1" i="0" u="none" strike="noStrike" kern="1200" cap="none" spc="0" normalizeH="0" baseline="0" noProof="0" err="1">
                <a:ln>
                  <a:noFill/>
                </a:ln>
                <a:solidFill>
                  <a:srgbClr val="2A88B5"/>
                </a:solidFill>
                <a:effectLst/>
                <a:uLnTx/>
                <a:uFillTx/>
                <a:latin typeface="Arial" panose="020B0604020202020204" pitchFamily="34" charset="0"/>
                <a:ea typeface="+mn-ea"/>
                <a:cs typeface="Arial" panose="020B0604020202020204" pitchFamily="34" charset="0"/>
              </a:rPr>
              <a:t>Center</a:t>
            </a:r>
            <a:endParaRPr kumimoji="0" lang="en-IN" sz="1600" b="1" i="0" u="none" strike="noStrike" kern="1200" cap="none" spc="0" normalizeH="0" baseline="0" noProof="0">
              <a:ln>
                <a:noFill/>
              </a:ln>
              <a:solidFill>
                <a:srgbClr val="2A88B5"/>
              </a:solidFill>
              <a:effectLst/>
              <a:uLnTx/>
              <a:uFillTx/>
              <a:latin typeface="Arial" panose="020B0604020202020204" pitchFamily="34" charset="0"/>
              <a:ea typeface="+mn-ea"/>
              <a:cs typeface="Arial" panose="020B0604020202020204" pitchFamily="34" charset="0"/>
            </a:endParaRPr>
          </a:p>
        </p:txBody>
      </p:sp>
      <p:sp>
        <p:nvSpPr>
          <p:cNvPr id="32" name="TextBox 37">
            <a:extLst>
              <a:ext uri="{FF2B5EF4-FFF2-40B4-BE49-F238E27FC236}">
                <a16:creationId xmlns:a16="http://schemas.microsoft.com/office/drawing/2014/main" id="{3BF994E3-C527-4AF6-AA44-E82349EE30C1}"/>
              </a:ext>
            </a:extLst>
          </p:cNvPr>
          <p:cNvSpPr txBox="1"/>
          <p:nvPr/>
        </p:nvSpPr>
        <p:spPr>
          <a:xfrm>
            <a:off x="1195272" y="4336227"/>
            <a:ext cx="2442614" cy="369332"/>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50C0B5"/>
                </a:solidFill>
                <a:effectLst/>
                <a:uLnTx/>
                <a:uFillTx/>
                <a:latin typeface="Arial" panose="020B0604020202020204" pitchFamily="34" charset="0"/>
                <a:ea typeface="+mn-ea"/>
                <a:cs typeface="Arial" panose="020B0604020202020204" pitchFamily="34" charset="0"/>
              </a:rPr>
              <a:t>Profit </a:t>
            </a:r>
            <a:r>
              <a:rPr kumimoji="0" lang="en-IN" sz="1800" b="1" i="0" u="none" strike="noStrike" kern="1200" cap="none" spc="0" normalizeH="0" baseline="0" noProof="0" err="1">
                <a:ln>
                  <a:noFill/>
                </a:ln>
                <a:solidFill>
                  <a:srgbClr val="50C0B5"/>
                </a:solidFill>
                <a:effectLst/>
                <a:uLnTx/>
                <a:uFillTx/>
                <a:latin typeface="Arial" panose="020B0604020202020204" pitchFamily="34" charset="0"/>
                <a:ea typeface="+mn-ea"/>
                <a:cs typeface="Arial" panose="020B0604020202020204" pitchFamily="34" charset="0"/>
              </a:rPr>
              <a:t>Center</a:t>
            </a:r>
            <a:endParaRPr kumimoji="0" lang="en-IN" sz="1800" b="1" i="0" u="none" strike="noStrike" kern="1200" cap="none" spc="0" normalizeH="0" baseline="0" noProof="0">
              <a:ln>
                <a:noFill/>
              </a:ln>
              <a:solidFill>
                <a:srgbClr val="50C0B5"/>
              </a:solidFill>
              <a:effectLst/>
              <a:uLnTx/>
              <a:uFillTx/>
              <a:latin typeface="Arial" panose="020B0604020202020204" pitchFamily="34" charset="0"/>
              <a:ea typeface="+mn-ea"/>
              <a:cs typeface="Arial" panose="020B0604020202020204" pitchFamily="34" charset="0"/>
            </a:endParaRPr>
          </a:p>
        </p:txBody>
      </p:sp>
      <p:sp>
        <p:nvSpPr>
          <p:cNvPr id="33" name="TextBox 38">
            <a:extLst>
              <a:ext uri="{FF2B5EF4-FFF2-40B4-BE49-F238E27FC236}">
                <a16:creationId xmlns:a16="http://schemas.microsoft.com/office/drawing/2014/main" id="{D053C0E1-DA31-4743-8C6C-F478F8D16BD3}"/>
              </a:ext>
            </a:extLst>
          </p:cNvPr>
          <p:cNvSpPr txBox="1"/>
          <p:nvPr/>
        </p:nvSpPr>
        <p:spPr>
          <a:xfrm>
            <a:off x="7343863" y="2588493"/>
            <a:ext cx="29114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absorbs the operating costs. Generally, it involves an approved annual budget. Sometimes this is called a </a:t>
            </a:r>
            <a:r>
              <a:rPr kumimoji="0" lang="en-US" sz="1200" b="0" i="1" u="none" strike="noStrike" kern="1200" cap="none" spc="0" normalizeH="0" baseline="0" noProof="0">
                <a:ln>
                  <a:noFill/>
                </a:ln>
                <a:solidFill>
                  <a:srgbClr val="171717"/>
                </a:solidFill>
                <a:effectLst/>
                <a:uLnTx/>
                <a:uFillTx/>
                <a:latin typeface="Segoe UI" panose="020B0502040204020203" pitchFamily="34" charset="0"/>
                <a:ea typeface="+mn-ea"/>
                <a:cs typeface="+mn-cs"/>
              </a:rPr>
              <a:t>push</a:t>
            </a: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engagement model.</a:t>
            </a:r>
            <a:endParaRPr kumimoji="0" lang="en-IN"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35" name="TextBox 40">
            <a:extLst>
              <a:ext uri="{FF2B5EF4-FFF2-40B4-BE49-F238E27FC236}">
                <a16:creationId xmlns:a16="http://schemas.microsoft.com/office/drawing/2014/main" id="{56BB4A3F-B14B-4C16-B0A3-06FB2149F9EA}"/>
              </a:ext>
            </a:extLst>
          </p:cNvPr>
          <p:cNvSpPr txBox="1"/>
          <p:nvPr/>
        </p:nvSpPr>
        <p:spPr>
          <a:xfrm>
            <a:off x="896372" y="4643366"/>
            <a:ext cx="29114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could accept projects throughout the year based on funding from other business units. </a:t>
            </a:r>
            <a:endParaRPr kumimoji="0" lang="en-IN"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grpSp>
        <p:nvGrpSpPr>
          <p:cNvPr id="36" name="Group 30">
            <a:extLst>
              <a:ext uri="{FF2B5EF4-FFF2-40B4-BE49-F238E27FC236}">
                <a16:creationId xmlns:a16="http://schemas.microsoft.com/office/drawing/2014/main" id="{9D2A34D7-6346-4F80-A69E-5D5136E39675}"/>
              </a:ext>
            </a:extLst>
          </p:cNvPr>
          <p:cNvGrpSpPr>
            <a:grpSpLocks noChangeAspect="1"/>
          </p:cNvGrpSpPr>
          <p:nvPr/>
        </p:nvGrpSpPr>
        <p:grpSpPr bwMode="auto">
          <a:xfrm>
            <a:off x="5699777" y="2718574"/>
            <a:ext cx="817139" cy="594807"/>
            <a:chOff x="1711" y="614"/>
            <a:chExt cx="4256" cy="3098"/>
          </a:xfrm>
          <a:solidFill>
            <a:schemeClr val="bg1"/>
          </a:solidFill>
        </p:grpSpPr>
        <p:sp>
          <p:nvSpPr>
            <p:cNvPr id="37" name="Freeform 31">
              <a:extLst>
                <a:ext uri="{FF2B5EF4-FFF2-40B4-BE49-F238E27FC236}">
                  <a16:creationId xmlns:a16="http://schemas.microsoft.com/office/drawing/2014/main" id="{3CCEDF73-DE61-4302-A549-06649C67A833}"/>
                </a:ext>
              </a:extLst>
            </p:cNvPr>
            <p:cNvSpPr>
              <a:spLocks/>
            </p:cNvSpPr>
            <p:nvPr/>
          </p:nvSpPr>
          <p:spPr bwMode="auto">
            <a:xfrm>
              <a:off x="2999" y="618"/>
              <a:ext cx="2968" cy="1913"/>
            </a:xfrm>
            <a:custGeom>
              <a:avLst/>
              <a:gdLst>
                <a:gd name="T0" fmla="*/ 1114 w 1428"/>
                <a:gd name="T1" fmla="*/ 196 h 922"/>
                <a:gd name="T2" fmla="*/ 1093 w 1428"/>
                <a:gd name="T3" fmla="*/ 205 h 922"/>
                <a:gd name="T4" fmla="*/ 699 w 1428"/>
                <a:gd name="T5" fmla="*/ 158 h 922"/>
                <a:gd name="T6" fmla="*/ 532 w 1428"/>
                <a:gd name="T7" fmla="*/ 121 h 922"/>
                <a:gd name="T8" fmla="*/ 306 w 1428"/>
                <a:gd name="T9" fmla="*/ 210 h 922"/>
                <a:gd name="T10" fmla="*/ 260 w 1428"/>
                <a:gd name="T11" fmla="*/ 240 h 922"/>
                <a:gd name="T12" fmla="*/ 37 w 1428"/>
                <a:gd name="T13" fmla="*/ 462 h 922"/>
                <a:gd name="T14" fmla="*/ 19 w 1428"/>
                <a:gd name="T15" fmla="*/ 577 h 922"/>
                <a:gd name="T16" fmla="*/ 108 w 1428"/>
                <a:gd name="T17" fmla="*/ 633 h 922"/>
                <a:gd name="T18" fmla="*/ 142 w 1428"/>
                <a:gd name="T19" fmla="*/ 633 h 922"/>
                <a:gd name="T20" fmla="*/ 205 w 1428"/>
                <a:gd name="T21" fmla="*/ 610 h 922"/>
                <a:gd name="T22" fmla="*/ 260 w 1428"/>
                <a:gd name="T23" fmla="*/ 565 h 922"/>
                <a:gd name="T24" fmla="*/ 517 w 1428"/>
                <a:gd name="T25" fmla="*/ 379 h 922"/>
                <a:gd name="T26" fmla="*/ 532 w 1428"/>
                <a:gd name="T27" fmla="*/ 377 h 922"/>
                <a:gd name="T28" fmla="*/ 560 w 1428"/>
                <a:gd name="T29" fmla="*/ 387 h 922"/>
                <a:gd name="T30" fmla="*/ 1177 w 1428"/>
                <a:gd name="T31" fmla="*/ 922 h 922"/>
                <a:gd name="T32" fmla="*/ 1428 w 1428"/>
                <a:gd name="T33" fmla="*/ 822 h 922"/>
                <a:gd name="T34" fmla="*/ 1428 w 1428"/>
                <a:gd name="T35" fmla="*/ 0 h 922"/>
                <a:gd name="T36" fmla="*/ 1114 w 1428"/>
                <a:gd name="T37" fmla="*/ 196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8" h="922">
                  <a:moveTo>
                    <a:pt x="1114" y="196"/>
                  </a:moveTo>
                  <a:cubicBezTo>
                    <a:pt x="1108" y="201"/>
                    <a:pt x="1101" y="204"/>
                    <a:pt x="1093" y="205"/>
                  </a:cubicBezTo>
                  <a:cubicBezTo>
                    <a:pt x="922" y="232"/>
                    <a:pt x="798" y="191"/>
                    <a:pt x="699" y="158"/>
                  </a:cubicBezTo>
                  <a:cubicBezTo>
                    <a:pt x="638" y="138"/>
                    <a:pt x="585" y="121"/>
                    <a:pt x="532" y="121"/>
                  </a:cubicBezTo>
                  <a:cubicBezTo>
                    <a:pt x="442" y="121"/>
                    <a:pt x="373" y="166"/>
                    <a:pt x="306" y="210"/>
                  </a:cubicBezTo>
                  <a:cubicBezTo>
                    <a:pt x="290" y="221"/>
                    <a:pt x="275" y="231"/>
                    <a:pt x="260" y="240"/>
                  </a:cubicBezTo>
                  <a:cubicBezTo>
                    <a:pt x="37" y="462"/>
                    <a:pt x="37" y="462"/>
                    <a:pt x="37" y="462"/>
                  </a:cubicBezTo>
                  <a:cubicBezTo>
                    <a:pt x="7" y="493"/>
                    <a:pt x="0" y="539"/>
                    <a:pt x="19" y="577"/>
                  </a:cubicBezTo>
                  <a:cubicBezTo>
                    <a:pt x="36" y="612"/>
                    <a:pt x="70" y="633"/>
                    <a:pt x="108" y="633"/>
                  </a:cubicBezTo>
                  <a:cubicBezTo>
                    <a:pt x="142" y="633"/>
                    <a:pt x="142" y="633"/>
                    <a:pt x="142" y="633"/>
                  </a:cubicBezTo>
                  <a:cubicBezTo>
                    <a:pt x="165" y="633"/>
                    <a:pt x="187" y="625"/>
                    <a:pt x="205" y="610"/>
                  </a:cubicBezTo>
                  <a:cubicBezTo>
                    <a:pt x="221" y="597"/>
                    <a:pt x="240" y="582"/>
                    <a:pt x="260" y="565"/>
                  </a:cubicBezTo>
                  <a:cubicBezTo>
                    <a:pt x="370" y="473"/>
                    <a:pt x="458" y="402"/>
                    <a:pt x="517" y="379"/>
                  </a:cubicBezTo>
                  <a:cubicBezTo>
                    <a:pt x="522" y="378"/>
                    <a:pt x="527" y="377"/>
                    <a:pt x="532" y="377"/>
                  </a:cubicBezTo>
                  <a:cubicBezTo>
                    <a:pt x="542" y="377"/>
                    <a:pt x="552" y="380"/>
                    <a:pt x="560" y="387"/>
                  </a:cubicBezTo>
                  <a:cubicBezTo>
                    <a:pt x="1177" y="922"/>
                    <a:pt x="1177" y="922"/>
                    <a:pt x="1177" y="922"/>
                  </a:cubicBezTo>
                  <a:cubicBezTo>
                    <a:pt x="1428" y="822"/>
                    <a:pt x="1428" y="822"/>
                    <a:pt x="1428" y="822"/>
                  </a:cubicBezTo>
                  <a:cubicBezTo>
                    <a:pt x="1428" y="0"/>
                    <a:pt x="1428" y="0"/>
                    <a:pt x="1428" y="0"/>
                  </a:cubicBezTo>
                  <a:lnTo>
                    <a:pt x="1114"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32">
              <a:extLst>
                <a:ext uri="{FF2B5EF4-FFF2-40B4-BE49-F238E27FC236}">
                  <a16:creationId xmlns:a16="http://schemas.microsoft.com/office/drawing/2014/main" id="{1A631D18-AF50-4911-B032-22F363561129}"/>
                </a:ext>
              </a:extLst>
            </p:cNvPr>
            <p:cNvSpPr>
              <a:spLocks/>
            </p:cNvSpPr>
            <p:nvPr/>
          </p:nvSpPr>
          <p:spPr bwMode="auto">
            <a:xfrm>
              <a:off x="2243" y="2463"/>
              <a:ext cx="443" cy="531"/>
            </a:xfrm>
            <a:custGeom>
              <a:avLst/>
              <a:gdLst>
                <a:gd name="T0" fmla="*/ 153 w 213"/>
                <a:gd name="T1" fmla="*/ 219 h 256"/>
                <a:gd name="T2" fmla="*/ 199 w 213"/>
                <a:gd name="T3" fmla="*/ 149 h 256"/>
                <a:gd name="T4" fmla="*/ 213 w 213"/>
                <a:gd name="T5" fmla="*/ 102 h 256"/>
                <a:gd name="T6" fmla="*/ 213 w 213"/>
                <a:gd name="T7" fmla="*/ 83 h 256"/>
                <a:gd name="T8" fmla="*/ 130 w 213"/>
                <a:gd name="T9" fmla="*/ 0 h 256"/>
                <a:gd name="T10" fmla="*/ 130 w 213"/>
                <a:gd name="T11" fmla="*/ 0 h 256"/>
                <a:gd name="T12" fmla="*/ 61 w 213"/>
                <a:gd name="T13" fmla="*/ 37 h 256"/>
                <a:gd name="T14" fmla="*/ 14 w 213"/>
                <a:gd name="T15" fmla="*/ 107 h 256"/>
                <a:gd name="T16" fmla="*/ 0 w 213"/>
                <a:gd name="T17" fmla="*/ 153 h 256"/>
                <a:gd name="T18" fmla="*/ 0 w 213"/>
                <a:gd name="T19" fmla="*/ 172 h 256"/>
                <a:gd name="T20" fmla="*/ 83 w 213"/>
                <a:gd name="T21" fmla="*/ 256 h 256"/>
                <a:gd name="T22" fmla="*/ 153 w 213"/>
                <a:gd name="T23" fmla="*/ 21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256">
                  <a:moveTo>
                    <a:pt x="153" y="219"/>
                  </a:moveTo>
                  <a:cubicBezTo>
                    <a:pt x="199" y="149"/>
                    <a:pt x="199" y="149"/>
                    <a:pt x="199" y="149"/>
                  </a:cubicBezTo>
                  <a:cubicBezTo>
                    <a:pt x="208" y="135"/>
                    <a:pt x="213" y="119"/>
                    <a:pt x="213" y="102"/>
                  </a:cubicBezTo>
                  <a:cubicBezTo>
                    <a:pt x="213" y="83"/>
                    <a:pt x="213" y="83"/>
                    <a:pt x="213" y="83"/>
                  </a:cubicBezTo>
                  <a:cubicBezTo>
                    <a:pt x="213" y="37"/>
                    <a:pt x="176" y="0"/>
                    <a:pt x="130" y="0"/>
                  </a:cubicBezTo>
                  <a:cubicBezTo>
                    <a:pt x="130" y="0"/>
                    <a:pt x="130" y="0"/>
                    <a:pt x="130" y="0"/>
                  </a:cubicBezTo>
                  <a:cubicBezTo>
                    <a:pt x="102" y="0"/>
                    <a:pt x="76" y="14"/>
                    <a:pt x="61" y="37"/>
                  </a:cubicBezTo>
                  <a:cubicBezTo>
                    <a:pt x="14" y="107"/>
                    <a:pt x="14" y="107"/>
                    <a:pt x="14" y="107"/>
                  </a:cubicBezTo>
                  <a:cubicBezTo>
                    <a:pt x="5" y="120"/>
                    <a:pt x="0" y="136"/>
                    <a:pt x="0" y="153"/>
                  </a:cubicBezTo>
                  <a:cubicBezTo>
                    <a:pt x="0" y="172"/>
                    <a:pt x="0" y="172"/>
                    <a:pt x="0" y="172"/>
                  </a:cubicBezTo>
                  <a:cubicBezTo>
                    <a:pt x="0" y="218"/>
                    <a:pt x="37" y="256"/>
                    <a:pt x="83" y="256"/>
                  </a:cubicBezTo>
                  <a:cubicBezTo>
                    <a:pt x="111" y="256"/>
                    <a:pt x="137" y="242"/>
                    <a:pt x="153"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33">
              <a:extLst>
                <a:ext uri="{FF2B5EF4-FFF2-40B4-BE49-F238E27FC236}">
                  <a16:creationId xmlns:a16="http://schemas.microsoft.com/office/drawing/2014/main" id="{DFB5B184-7396-4266-A5A9-D7BAE943F6F3}"/>
                </a:ext>
              </a:extLst>
            </p:cNvPr>
            <p:cNvSpPr>
              <a:spLocks/>
            </p:cNvSpPr>
            <p:nvPr/>
          </p:nvSpPr>
          <p:spPr bwMode="auto">
            <a:xfrm>
              <a:off x="2509" y="2639"/>
              <a:ext cx="532" cy="621"/>
            </a:xfrm>
            <a:custGeom>
              <a:avLst/>
              <a:gdLst>
                <a:gd name="T0" fmla="*/ 256 w 256"/>
                <a:gd name="T1" fmla="*/ 100 h 299"/>
                <a:gd name="T2" fmla="*/ 256 w 256"/>
                <a:gd name="T3" fmla="*/ 83 h 299"/>
                <a:gd name="T4" fmla="*/ 173 w 256"/>
                <a:gd name="T5" fmla="*/ 0 h 299"/>
                <a:gd name="T6" fmla="*/ 170 w 256"/>
                <a:gd name="T7" fmla="*/ 0 h 299"/>
                <a:gd name="T8" fmla="*/ 103 w 256"/>
                <a:gd name="T9" fmla="*/ 33 h 299"/>
                <a:gd name="T10" fmla="*/ 17 w 256"/>
                <a:gd name="T11" fmla="*/ 148 h 299"/>
                <a:gd name="T12" fmla="*/ 0 w 256"/>
                <a:gd name="T13" fmla="*/ 198 h 299"/>
                <a:gd name="T14" fmla="*/ 0 w 256"/>
                <a:gd name="T15" fmla="*/ 215 h 299"/>
                <a:gd name="T16" fmla="*/ 83 w 256"/>
                <a:gd name="T17" fmla="*/ 299 h 299"/>
                <a:gd name="T18" fmla="*/ 86 w 256"/>
                <a:gd name="T19" fmla="*/ 299 h 299"/>
                <a:gd name="T20" fmla="*/ 153 w 256"/>
                <a:gd name="T21" fmla="*/ 265 h 299"/>
                <a:gd name="T22" fmla="*/ 239 w 256"/>
                <a:gd name="T23" fmla="*/ 150 h 299"/>
                <a:gd name="T24" fmla="*/ 256 w 256"/>
                <a:gd name="T2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9">
                  <a:moveTo>
                    <a:pt x="256" y="100"/>
                  </a:moveTo>
                  <a:cubicBezTo>
                    <a:pt x="256" y="83"/>
                    <a:pt x="256" y="83"/>
                    <a:pt x="256" y="83"/>
                  </a:cubicBezTo>
                  <a:cubicBezTo>
                    <a:pt x="256" y="37"/>
                    <a:pt x="219" y="0"/>
                    <a:pt x="173" y="0"/>
                  </a:cubicBezTo>
                  <a:cubicBezTo>
                    <a:pt x="170" y="0"/>
                    <a:pt x="170" y="0"/>
                    <a:pt x="170" y="0"/>
                  </a:cubicBezTo>
                  <a:cubicBezTo>
                    <a:pt x="143" y="0"/>
                    <a:pt x="119" y="12"/>
                    <a:pt x="103" y="33"/>
                  </a:cubicBezTo>
                  <a:cubicBezTo>
                    <a:pt x="17" y="148"/>
                    <a:pt x="17" y="148"/>
                    <a:pt x="17" y="148"/>
                  </a:cubicBezTo>
                  <a:cubicBezTo>
                    <a:pt x="6" y="163"/>
                    <a:pt x="0" y="180"/>
                    <a:pt x="0" y="198"/>
                  </a:cubicBezTo>
                  <a:cubicBezTo>
                    <a:pt x="0" y="215"/>
                    <a:pt x="0" y="215"/>
                    <a:pt x="0" y="215"/>
                  </a:cubicBezTo>
                  <a:cubicBezTo>
                    <a:pt x="0" y="261"/>
                    <a:pt x="37" y="299"/>
                    <a:pt x="83" y="299"/>
                  </a:cubicBezTo>
                  <a:cubicBezTo>
                    <a:pt x="86" y="299"/>
                    <a:pt x="86" y="299"/>
                    <a:pt x="86" y="299"/>
                  </a:cubicBezTo>
                  <a:cubicBezTo>
                    <a:pt x="113" y="299"/>
                    <a:pt x="137" y="286"/>
                    <a:pt x="153" y="265"/>
                  </a:cubicBezTo>
                  <a:cubicBezTo>
                    <a:pt x="239" y="150"/>
                    <a:pt x="239" y="150"/>
                    <a:pt x="239" y="150"/>
                  </a:cubicBezTo>
                  <a:cubicBezTo>
                    <a:pt x="250" y="136"/>
                    <a:pt x="256" y="118"/>
                    <a:pt x="2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34">
              <a:extLst>
                <a:ext uri="{FF2B5EF4-FFF2-40B4-BE49-F238E27FC236}">
                  <a16:creationId xmlns:a16="http://schemas.microsoft.com/office/drawing/2014/main" id="{9E992C49-05B1-44D8-931F-5346637614F3}"/>
                </a:ext>
              </a:extLst>
            </p:cNvPr>
            <p:cNvSpPr>
              <a:spLocks/>
            </p:cNvSpPr>
            <p:nvPr/>
          </p:nvSpPr>
          <p:spPr bwMode="auto">
            <a:xfrm>
              <a:off x="2864" y="2816"/>
              <a:ext cx="532" cy="620"/>
            </a:xfrm>
            <a:custGeom>
              <a:avLst/>
              <a:gdLst>
                <a:gd name="T0" fmla="*/ 256 w 256"/>
                <a:gd name="T1" fmla="*/ 101 h 299"/>
                <a:gd name="T2" fmla="*/ 256 w 256"/>
                <a:gd name="T3" fmla="*/ 84 h 299"/>
                <a:gd name="T4" fmla="*/ 172 w 256"/>
                <a:gd name="T5" fmla="*/ 0 h 299"/>
                <a:gd name="T6" fmla="*/ 169 w 256"/>
                <a:gd name="T7" fmla="*/ 0 h 299"/>
                <a:gd name="T8" fmla="*/ 103 w 256"/>
                <a:gd name="T9" fmla="*/ 34 h 299"/>
                <a:gd name="T10" fmla="*/ 16 w 256"/>
                <a:gd name="T11" fmla="*/ 149 h 299"/>
                <a:gd name="T12" fmla="*/ 0 w 256"/>
                <a:gd name="T13" fmla="*/ 199 h 299"/>
                <a:gd name="T14" fmla="*/ 0 w 256"/>
                <a:gd name="T15" fmla="*/ 216 h 299"/>
                <a:gd name="T16" fmla="*/ 83 w 256"/>
                <a:gd name="T17" fmla="*/ 299 h 299"/>
                <a:gd name="T18" fmla="*/ 86 w 256"/>
                <a:gd name="T19" fmla="*/ 299 h 299"/>
                <a:gd name="T20" fmla="*/ 153 w 256"/>
                <a:gd name="T21" fmla="*/ 266 h 299"/>
                <a:gd name="T22" fmla="*/ 239 w 256"/>
                <a:gd name="T23" fmla="*/ 151 h 299"/>
                <a:gd name="T24" fmla="*/ 256 w 256"/>
                <a:gd name="T25" fmla="*/ 10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9">
                  <a:moveTo>
                    <a:pt x="256" y="101"/>
                  </a:moveTo>
                  <a:cubicBezTo>
                    <a:pt x="256" y="84"/>
                    <a:pt x="256" y="84"/>
                    <a:pt x="256" y="84"/>
                  </a:cubicBezTo>
                  <a:cubicBezTo>
                    <a:pt x="256" y="38"/>
                    <a:pt x="218" y="0"/>
                    <a:pt x="172" y="0"/>
                  </a:cubicBezTo>
                  <a:cubicBezTo>
                    <a:pt x="169" y="0"/>
                    <a:pt x="169" y="0"/>
                    <a:pt x="169" y="0"/>
                  </a:cubicBezTo>
                  <a:cubicBezTo>
                    <a:pt x="143" y="0"/>
                    <a:pt x="118" y="13"/>
                    <a:pt x="103" y="34"/>
                  </a:cubicBezTo>
                  <a:cubicBezTo>
                    <a:pt x="16" y="149"/>
                    <a:pt x="16" y="149"/>
                    <a:pt x="16" y="149"/>
                  </a:cubicBezTo>
                  <a:cubicBezTo>
                    <a:pt x="6" y="163"/>
                    <a:pt x="0" y="181"/>
                    <a:pt x="0" y="199"/>
                  </a:cubicBezTo>
                  <a:cubicBezTo>
                    <a:pt x="0" y="216"/>
                    <a:pt x="0" y="216"/>
                    <a:pt x="0" y="216"/>
                  </a:cubicBezTo>
                  <a:cubicBezTo>
                    <a:pt x="0" y="262"/>
                    <a:pt x="37" y="299"/>
                    <a:pt x="83" y="299"/>
                  </a:cubicBezTo>
                  <a:cubicBezTo>
                    <a:pt x="86" y="299"/>
                    <a:pt x="86" y="299"/>
                    <a:pt x="86" y="299"/>
                  </a:cubicBezTo>
                  <a:cubicBezTo>
                    <a:pt x="112" y="299"/>
                    <a:pt x="137" y="287"/>
                    <a:pt x="153" y="266"/>
                  </a:cubicBezTo>
                  <a:cubicBezTo>
                    <a:pt x="239" y="151"/>
                    <a:pt x="239" y="151"/>
                    <a:pt x="239" y="151"/>
                  </a:cubicBezTo>
                  <a:cubicBezTo>
                    <a:pt x="250" y="136"/>
                    <a:pt x="256" y="119"/>
                    <a:pt x="25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35">
              <a:extLst>
                <a:ext uri="{FF2B5EF4-FFF2-40B4-BE49-F238E27FC236}">
                  <a16:creationId xmlns:a16="http://schemas.microsoft.com/office/drawing/2014/main" id="{251EAACA-4A8A-492A-B2A2-74D1600B06E1}"/>
                </a:ext>
              </a:extLst>
            </p:cNvPr>
            <p:cNvSpPr>
              <a:spLocks/>
            </p:cNvSpPr>
            <p:nvPr/>
          </p:nvSpPr>
          <p:spPr bwMode="auto">
            <a:xfrm>
              <a:off x="3218" y="2994"/>
              <a:ext cx="532" cy="619"/>
            </a:xfrm>
            <a:custGeom>
              <a:avLst/>
              <a:gdLst>
                <a:gd name="T0" fmla="*/ 256 w 256"/>
                <a:gd name="T1" fmla="*/ 83 h 298"/>
                <a:gd name="T2" fmla="*/ 173 w 256"/>
                <a:gd name="T3" fmla="*/ 0 h 298"/>
                <a:gd name="T4" fmla="*/ 170 w 256"/>
                <a:gd name="T5" fmla="*/ 0 h 298"/>
                <a:gd name="T6" fmla="*/ 103 w 256"/>
                <a:gd name="T7" fmla="*/ 33 h 298"/>
                <a:gd name="T8" fmla="*/ 17 w 256"/>
                <a:gd name="T9" fmla="*/ 148 h 298"/>
                <a:gd name="T10" fmla="*/ 0 w 256"/>
                <a:gd name="T11" fmla="*/ 198 h 298"/>
                <a:gd name="T12" fmla="*/ 0 w 256"/>
                <a:gd name="T13" fmla="*/ 215 h 298"/>
                <a:gd name="T14" fmla="*/ 84 w 256"/>
                <a:gd name="T15" fmla="*/ 298 h 298"/>
                <a:gd name="T16" fmla="*/ 87 w 256"/>
                <a:gd name="T17" fmla="*/ 298 h 298"/>
                <a:gd name="T18" fmla="*/ 153 w 256"/>
                <a:gd name="T19" fmla="*/ 265 h 298"/>
                <a:gd name="T20" fmla="*/ 240 w 256"/>
                <a:gd name="T21" fmla="*/ 150 h 298"/>
                <a:gd name="T22" fmla="*/ 256 w 256"/>
                <a:gd name="T23" fmla="*/ 100 h 298"/>
                <a:gd name="T24" fmla="*/ 256 w 256"/>
                <a:gd name="T25" fmla="*/ 8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98">
                  <a:moveTo>
                    <a:pt x="256" y="83"/>
                  </a:moveTo>
                  <a:cubicBezTo>
                    <a:pt x="256" y="37"/>
                    <a:pt x="219" y="0"/>
                    <a:pt x="173" y="0"/>
                  </a:cubicBezTo>
                  <a:cubicBezTo>
                    <a:pt x="170" y="0"/>
                    <a:pt x="170" y="0"/>
                    <a:pt x="170" y="0"/>
                  </a:cubicBezTo>
                  <a:cubicBezTo>
                    <a:pt x="144" y="0"/>
                    <a:pt x="119" y="12"/>
                    <a:pt x="103" y="33"/>
                  </a:cubicBezTo>
                  <a:cubicBezTo>
                    <a:pt x="17" y="148"/>
                    <a:pt x="17" y="148"/>
                    <a:pt x="17" y="148"/>
                  </a:cubicBezTo>
                  <a:cubicBezTo>
                    <a:pt x="6" y="163"/>
                    <a:pt x="0" y="180"/>
                    <a:pt x="0" y="198"/>
                  </a:cubicBezTo>
                  <a:cubicBezTo>
                    <a:pt x="0" y="215"/>
                    <a:pt x="0" y="215"/>
                    <a:pt x="0" y="215"/>
                  </a:cubicBezTo>
                  <a:cubicBezTo>
                    <a:pt x="0" y="261"/>
                    <a:pt x="38" y="298"/>
                    <a:pt x="84" y="298"/>
                  </a:cubicBezTo>
                  <a:cubicBezTo>
                    <a:pt x="87" y="298"/>
                    <a:pt x="87" y="298"/>
                    <a:pt x="87" y="298"/>
                  </a:cubicBezTo>
                  <a:cubicBezTo>
                    <a:pt x="113" y="298"/>
                    <a:pt x="138" y="286"/>
                    <a:pt x="153" y="265"/>
                  </a:cubicBezTo>
                  <a:cubicBezTo>
                    <a:pt x="240" y="150"/>
                    <a:pt x="240" y="150"/>
                    <a:pt x="240" y="150"/>
                  </a:cubicBezTo>
                  <a:cubicBezTo>
                    <a:pt x="250" y="135"/>
                    <a:pt x="256" y="118"/>
                    <a:pt x="256" y="100"/>
                  </a:cubicBezTo>
                  <a:cubicBezTo>
                    <a:pt x="256" y="83"/>
                    <a:pt x="256" y="83"/>
                    <a:pt x="25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36">
              <a:extLst>
                <a:ext uri="{FF2B5EF4-FFF2-40B4-BE49-F238E27FC236}">
                  <a16:creationId xmlns:a16="http://schemas.microsoft.com/office/drawing/2014/main" id="{E5EED925-1798-44D1-A6C0-504EF972CDE5}"/>
                </a:ext>
              </a:extLst>
            </p:cNvPr>
            <p:cNvSpPr>
              <a:spLocks/>
            </p:cNvSpPr>
            <p:nvPr/>
          </p:nvSpPr>
          <p:spPr bwMode="auto">
            <a:xfrm>
              <a:off x="3743" y="3386"/>
              <a:ext cx="308" cy="326"/>
            </a:xfrm>
            <a:custGeom>
              <a:avLst/>
              <a:gdLst>
                <a:gd name="T0" fmla="*/ 61 w 148"/>
                <a:gd name="T1" fmla="*/ 0 h 157"/>
                <a:gd name="T2" fmla="*/ 55 w 148"/>
                <a:gd name="T3" fmla="*/ 12 h 157"/>
                <a:gd name="T4" fmla="*/ 0 w 148"/>
                <a:gd name="T5" fmla="*/ 85 h 157"/>
                <a:gd name="T6" fmla="*/ 57 w 148"/>
                <a:gd name="T7" fmla="*/ 139 h 157"/>
                <a:gd name="T8" fmla="*/ 119 w 148"/>
                <a:gd name="T9" fmla="*/ 140 h 157"/>
                <a:gd name="T10" fmla="*/ 139 w 148"/>
                <a:gd name="T11" fmla="*/ 65 h 157"/>
                <a:gd name="T12" fmla="*/ 61 w 148"/>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48" h="157">
                  <a:moveTo>
                    <a:pt x="61" y="0"/>
                  </a:moveTo>
                  <a:cubicBezTo>
                    <a:pt x="59" y="4"/>
                    <a:pt x="58" y="8"/>
                    <a:pt x="55" y="12"/>
                  </a:cubicBezTo>
                  <a:cubicBezTo>
                    <a:pt x="0" y="85"/>
                    <a:pt x="0" y="85"/>
                    <a:pt x="0" y="85"/>
                  </a:cubicBezTo>
                  <a:cubicBezTo>
                    <a:pt x="57" y="139"/>
                    <a:pt x="57" y="139"/>
                    <a:pt x="57" y="139"/>
                  </a:cubicBezTo>
                  <a:cubicBezTo>
                    <a:pt x="76" y="157"/>
                    <a:pt x="103" y="156"/>
                    <a:pt x="119" y="140"/>
                  </a:cubicBezTo>
                  <a:cubicBezTo>
                    <a:pt x="140" y="118"/>
                    <a:pt x="148" y="78"/>
                    <a:pt x="139" y="65"/>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37">
              <a:extLst>
                <a:ext uri="{FF2B5EF4-FFF2-40B4-BE49-F238E27FC236}">
                  <a16:creationId xmlns:a16="http://schemas.microsoft.com/office/drawing/2014/main" id="{85559F40-C1C8-4ABB-85A7-66B7A45F8A91}"/>
                </a:ext>
              </a:extLst>
            </p:cNvPr>
            <p:cNvSpPr>
              <a:spLocks/>
            </p:cNvSpPr>
            <p:nvPr/>
          </p:nvSpPr>
          <p:spPr bwMode="auto">
            <a:xfrm>
              <a:off x="1711" y="614"/>
              <a:ext cx="3724" cy="2912"/>
            </a:xfrm>
            <a:custGeom>
              <a:avLst/>
              <a:gdLst>
                <a:gd name="T0" fmla="*/ 1145 w 1792"/>
                <a:gd name="T1" fmla="*/ 472 h 1403"/>
                <a:gd name="T2" fmla="*/ 935 w 1792"/>
                <a:gd name="T3" fmla="*/ 632 h 1403"/>
                <a:gd name="T4" fmla="*/ 879 w 1792"/>
                <a:gd name="T5" fmla="*/ 679 h 1403"/>
                <a:gd name="T6" fmla="*/ 762 w 1792"/>
                <a:gd name="T7" fmla="*/ 720 h 1403"/>
                <a:gd name="T8" fmla="*/ 728 w 1792"/>
                <a:gd name="T9" fmla="*/ 720 h 1403"/>
                <a:gd name="T10" fmla="*/ 563 w 1792"/>
                <a:gd name="T11" fmla="*/ 618 h 1403"/>
                <a:gd name="T12" fmla="*/ 597 w 1792"/>
                <a:gd name="T13" fmla="*/ 404 h 1403"/>
                <a:gd name="T14" fmla="*/ 835 w 1792"/>
                <a:gd name="T15" fmla="*/ 169 h 1403"/>
                <a:gd name="T16" fmla="*/ 873 w 1792"/>
                <a:gd name="T17" fmla="*/ 145 h 1403"/>
                <a:gd name="T18" fmla="*/ 417 w 1792"/>
                <a:gd name="T19" fmla="*/ 143 h 1403"/>
                <a:gd name="T20" fmla="*/ 178 w 1792"/>
                <a:gd name="T21" fmla="*/ 77 h 1403"/>
                <a:gd name="T22" fmla="*/ 0 w 1792"/>
                <a:gd name="T23" fmla="*/ 0 h 1403"/>
                <a:gd name="T24" fmla="*/ 0 w 1792"/>
                <a:gd name="T25" fmla="*/ 824 h 1403"/>
                <a:gd name="T26" fmla="*/ 222 w 1792"/>
                <a:gd name="T27" fmla="*/ 916 h 1403"/>
                <a:gd name="T28" fmla="*/ 246 w 1792"/>
                <a:gd name="T29" fmla="*/ 880 h 1403"/>
                <a:gd name="T30" fmla="*/ 386 w 1792"/>
                <a:gd name="T31" fmla="*/ 805 h 1403"/>
                <a:gd name="T32" fmla="*/ 533 w 1792"/>
                <a:gd name="T33" fmla="*/ 893 h 1403"/>
                <a:gd name="T34" fmla="*/ 554 w 1792"/>
                <a:gd name="T35" fmla="*/ 891 h 1403"/>
                <a:gd name="T36" fmla="*/ 704 w 1792"/>
                <a:gd name="T37" fmla="*/ 978 h 1403"/>
                <a:gd name="T38" fmla="*/ 724 w 1792"/>
                <a:gd name="T39" fmla="*/ 976 h 1403"/>
                <a:gd name="T40" fmla="*/ 874 w 1792"/>
                <a:gd name="T41" fmla="*/ 1064 h 1403"/>
                <a:gd name="T42" fmla="*/ 895 w 1792"/>
                <a:gd name="T43" fmla="*/ 1061 h 1403"/>
                <a:gd name="T44" fmla="*/ 898 w 1792"/>
                <a:gd name="T45" fmla="*/ 1061 h 1403"/>
                <a:gd name="T46" fmla="*/ 1067 w 1792"/>
                <a:gd name="T47" fmla="*/ 1230 h 1403"/>
                <a:gd name="T48" fmla="*/ 1067 w 1792"/>
                <a:gd name="T49" fmla="*/ 1247 h 1403"/>
                <a:gd name="T50" fmla="*/ 1174 w 1792"/>
                <a:gd name="T51" fmla="*/ 1338 h 1403"/>
                <a:gd name="T52" fmla="*/ 1174 w 1792"/>
                <a:gd name="T53" fmla="*/ 1338 h 1403"/>
                <a:gd name="T54" fmla="*/ 1215 w 1792"/>
                <a:gd name="T55" fmla="*/ 1373 h 1403"/>
                <a:gd name="T56" fmla="*/ 1301 w 1792"/>
                <a:gd name="T57" fmla="*/ 1403 h 1403"/>
                <a:gd name="T58" fmla="*/ 1365 w 1792"/>
                <a:gd name="T59" fmla="*/ 1339 h 1403"/>
                <a:gd name="T60" fmla="*/ 1342 w 1792"/>
                <a:gd name="T61" fmla="*/ 1290 h 1403"/>
                <a:gd name="T62" fmla="*/ 954 w 1792"/>
                <a:gd name="T63" fmla="*/ 966 h 1403"/>
                <a:gd name="T64" fmla="*/ 948 w 1792"/>
                <a:gd name="T65" fmla="*/ 906 h 1403"/>
                <a:gd name="T66" fmla="*/ 1009 w 1792"/>
                <a:gd name="T67" fmla="*/ 901 h 1403"/>
                <a:gd name="T68" fmla="*/ 1488 w 1792"/>
                <a:gd name="T69" fmla="*/ 1300 h 1403"/>
                <a:gd name="T70" fmla="*/ 1535 w 1792"/>
                <a:gd name="T71" fmla="*/ 1317 h 1403"/>
                <a:gd name="T72" fmla="*/ 1548 w 1792"/>
                <a:gd name="T73" fmla="*/ 1317 h 1403"/>
                <a:gd name="T74" fmla="*/ 1621 w 1792"/>
                <a:gd name="T75" fmla="*/ 1244 h 1403"/>
                <a:gd name="T76" fmla="*/ 1596 w 1792"/>
                <a:gd name="T77" fmla="*/ 1189 h 1403"/>
                <a:gd name="T78" fmla="*/ 1125 w 1792"/>
                <a:gd name="T79" fmla="*/ 796 h 1403"/>
                <a:gd name="T80" fmla="*/ 1119 w 1792"/>
                <a:gd name="T81" fmla="*/ 735 h 1403"/>
                <a:gd name="T82" fmla="*/ 1179 w 1792"/>
                <a:gd name="T83" fmla="*/ 730 h 1403"/>
                <a:gd name="T84" fmla="*/ 1650 w 1792"/>
                <a:gd name="T85" fmla="*/ 1122 h 1403"/>
                <a:gd name="T86" fmla="*/ 1652 w 1792"/>
                <a:gd name="T87" fmla="*/ 1124 h 1403"/>
                <a:gd name="T88" fmla="*/ 1659 w 1792"/>
                <a:gd name="T89" fmla="*/ 1129 h 1403"/>
                <a:gd name="T90" fmla="*/ 1706 w 1792"/>
                <a:gd name="T91" fmla="*/ 1147 h 1403"/>
                <a:gd name="T92" fmla="*/ 1718 w 1792"/>
                <a:gd name="T93" fmla="*/ 1147 h 1403"/>
                <a:gd name="T94" fmla="*/ 1792 w 1792"/>
                <a:gd name="T95" fmla="*/ 1072 h 1403"/>
                <a:gd name="T96" fmla="*/ 1766 w 1792"/>
                <a:gd name="T97" fmla="*/ 1016 h 1403"/>
                <a:gd name="T98" fmla="*/ 1145 w 1792"/>
                <a:gd name="T99" fmla="*/ 47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92" h="1403">
                  <a:moveTo>
                    <a:pt x="1145" y="472"/>
                  </a:moveTo>
                  <a:cubicBezTo>
                    <a:pt x="1090" y="502"/>
                    <a:pt x="1002" y="576"/>
                    <a:pt x="935" y="632"/>
                  </a:cubicBezTo>
                  <a:cubicBezTo>
                    <a:pt x="915" y="649"/>
                    <a:pt x="896" y="665"/>
                    <a:pt x="879" y="679"/>
                  </a:cubicBezTo>
                  <a:cubicBezTo>
                    <a:pt x="846" y="706"/>
                    <a:pt x="805" y="720"/>
                    <a:pt x="762" y="720"/>
                  </a:cubicBezTo>
                  <a:cubicBezTo>
                    <a:pt x="728" y="720"/>
                    <a:pt x="728" y="720"/>
                    <a:pt x="728" y="720"/>
                  </a:cubicBezTo>
                  <a:cubicBezTo>
                    <a:pt x="657" y="720"/>
                    <a:pt x="594" y="681"/>
                    <a:pt x="563" y="618"/>
                  </a:cubicBezTo>
                  <a:cubicBezTo>
                    <a:pt x="527" y="546"/>
                    <a:pt x="541" y="460"/>
                    <a:pt x="597" y="404"/>
                  </a:cubicBezTo>
                  <a:cubicBezTo>
                    <a:pt x="835" y="169"/>
                    <a:pt x="835" y="169"/>
                    <a:pt x="835" y="169"/>
                  </a:cubicBezTo>
                  <a:cubicBezTo>
                    <a:pt x="848" y="161"/>
                    <a:pt x="860" y="153"/>
                    <a:pt x="873" y="145"/>
                  </a:cubicBezTo>
                  <a:cubicBezTo>
                    <a:pt x="739" y="118"/>
                    <a:pt x="587" y="116"/>
                    <a:pt x="417" y="143"/>
                  </a:cubicBezTo>
                  <a:cubicBezTo>
                    <a:pt x="331" y="157"/>
                    <a:pt x="244" y="132"/>
                    <a:pt x="178" y="77"/>
                  </a:cubicBezTo>
                  <a:cubicBezTo>
                    <a:pt x="0" y="0"/>
                    <a:pt x="0" y="0"/>
                    <a:pt x="0" y="0"/>
                  </a:cubicBezTo>
                  <a:cubicBezTo>
                    <a:pt x="0" y="824"/>
                    <a:pt x="0" y="824"/>
                    <a:pt x="0" y="824"/>
                  </a:cubicBezTo>
                  <a:cubicBezTo>
                    <a:pt x="222" y="916"/>
                    <a:pt x="222" y="916"/>
                    <a:pt x="222" y="916"/>
                  </a:cubicBezTo>
                  <a:cubicBezTo>
                    <a:pt x="246" y="880"/>
                    <a:pt x="246" y="880"/>
                    <a:pt x="246" y="880"/>
                  </a:cubicBezTo>
                  <a:cubicBezTo>
                    <a:pt x="277" y="833"/>
                    <a:pt x="329" y="805"/>
                    <a:pt x="386" y="805"/>
                  </a:cubicBezTo>
                  <a:cubicBezTo>
                    <a:pt x="450" y="805"/>
                    <a:pt x="504" y="841"/>
                    <a:pt x="533" y="893"/>
                  </a:cubicBezTo>
                  <a:cubicBezTo>
                    <a:pt x="540" y="892"/>
                    <a:pt x="547" y="891"/>
                    <a:pt x="554" y="891"/>
                  </a:cubicBezTo>
                  <a:cubicBezTo>
                    <a:pt x="619" y="891"/>
                    <a:pt x="675" y="926"/>
                    <a:pt x="704" y="978"/>
                  </a:cubicBezTo>
                  <a:cubicBezTo>
                    <a:pt x="711" y="978"/>
                    <a:pt x="717" y="976"/>
                    <a:pt x="724" y="976"/>
                  </a:cubicBezTo>
                  <a:cubicBezTo>
                    <a:pt x="790" y="976"/>
                    <a:pt x="845" y="1012"/>
                    <a:pt x="874" y="1064"/>
                  </a:cubicBezTo>
                  <a:cubicBezTo>
                    <a:pt x="881" y="1063"/>
                    <a:pt x="888" y="1061"/>
                    <a:pt x="895" y="1061"/>
                  </a:cubicBezTo>
                  <a:cubicBezTo>
                    <a:pt x="898" y="1061"/>
                    <a:pt x="898" y="1061"/>
                    <a:pt x="898" y="1061"/>
                  </a:cubicBezTo>
                  <a:cubicBezTo>
                    <a:pt x="991" y="1061"/>
                    <a:pt x="1067" y="1137"/>
                    <a:pt x="1067" y="1230"/>
                  </a:cubicBezTo>
                  <a:cubicBezTo>
                    <a:pt x="1067" y="1247"/>
                    <a:pt x="1067" y="1247"/>
                    <a:pt x="1067" y="1247"/>
                  </a:cubicBezTo>
                  <a:cubicBezTo>
                    <a:pt x="1174" y="1338"/>
                    <a:pt x="1174" y="1338"/>
                    <a:pt x="1174" y="1338"/>
                  </a:cubicBezTo>
                  <a:cubicBezTo>
                    <a:pt x="1174" y="1338"/>
                    <a:pt x="1174" y="1338"/>
                    <a:pt x="1174" y="1338"/>
                  </a:cubicBezTo>
                  <a:cubicBezTo>
                    <a:pt x="1215" y="1373"/>
                    <a:pt x="1215" y="1373"/>
                    <a:pt x="1215" y="1373"/>
                  </a:cubicBezTo>
                  <a:cubicBezTo>
                    <a:pt x="1239" y="1392"/>
                    <a:pt x="1270" y="1403"/>
                    <a:pt x="1301" y="1403"/>
                  </a:cubicBezTo>
                  <a:cubicBezTo>
                    <a:pt x="1337" y="1403"/>
                    <a:pt x="1365" y="1374"/>
                    <a:pt x="1365" y="1339"/>
                  </a:cubicBezTo>
                  <a:cubicBezTo>
                    <a:pt x="1365" y="1320"/>
                    <a:pt x="1357" y="1302"/>
                    <a:pt x="1342" y="1290"/>
                  </a:cubicBezTo>
                  <a:cubicBezTo>
                    <a:pt x="954" y="966"/>
                    <a:pt x="954" y="966"/>
                    <a:pt x="954" y="966"/>
                  </a:cubicBezTo>
                  <a:cubicBezTo>
                    <a:pt x="936" y="951"/>
                    <a:pt x="933" y="924"/>
                    <a:pt x="948" y="906"/>
                  </a:cubicBezTo>
                  <a:cubicBezTo>
                    <a:pt x="964" y="888"/>
                    <a:pt x="990" y="885"/>
                    <a:pt x="1009" y="901"/>
                  </a:cubicBezTo>
                  <a:cubicBezTo>
                    <a:pt x="1488" y="1300"/>
                    <a:pt x="1488" y="1300"/>
                    <a:pt x="1488" y="1300"/>
                  </a:cubicBezTo>
                  <a:cubicBezTo>
                    <a:pt x="1502" y="1311"/>
                    <a:pt x="1518" y="1317"/>
                    <a:pt x="1535" y="1317"/>
                  </a:cubicBezTo>
                  <a:cubicBezTo>
                    <a:pt x="1548" y="1317"/>
                    <a:pt x="1548" y="1317"/>
                    <a:pt x="1548" y="1317"/>
                  </a:cubicBezTo>
                  <a:cubicBezTo>
                    <a:pt x="1588" y="1317"/>
                    <a:pt x="1621" y="1284"/>
                    <a:pt x="1621" y="1244"/>
                  </a:cubicBezTo>
                  <a:cubicBezTo>
                    <a:pt x="1621" y="1223"/>
                    <a:pt x="1612" y="1203"/>
                    <a:pt x="1596" y="1189"/>
                  </a:cubicBezTo>
                  <a:cubicBezTo>
                    <a:pt x="1125" y="796"/>
                    <a:pt x="1125" y="796"/>
                    <a:pt x="1125" y="796"/>
                  </a:cubicBezTo>
                  <a:cubicBezTo>
                    <a:pt x="1107" y="780"/>
                    <a:pt x="1104" y="754"/>
                    <a:pt x="1119" y="735"/>
                  </a:cubicBezTo>
                  <a:cubicBezTo>
                    <a:pt x="1134" y="717"/>
                    <a:pt x="1161" y="715"/>
                    <a:pt x="1179" y="730"/>
                  </a:cubicBezTo>
                  <a:cubicBezTo>
                    <a:pt x="1650" y="1122"/>
                    <a:pt x="1650" y="1122"/>
                    <a:pt x="1650" y="1122"/>
                  </a:cubicBezTo>
                  <a:cubicBezTo>
                    <a:pt x="1650" y="1122"/>
                    <a:pt x="1651" y="1123"/>
                    <a:pt x="1652" y="1124"/>
                  </a:cubicBezTo>
                  <a:cubicBezTo>
                    <a:pt x="1659" y="1129"/>
                    <a:pt x="1659" y="1129"/>
                    <a:pt x="1659" y="1129"/>
                  </a:cubicBezTo>
                  <a:cubicBezTo>
                    <a:pt x="1672" y="1141"/>
                    <a:pt x="1689" y="1147"/>
                    <a:pt x="1706" y="1147"/>
                  </a:cubicBezTo>
                  <a:cubicBezTo>
                    <a:pt x="1718" y="1147"/>
                    <a:pt x="1718" y="1147"/>
                    <a:pt x="1718" y="1147"/>
                  </a:cubicBezTo>
                  <a:cubicBezTo>
                    <a:pt x="1759" y="1147"/>
                    <a:pt x="1792" y="1113"/>
                    <a:pt x="1792" y="1072"/>
                  </a:cubicBezTo>
                  <a:cubicBezTo>
                    <a:pt x="1792" y="1050"/>
                    <a:pt x="1783" y="1030"/>
                    <a:pt x="1766" y="1016"/>
                  </a:cubicBezTo>
                  <a:lnTo>
                    <a:pt x="1145"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0">
            <a:extLst>
              <a:ext uri="{FF2B5EF4-FFF2-40B4-BE49-F238E27FC236}">
                <a16:creationId xmlns:a16="http://schemas.microsoft.com/office/drawing/2014/main" id="{3D1647E7-BED5-4E63-A4D4-1B551DC01F68}"/>
              </a:ext>
            </a:extLst>
          </p:cNvPr>
          <p:cNvGrpSpPr>
            <a:grpSpLocks noChangeAspect="1"/>
          </p:cNvGrpSpPr>
          <p:nvPr/>
        </p:nvGrpSpPr>
        <p:grpSpPr bwMode="auto">
          <a:xfrm>
            <a:off x="6971958" y="4764044"/>
            <a:ext cx="633528" cy="635532"/>
            <a:chOff x="4545" y="3061"/>
            <a:chExt cx="316" cy="317"/>
          </a:xfrm>
          <a:solidFill>
            <a:schemeClr val="bg1"/>
          </a:solidFill>
        </p:grpSpPr>
        <p:sp>
          <p:nvSpPr>
            <p:cNvPr id="45" name="Freeform 41">
              <a:extLst>
                <a:ext uri="{FF2B5EF4-FFF2-40B4-BE49-F238E27FC236}">
                  <a16:creationId xmlns:a16="http://schemas.microsoft.com/office/drawing/2014/main" id="{927A68EB-BAD3-4778-B31D-1411A122695F}"/>
                </a:ext>
              </a:extLst>
            </p:cNvPr>
            <p:cNvSpPr>
              <a:spLocks noEditPoints="1"/>
            </p:cNvSpPr>
            <p:nvPr/>
          </p:nvSpPr>
          <p:spPr bwMode="auto">
            <a:xfrm>
              <a:off x="4812" y="3116"/>
              <a:ext cx="11" cy="17"/>
            </a:xfrm>
            <a:custGeom>
              <a:avLst/>
              <a:gdLst>
                <a:gd name="T0" fmla="*/ 5 w 5"/>
                <a:gd name="T1" fmla="*/ 4 h 8"/>
                <a:gd name="T2" fmla="*/ 0 w 5"/>
                <a:gd name="T3" fmla="*/ 0 h 8"/>
                <a:gd name="T4" fmla="*/ 0 w 5"/>
                <a:gd name="T5" fmla="*/ 8 h 8"/>
                <a:gd name="T6" fmla="*/ 5 w 5"/>
                <a:gd name="T7" fmla="*/ 4 h 8"/>
                <a:gd name="T8" fmla="*/ 5 w 5"/>
                <a:gd name="T9" fmla="*/ 4 h 8"/>
                <a:gd name="T10" fmla="*/ 5 w 5"/>
                <a:gd name="T11" fmla="*/ 4 h 8"/>
              </a:gdLst>
              <a:ahLst/>
              <a:cxnLst>
                <a:cxn ang="0">
                  <a:pos x="T0" y="T1"/>
                </a:cxn>
                <a:cxn ang="0">
                  <a:pos x="T2" y="T3"/>
                </a:cxn>
                <a:cxn ang="0">
                  <a:pos x="T4" y="T5"/>
                </a:cxn>
                <a:cxn ang="0">
                  <a:pos x="T6" y="T7"/>
                </a:cxn>
                <a:cxn ang="0">
                  <a:pos x="T8" y="T9"/>
                </a:cxn>
                <a:cxn ang="0">
                  <a:pos x="T10" y="T11"/>
                </a:cxn>
              </a:cxnLst>
              <a:rect l="0" t="0" r="r" b="b"/>
              <a:pathLst>
                <a:path w="5" h="8">
                  <a:moveTo>
                    <a:pt x="5" y="4"/>
                  </a:moveTo>
                  <a:cubicBezTo>
                    <a:pt x="5" y="1"/>
                    <a:pt x="2" y="1"/>
                    <a:pt x="0" y="0"/>
                  </a:cubicBezTo>
                  <a:cubicBezTo>
                    <a:pt x="0" y="8"/>
                    <a:pt x="0" y="8"/>
                    <a:pt x="0" y="8"/>
                  </a:cubicBezTo>
                  <a:cubicBezTo>
                    <a:pt x="2" y="8"/>
                    <a:pt x="5" y="7"/>
                    <a:pt x="5" y="4"/>
                  </a:cubicBezTo>
                  <a:close/>
                  <a:moveTo>
                    <a:pt x="5" y="4"/>
                  </a:moveTo>
                  <a:cubicBezTo>
                    <a:pt x="5" y="4"/>
                    <a:pt x="5" y="4"/>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2">
              <a:extLst>
                <a:ext uri="{FF2B5EF4-FFF2-40B4-BE49-F238E27FC236}">
                  <a16:creationId xmlns:a16="http://schemas.microsoft.com/office/drawing/2014/main" id="{11BF9049-6A19-4DDB-99F2-417E6BC09BE9}"/>
                </a:ext>
              </a:extLst>
            </p:cNvPr>
            <p:cNvSpPr>
              <a:spLocks noEditPoints="1"/>
            </p:cNvSpPr>
            <p:nvPr/>
          </p:nvSpPr>
          <p:spPr bwMode="auto">
            <a:xfrm>
              <a:off x="4797" y="3088"/>
              <a:ext cx="11" cy="15"/>
            </a:xfrm>
            <a:custGeom>
              <a:avLst/>
              <a:gdLst>
                <a:gd name="T0" fmla="*/ 5 w 5"/>
                <a:gd name="T1" fmla="*/ 0 h 7"/>
                <a:gd name="T2" fmla="*/ 0 w 5"/>
                <a:gd name="T3" fmla="*/ 4 h 7"/>
                <a:gd name="T4" fmla="*/ 5 w 5"/>
                <a:gd name="T5" fmla="*/ 7 h 7"/>
                <a:gd name="T6" fmla="*/ 5 w 5"/>
                <a:gd name="T7" fmla="*/ 0 h 7"/>
                <a:gd name="T8" fmla="*/ 5 w 5"/>
                <a:gd name="T9" fmla="*/ 0 h 7"/>
                <a:gd name="T10" fmla="*/ 5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5" y="0"/>
                  </a:moveTo>
                  <a:cubicBezTo>
                    <a:pt x="2" y="0"/>
                    <a:pt x="0" y="2"/>
                    <a:pt x="0" y="4"/>
                  </a:cubicBezTo>
                  <a:cubicBezTo>
                    <a:pt x="0" y="6"/>
                    <a:pt x="2" y="7"/>
                    <a:pt x="5" y="7"/>
                  </a:cubicBezTo>
                  <a:lnTo>
                    <a:pt x="5" y="0"/>
                  </a:ln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3">
              <a:extLst>
                <a:ext uri="{FF2B5EF4-FFF2-40B4-BE49-F238E27FC236}">
                  <a16:creationId xmlns:a16="http://schemas.microsoft.com/office/drawing/2014/main" id="{9067E710-6296-4E7F-9D2C-8EADBB02E3F5}"/>
                </a:ext>
              </a:extLst>
            </p:cNvPr>
            <p:cNvSpPr>
              <a:spLocks noEditPoints="1"/>
            </p:cNvSpPr>
            <p:nvPr/>
          </p:nvSpPr>
          <p:spPr bwMode="auto">
            <a:xfrm>
              <a:off x="4759" y="3061"/>
              <a:ext cx="102" cy="101"/>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13 w 48"/>
                <a:gd name="T11" fmla="*/ 18 h 48"/>
                <a:gd name="T12" fmla="*/ 23 w 48"/>
                <a:gd name="T13" fmla="*/ 9 h 48"/>
                <a:gd name="T14" fmla="*/ 23 w 48"/>
                <a:gd name="T15" fmla="*/ 7 h 48"/>
                <a:gd name="T16" fmla="*/ 24 w 48"/>
                <a:gd name="T17" fmla="*/ 6 h 48"/>
                <a:gd name="T18" fmla="*/ 25 w 48"/>
                <a:gd name="T19" fmla="*/ 7 h 48"/>
                <a:gd name="T20" fmla="*/ 25 w 48"/>
                <a:gd name="T21" fmla="*/ 9 h 48"/>
                <a:gd name="T22" fmla="*/ 34 w 48"/>
                <a:gd name="T23" fmla="*/ 15 h 48"/>
                <a:gd name="T24" fmla="*/ 32 w 48"/>
                <a:gd name="T25" fmla="*/ 18 h 48"/>
                <a:gd name="T26" fmla="*/ 25 w 48"/>
                <a:gd name="T27" fmla="*/ 13 h 48"/>
                <a:gd name="T28" fmla="*/ 25 w 48"/>
                <a:gd name="T29" fmla="*/ 21 h 48"/>
                <a:gd name="T30" fmla="*/ 35 w 48"/>
                <a:gd name="T31" fmla="*/ 30 h 48"/>
                <a:gd name="T32" fmla="*/ 25 w 48"/>
                <a:gd name="T33" fmla="*/ 38 h 48"/>
                <a:gd name="T34" fmla="*/ 25 w 48"/>
                <a:gd name="T35" fmla="*/ 40 h 48"/>
                <a:gd name="T36" fmla="*/ 24 w 48"/>
                <a:gd name="T37" fmla="*/ 42 h 48"/>
                <a:gd name="T38" fmla="*/ 23 w 48"/>
                <a:gd name="T39" fmla="*/ 40 h 48"/>
                <a:gd name="T40" fmla="*/ 23 w 48"/>
                <a:gd name="T41" fmla="*/ 38 h 48"/>
                <a:gd name="T42" fmla="*/ 13 w 48"/>
                <a:gd name="T43" fmla="*/ 31 h 48"/>
                <a:gd name="T44" fmla="*/ 15 w 48"/>
                <a:gd name="T45" fmla="*/ 28 h 48"/>
                <a:gd name="T46" fmla="*/ 23 w 48"/>
                <a:gd name="T47" fmla="*/ 34 h 48"/>
                <a:gd name="T48" fmla="*/ 23 w 48"/>
                <a:gd name="T49" fmla="*/ 26 h 48"/>
                <a:gd name="T50" fmla="*/ 13 w 48"/>
                <a:gd name="T51" fmla="*/ 18 h 48"/>
                <a:gd name="T52" fmla="*/ 13 w 48"/>
                <a:gd name="T53" fmla="*/ 18 h 48"/>
                <a:gd name="T54" fmla="*/ 13 w 48"/>
                <a:gd name="T55"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48">
                  <a:moveTo>
                    <a:pt x="24" y="48"/>
                  </a:moveTo>
                  <a:cubicBezTo>
                    <a:pt x="37" y="48"/>
                    <a:pt x="48" y="37"/>
                    <a:pt x="48" y="24"/>
                  </a:cubicBezTo>
                  <a:cubicBezTo>
                    <a:pt x="48" y="11"/>
                    <a:pt x="37" y="0"/>
                    <a:pt x="24" y="0"/>
                  </a:cubicBezTo>
                  <a:cubicBezTo>
                    <a:pt x="11" y="0"/>
                    <a:pt x="0" y="11"/>
                    <a:pt x="0" y="24"/>
                  </a:cubicBezTo>
                  <a:cubicBezTo>
                    <a:pt x="0" y="37"/>
                    <a:pt x="11" y="48"/>
                    <a:pt x="24" y="48"/>
                  </a:cubicBezTo>
                  <a:close/>
                  <a:moveTo>
                    <a:pt x="13" y="18"/>
                  </a:moveTo>
                  <a:cubicBezTo>
                    <a:pt x="13" y="12"/>
                    <a:pt x="18" y="10"/>
                    <a:pt x="23" y="9"/>
                  </a:cubicBezTo>
                  <a:cubicBezTo>
                    <a:pt x="23" y="7"/>
                    <a:pt x="23" y="7"/>
                    <a:pt x="23" y="7"/>
                  </a:cubicBezTo>
                  <a:cubicBezTo>
                    <a:pt x="23" y="7"/>
                    <a:pt x="23" y="6"/>
                    <a:pt x="24" y="6"/>
                  </a:cubicBezTo>
                  <a:cubicBezTo>
                    <a:pt x="25" y="6"/>
                    <a:pt x="25" y="7"/>
                    <a:pt x="25" y="7"/>
                  </a:cubicBezTo>
                  <a:cubicBezTo>
                    <a:pt x="25" y="9"/>
                    <a:pt x="25" y="9"/>
                    <a:pt x="25" y="9"/>
                  </a:cubicBezTo>
                  <a:cubicBezTo>
                    <a:pt x="28" y="9"/>
                    <a:pt x="34" y="11"/>
                    <a:pt x="34" y="15"/>
                  </a:cubicBezTo>
                  <a:cubicBezTo>
                    <a:pt x="34" y="17"/>
                    <a:pt x="33" y="18"/>
                    <a:pt x="32" y="18"/>
                  </a:cubicBezTo>
                  <a:cubicBezTo>
                    <a:pt x="29" y="18"/>
                    <a:pt x="29" y="13"/>
                    <a:pt x="25" y="13"/>
                  </a:cubicBezTo>
                  <a:cubicBezTo>
                    <a:pt x="25" y="21"/>
                    <a:pt x="25" y="21"/>
                    <a:pt x="25" y="21"/>
                  </a:cubicBezTo>
                  <a:cubicBezTo>
                    <a:pt x="30" y="22"/>
                    <a:pt x="35" y="23"/>
                    <a:pt x="35" y="30"/>
                  </a:cubicBezTo>
                  <a:cubicBezTo>
                    <a:pt x="35" y="35"/>
                    <a:pt x="31" y="37"/>
                    <a:pt x="25" y="38"/>
                  </a:cubicBezTo>
                  <a:cubicBezTo>
                    <a:pt x="25" y="40"/>
                    <a:pt x="25" y="40"/>
                    <a:pt x="25" y="40"/>
                  </a:cubicBezTo>
                  <a:cubicBezTo>
                    <a:pt x="25" y="41"/>
                    <a:pt x="25" y="42"/>
                    <a:pt x="24" y="42"/>
                  </a:cubicBezTo>
                  <a:cubicBezTo>
                    <a:pt x="23" y="42"/>
                    <a:pt x="23" y="41"/>
                    <a:pt x="23" y="40"/>
                  </a:cubicBezTo>
                  <a:cubicBezTo>
                    <a:pt x="23" y="38"/>
                    <a:pt x="23" y="38"/>
                    <a:pt x="23" y="38"/>
                  </a:cubicBezTo>
                  <a:cubicBezTo>
                    <a:pt x="16" y="38"/>
                    <a:pt x="13" y="34"/>
                    <a:pt x="13" y="31"/>
                  </a:cubicBezTo>
                  <a:cubicBezTo>
                    <a:pt x="13" y="29"/>
                    <a:pt x="14" y="28"/>
                    <a:pt x="15" y="28"/>
                  </a:cubicBezTo>
                  <a:cubicBezTo>
                    <a:pt x="20" y="28"/>
                    <a:pt x="16" y="34"/>
                    <a:pt x="23" y="34"/>
                  </a:cubicBezTo>
                  <a:cubicBezTo>
                    <a:pt x="23" y="26"/>
                    <a:pt x="23" y="26"/>
                    <a:pt x="23" y="26"/>
                  </a:cubicBezTo>
                  <a:cubicBezTo>
                    <a:pt x="17" y="25"/>
                    <a:pt x="13" y="22"/>
                    <a:pt x="13" y="18"/>
                  </a:cubicBezTo>
                  <a:close/>
                  <a:moveTo>
                    <a:pt x="13" y="18"/>
                  </a:moveTo>
                  <a:cubicBezTo>
                    <a:pt x="13" y="18"/>
                    <a:pt x="13" y="18"/>
                    <a:pt x="13"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B122300-A7F6-416E-974F-2418986DF9B6}"/>
                </a:ext>
              </a:extLst>
            </p:cNvPr>
            <p:cNvSpPr>
              <a:spLocks noEditPoints="1"/>
            </p:cNvSpPr>
            <p:nvPr/>
          </p:nvSpPr>
          <p:spPr bwMode="auto">
            <a:xfrm>
              <a:off x="4549" y="3285"/>
              <a:ext cx="72" cy="93"/>
            </a:xfrm>
            <a:custGeom>
              <a:avLst/>
              <a:gdLst>
                <a:gd name="T0" fmla="*/ 27 w 34"/>
                <a:gd name="T1" fmla="*/ 0 h 44"/>
                <a:gd name="T2" fmla="*/ 7 w 34"/>
                <a:gd name="T3" fmla="*/ 0 h 44"/>
                <a:gd name="T4" fmla="*/ 0 w 34"/>
                <a:gd name="T5" fmla="*/ 7 h 44"/>
                <a:gd name="T6" fmla="*/ 0 w 34"/>
                <a:gd name="T7" fmla="*/ 38 h 44"/>
                <a:gd name="T8" fmla="*/ 7 w 34"/>
                <a:gd name="T9" fmla="*/ 44 h 44"/>
                <a:gd name="T10" fmla="*/ 27 w 34"/>
                <a:gd name="T11" fmla="*/ 44 h 44"/>
                <a:gd name="T12" fmla="*/ 34 w 34"/>
                <a:gd name="T13" fmla="*/ 38 h 44"/>
                <a:gd name="T14" fmla="*/ 34 w 34"/>
                <a:gd name="T15" fmla="*/ 7 h 44"/>
                <a:gd name="T16" fmla="*/ 27 w 34"/>
                <a:gd name="T17" fmla="*/ 0 h 44"/>
                <a:gd name="T18" fmla="*/ 27 w 34"/>
                <a:gd name="T19" fmla="*/ 0 h 44"/>
                <a:gd name="T20" fmla="*/ 27 w 34"/>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4">
                  <a:moveTo>
                    <a:pt x="27" y="0"/>
                  </a:moveTo>
                  <a:cubicBezTo>
                    <a:pt x="7" y="0"/>
                    <a:pt x="7" y="0"/>
                    <a:pt x="7" y="0"/>
                  </a:cubicBezTo>
                  <a:cubicBezTo>
                    <a:pt x="3" y="0"/>
                    <a:pt x="0" y="3"/>
                    <a:pt x="0" y="7"/>
                  </a:cubicBezTo>
                  <a:cubicBezTo>
                    <a:pt x="0" y="38"/>
                    <a:pt x="0" y="38"/>
                    <a:pt x="0" y="38"/>
                  </a:cubicBezTo>
                  <a:cubicBezTo>
                    <a:pt x="0" y="41"/>
                    <a:pt x="3" y="44"/>
                    <a:pt x="7" y="44"/>
                  </a:cubicBezTo>
                  <a:cubicBezTo>
                    <a:pt x="27" y="44"/>
                    <a:pt x="27" y="44"/>
                    <a:pt x="27" y="44"/>
                  </a:cubicBezTo>
                  <a:cubicBezTo>
                    <a:pt x="31" y="44"/>
                    <a:pt x="34" y="41"/>
                    <a:pt x="34" y="38"/>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45">
              <a:extLst>
                <a:ext uri="{FF2B5EF4-FFF2-40B4-BE49-F238E27FC236}">
                  <a16:creationId xmlns:a16="http://schemas.microsoft.com/office/drawing/2014/main" id="{DA52C27F-E1A4-4757-90C7-89FCDE717811}"/>
                </a:ext>
              </a:extLst>
            </p:cNvPr>
            <p:cNvSpPr>
              <a:spLocks noEditPoints="1"/>
            </p:cNvSpPr>
            <p:nvPr/>
          </p:nvSpPr>
          <p:spPr bwMode="auto">
            <a:xfrm>
              <a:off x="4661" y="3234"/>
              <a:ext cx="73" cy="144"/>
            </a:xfrm>
            <a:custGeom>
              <a:avLst/>
              <a:gdLst>
                <a:gd name="T0" fmla="*/ 27 w 34"/>
                <a:gd name="T1" fmla="*/ 0 h 68"/>
                <a:gd name="T2" fmla="*/ 7 w 34"/>
                <a:gd name="T3" fmla="*/ 0 h 68"/>
                <a:gd name="T4" fmla="*/ 0 w 34"/>
                <a:gd name="T5" fmla="*/ 7 h 68"/>
                <a:gd name="T6" fmla="*/ 0 w 34"/>
                <a:gd name="T7" fmla="*/ 62 h 68"/>
                <a:gd name="T8" fmla="*/ 7 w 34"/>
                <a:gd name="T9" fmla="*/ 68 h 68"/>
                <a:gd name="T10" fmla="*/ 27 w 34"/>
                <a:gd name="T11" fmla="*/ 68 h 68"/>
                <a:gd name="T12" fmla="*/ 34 w 34"/>
                <a:gd name="T13" fmla="*/ 62 h 68"/>
                <a:gd name="T14" fmla="*/ 34 w 34"/>
                <a:gd name="T15" fmla="*/ 7 h 68"/>
                <a:gd name="T16" fmla="*/ 27 w 34"/>
                <a:gd name="T17" fmla="*/ 0 h 68"/>
                <a:gd name="T18" fmla="*/ 27 w 34"/>
                <a:gd name="T19" fmla="*/ 0 h 68"/>
                <a:gd name="T20" fmla="*/ 27 w 3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68">
                  <a:moveTo>
                    <a:pt x="27" y="0"/>
                  </a:moveTo>
                  <a:cubicBezTo>
                    <a:pt x="7" y="0"/>
                    <a:pt x="7" y="0"/>
                    <a:pt x="7" y="0"/>
                  </a:cubicBezTo>
                  <a:cubicBezTo>
                    <a:pt x="3" y="0"/>
                    <a:pt x="0" y="3"/>
                    <a:pt x="0" y="7"/>
                  </a:cubicBezTo>
                  <a:cubicBezTo>
                    <a:pt x="0" y="62"/>
                    <a:pt x="0" y="62"/>
                    <a:pt x="0" y="62"/>
                  </a:cubicBezTo>
                  <a:cubicBezTo>
                    <a:pt x="0" y="65"/>
                    <a:pt x="3" y="68"/>
                    <a:pt x="7" y="68"/>
                  </a:cubicBezTo>
                  <a:cubicBezTo>
                    <a:pt x="27" y="68"/>
                    <a:pt x="27" y="68"/>
                    <a:pt x="27" y="68"/>
                  </a:cubicBezTo>
                  <a:cubicBezTo>
                    <a:pt x="31" y="68"/>
                    <a:pt x="34" y="65"/>
                    <a:pt x="34" y="62"/>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46">
              <a:extLst>
                <a:ext uri="{FF2B5EF4-FFF2-40B4-BE49-F238E27FC236}">
                  <a16:creationId xmlns:a16="http://schemas.microsoft.com/office/drawing/2014/main" id="{81020BD4-F122-45B1-94C2-FDC7E0582BB1}"/>
                </a:ext>
              </a:extLst>
            </p:cNvPr>
            <p:cNvSpPr>
              <a:spLocks noEditPoints="1"/>
            </p:cNvSpPr>
            <p:nvPr/>
          </p:nvSpPr>
          <p:spPr bwMode="auto">
            <a:xfrm>
              <a:off x="4774" y="3177"/>
              <a:ext cx="72" cy="201"/>
            </a:xfrm>
            <a:custGeom>
              <a:avLst/>
              <a:gdLst>
                <a:gd name="T0" fmla="*/ 27 w 34"/>
                <a:gd name="T1" fmla="*/ 0 h 95"/>
                <a:gd name="T2" fmla="*/ 7 w 34"/>
                <a:gd name="T3" fmla="*/ 0 h 95"/>
                <a:gd name="T4" fmla="*/ 0 w 34"/>
                <a:gd name="T5" fmla="*/ 7 h 95"/>
                <a:gd name="T6" fmla="*/ 0 w 34"/>
                <a:gd name="T7" fmla="*/ 89 h 95"/>
                <a:gd name="T8" fmla="*/ 7 w 34"/>
                <a:gd name="T9" fmla="*/ 95 h 95"/>
                <a:gd name="T10" fmla="*/ 27 w 34"/>
                <a:gd name="T11" fmla="*/ 95 h 95"/>
                <a:gd name="T12" fmla="*/ 34 w 34"/>
                <a:gd name="T13" fmla="*/ 89 h 95"/>
                <a:gd name="T14" fmla="*/ 34 w 34"/>
                <a:gd name="T15" fmla="*/ 7 h 95"/>
                <a:gd name="T16" fmla="*/ 27 w 34"/>
                <a:gd name="T17" fmla="*/ 0 h 95"/>
                <a:gd name="T18" fmla="*/ 27 w 34"/>
                <a:gd name="T19" fmla="*/ 0 h 95"/>
                <a:gd name="T20" fmla="*/ 27 w 34"/>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95">
                  <a:moveTo>
                    <a:pt x="27" y="0"/>
                  </a:moveTo>
                  <a:cubicBezTo>
                    <a:pt x="7" y="0"/>
                    <a:pt x="7" y="0"/>
                    <a:pt x="7" y="0"/>
                  </a:cubicBezTo>
                  <a:cubicBezTo>
                    <a:pt x="3" y="0"/>
                    <a:pt x="0" y="3"/>
                    <a:pt x="0" y="7"/>
                  </a:cubicBezTo>
                  <a:cubicBezTo>
                    <a:pt x="0" y="89"/>
                    <a:pt x="0" y="89"/>
                    <a:pt x="0" y="89"/>
                  </a:cubicBezTo>
                  <a:cubicBezTo>
                    <a:pt x="0" y="92"/>
                    <a:pt x="3" y="95"/>
                    <a:pt x="7" y="95"/>
                  </a:cubicBezTo>
                  <a:cubicBezTo>
                    <a:pt x="27" y="95"/>
                    <a:pt x="27" y="95"/>
                    <a:pt x="27" y="95"/>
                  </a:cubicBezTo>
                  <a:cubicBezTo>
                    <a:pt x="31" y="95"/>
                    <a:pt x="34" y="92"/>
                    <a:pt x="34" y="89"/>
                  </a:cubicBezTo>
                  <a:cubicBezTo>
                    <a:pt x="34" y="7"/>
                    <a:pt x="34" y="7"/>
                    <a:pt x="34" y="7"/>
                  </a:cubicBezTo>
                  <a:cubicBezTo>
                    <a:pt x="34" y="3"/>
                    <a:pt x="31"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47">
              <a:extLst>
                <a:ext uri="{FF2B5EF4-FFF2-40B4-BE49-F238E27FC236}">
                  <a16:creationId xmlns:a16="http://schemas.microsoft.com/office/drawing/2014/main" id="{F0AA06A3-7488-4BB9-AC69-91121285E97A}"/>
                </a:ext>
              </a:extLst>
            </p:cNvPr>
            <p:cNvSpPr>
              <a:spLocks noEditPoints="1"/>
            </p:cNvSpPr>
            <p:nvPr/>
          </p:nvSpPr>
          <p:spPr bwMode="auto">
            <a:xfrm>
              <a:off x="4545" y="3126"/>
              <a:ext cx="206" cy="123"/>
            </a:xfrm>
            <a:custGeom>
              <a:avLst/>
              <a:gdLst>
                <a:gd name="T0" fmla="*/ 94 w 97"/>
                <a:gd name="T1" fmla="*/ 4 h 58"/>
                <a:gd name="T2" fmla="*/ 77 w 97"/>
                <a:gd name="T3" fmla="*/ 1 h 58"/>
                <a:gd name="T4" fmla="*/ 74 w 97"/>
                <a:gd name="T5" fmla="*/ 2 h 58"/>
                <a:gd name="T6" fmla="*/ 73 w 97"/>
                <a:gd name="T7" fmla="*/ 6 h 58"/>
                <a:gd name="T8" fmla="*/ 77 w 97"/>
                <a:gd name="T9" fmla="*/ 13 h 58"/>
                <a:gd name="T10" fmla="*/ 2 w 97"/>
                <a:gd name="T11" fmla="*/ 51 h 58"/>
                <a:gd name="T12" fmla="*/ 0 w 97"/>
                <a:gd name="T13" fmla="*/ 56 h 58"/>
                <a:gd name="T14" fmla="*/ 3 w 97"/>
                <a:gd name="T15" fmla="*/ 58 h 58"/>
                <a:gd name="T16" fmla="*/ 5 w 97"/>
                <a:gd name="T17" fmla="*/ 57 h 58"/>
                <a:gd name="T18" fmla="*/ 80 w 97"/>
                <a:gd name="T19" fmla="*/ 19 h 58"/>
                <a:gd name="T20" fmla="*/ 84 w 97"/>
                <a:gd name="T21" fmla="*/ 25 h 58"/>
                <a:gd name="T22" fmla="*/ 87 w 97"/>
                <a:gd name="T23" fmla="*/ 27 h 58"/>
                <a:gd name="T24" fmla="*/ 87 w 97"/>
                <a:gd name="T25" fmla="*/ 27 h 58"/>
                <a:gd name="T26" fmla="*/ 90 w 97"/>
                <a:gd name="T27" fmla="*/ 25 h 58"/>
                <a:gd name="T28" fmla="*/ 97 w 97"/>
                <a:gd name="T29" fmla="*/ 9 h 58"/>
                <a:gd name="T30" fmla="*/ 96 w 97"/>
                <a:gd name="T31" fmla="*/ 6 h 58"/>
                <a:gd name="T32" fmla="*/ 94 w 97"/>
                <a:gd name="T33" fmla="*/ 4 h 58"/>
                <a:gd name="T34" fmla="*/ 94 w 97"/>
                <a:gd name="T35" fmla="*/ 4 h 58"/>
                <a:gd name="T36" fmla="*/ 94 w 97"/>
                <a:gd name="T3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 h="58">
                  <a:moveTo>
                    <a:pt x="94" y="4"/>
                  </a:moveTo>
                  <a:cubicBezTo>
                    <a:pt x="77" y="1"/>
                    <a:pt x="77" y="1"/>
                    <a:pt x="77" y="1"/>
                  </a:cubicBezTo>
                  <a:cubicBezTo>
                    <a:pt x="76" y="0"/>
                    <a:pt x="74" y="1"/>
                    <a:pt x="74" y="2"/>
                  </a:cubicBezTo>
                  <a:cubicBezTo>
                    <a:pt x="73" y="3"/>
                    <a:pt x="73" y="4"/>
                    <a:pt x="73" y="6"/>
                  </a:cubicBezTo>
                  <a:cubicBezTo>
                    <a:pt x="77" y="13"/>
                    <a:pt x="77" y="13"/>
                    <a:pt x="77" y="13"/>
                  </a:cubicBezTo>
                  <a:cubicBezTo>
                    <a:pt x="2" y="51"/>
                    <a:pt x="2" y="51"/>
                    <a:pt x="2" y="51"/>
                  </a:cubicBezTo>
                  <a:cubicBezTo>
                    <a:pt x="0" y="52"/>
                    <a:pt x="0" y="54"/>
                    <a:pt x="0" y="56"/>
                  </a:cubicBezTo>
                  <a:cubicBezTo>
                    <a:pt x="1" y="57"/>
                    <a:pt x="2" y="58"/>
                    <a:pt x="3" y="58"/>
                  </a:cubicBezTo>
                  <a:cubicBezTo>
                    <a:pt x="4" y="58"/>
                    <a:pt x="4" y="58"/>
                    <a:pt x="5" y="57"/>
                  </a:cubicBezTo>
                  <a:cubicBezTo>
                    <a:pt x="80" y="19"/>
                    <a:pt x="80" y="19"/>
                    <a:pt x="80" y="19"/>
                  </a:cubicBezTo>
                  <a:cubicBezTo>
                    <a:pt x="84" y="25"/>
                    <a:pt x="84" y="25"/>
                    <a:pt x="84" y="25"/>
                  </a:cubicBezTo>
                  <a:cubicBezTo>
                    <a:pt x="84" y="26"/>
                    <a:pt x="86" y="27"/>
                    <a:pt x="87" y="27"/>
                  </a:cubicBezTo>
                  <a:cubicBezTo>
                    <a:pt x="87" y="27"/>
                    <a:pt x="87" y="27"/>
                    <a:pt x="87" y="27"/>
                  </a:cubicBezTo>
                  <a:cubicBezTo>
                    <a:pt x="88" y="27"/>
                    <a:pt x="89" y="26"/>
                    <a:pt x="90" y="25"/>
                  </a:cubicBezTo>
                  <a:cubicBezTo>
                    <a:pt x="97" y="9"/>
                    <a:pt x="97" y="9"/>
                    <a:pt x="97" y="9"/>
                  </a:cubicBezTo>
                  <a:cubicBezTo>
                    <a:pt x="97" y="8"/>
                    <a:pt x="97" y="7"/>
                    <a:pt x="96" y="6"/>
                  </a:cubicBezTo>
                  <a:cubicBezTo>
                    <a:pt x="96" y="5"/>
                    <a:pt x="95" y="4"/>
                    <a:pt x="94" y="4"/>
                  </a:cubicBezTo>
                  <a:close/>
                  <a:moveTo>
                    <a:pt x="94" y="4"/>
                  </a:moveTo>
                  <a:cubicBezTo>
                    <a:pt x="94" y="4"/>
                    <a:pt x="94" y="4"/>
                    <a:pt x="9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Freeform 51">
            <a:extLst>
              <a:ext uri="{FF2B5EF4-FFF2-40B4-BE49-F238E27FC236}">
                <a16:creationId xmlns:a16="http://schemas.microsoft.com/office/drawing/2014/main" id="{BCB6D9D1-B9EF-4542-9915-E5BFF170ABF2}"/>
              </a:ext>
            </a:extLst>
          </p:cNvPr>
          <p:cNvSpPr>
            <a:spLocks noEditPoints="1"/>
          </p:cNvSpPr>
          <p:nvPr/>
        </p:nvSpPr>
        <p:spPr bwMode="auto">
          <a:xfrm>
            <a:off x="4499876" y="4693269"/>
            <a:ext cx="772012" cy="771177"/>
          </a:xfrm>
          <a:custGeom>
            <a:avLst/>
            <a:gdLst>
              <a:gd name="T0" fmla="*/ 845 w 889"/>
              <a:gd name="T1" fmla="*/ 400 h 889"/>
              <a:gd name="T2" fmla="*/ 808 w 889"/>
              <a:gd name="T3" fmla="*/ 400 h 889"/>
              <a:gd name="T4" fmla="*/ 489 w 889"/>
              <a:gd name="T5" fmla="*/ 81 h 889"/>
              <a:gd name="T6" fmla="*/ 489 w 889"/>
              <a:gd name="T7" fmla="*/ 45 h 889"/>
              <a:gd name="T8" fmla="*/ 445 w 889"/>
              <a:gd name="T9" fmla="*/ 0 h 889"/>
              <a:gd name="T10" fmla="*/ 400 w 889"/>
              <a:gd name="T11" fmla="*/ 45 h 889"/>
              <a:gd name="T12" fmla="*/ 400 w 889"/>
              <a:gd name="T13" fmla="*/ 81 h 889"/>
              <a:gd name="T14" fmla="*/ 81 w 889"/>
              <a:gd name="T15" fmla="*/ 400 h 889"/>
              <a:gd name="T16" fmla="*/ 45 w 889"/>
              <a:gd name="T17" fmla="*/ 400 h 889"/>
              <a:gd name="T18" fmla="*/ 0 w 889"/>
              <a:gd name="T19" fmla="*/ 445 h 889"/>
              <a:gd name="T20" fmla="*/ 45 w 889"/>
              <a:gd name="T21" fmla="*/ 489 h 889"/>
              <a:gd name="T22" fmla="*/ 81 w 889"/>
              <a:gd name="T23" fmla="*/ 489 h 889"/>
              <a:gd name="T24" fmla="*/ 400 w 889"/>
              <a:gd name="T25" fmla="*/ 808 h 889"/>
              <a:gd name="T26" fmla="*/ 400 w 889"/>
              <a:gd name="T27" fmla="*/ 845 h 889"/>
              <a:gd name="T28" fmla="*/ 445 w 889"/>
              <a:gd name="T29" fmla="*/ 889 h 889"/>
              <a:gd name="T30" fmla="*/ 489 w 889"/>
              <a:gd name="T31" fmla="*/ 845 h 889"/>
              <a:gd name="T32" fmla="*/ 489 w 889"/>
              <a:gd name="T33" fmla="*/ 808 h 889"/>
              <a:gd name="T34" fmla="*/ 808 w 889"/>
              <a:gd name="T35" fmla="*/ 489 h 889"/>
              <a:gd name="T36" fmla="*/ 845 w 889"/>
              <a:gd name="T37" fmla="*/ 489 h 889"/>
              <a:gd name="T38" fmla="*/ 889 w 889"/>
              <a:gd name="T39" fmla="*/ 445 h 889"/>
              <a:gd name="T40" fmla="*/ 845 w 889"/>
              <a:gd name="T41" fmla="*/ 400 h 889"/>
              <a:gd name="T42" fmla="*/ 718 w 889"/>
              <a:gd name="T43" fmla="*/ 400 h 889"/>
              <a:gd name="T44" fmla="*/ 603 w 889"/>
              <a:gd name="T45" fmla="*/ 400 h 889"/>
              <a:gd name="T46" fmla="*/ 489 w 889"/>
              <a:gd name="T47" fmla="*/ 286 h 889"/>
              <a:gd name="T48" fmla="*/ 489 w 889"/>
              <a:gd name="T49" fmla="*/ 172 h 889"/>
              <a:gd name="T50" fmla="*/ 718 w 889"/>
              <a:gd name="T51" fmla="*/ 400 h 889"/>
              <a:gd name="T52" fmla="*/ 400 w 889"/>
              <a:gd name="T53" fmla="*/ 172 h 889"/>
              <a:gd name="T54" fmla="*/ 400 w 889"/>
              <a:gd name="T55" fmla="*/ 286 h 889"/>
              <a:gd name="T56" fmla="*/ 286 w 889"/>
              <a:gd name="T57" fmla="*/ 400 h 889"/>
              <a:gd name="T58" fmla="*/ 172 w 889"/>
              <a:gd name="T59" fmla="*/ 400 h 889"/>
              <a:gd name="T60" fmla="*/ 400 w 889"/>
              <a:gd name="T61" fmla="*/ 172 h 889"/>
              <a:gd name="T62" fmla="*/ 172 w 889"/>
              <a:gd name="T63" fmla="*/ 489 h 889"/>
              <a:gd name="T64" fmla="*/ 286 w 889"/>
              <a:gd name="T65" fmla="*/ 489 h 889"/>
              <a:gd name="T66" fmla="*/ 400 w 889"/>
              <a:gd name="T67" fmla="*/ 603 h 889"/>
              <a:gd name="T68" fmla="*/ 400 w 889"/>
              <a:gd name="T69" fmla="*/ 718 h 889"/>
              <a:gd name="T70" fmla="*/ 172 w 889"/>
              <a:gd name="T71" fmla="*/ 489 h 889"/>
              <a:gd name="T72" fmla="*/ 489 w 889"/>
              <a:gd name="T73" fmla="*/ 718 h 889"/>
              <a:gd name="T74" fmla="*/ 489 w 889"/>
              <a:gd name="T75" fmla="*/ 603 h 889"/>
              <a:gd name="T76" fmla="*/ 603 w 889"/>
              <a:gd name="T77" fmla="*/ 489 h 889"/>
              <a:gd name="T78" fmla="*/ 718 w 889"/>
              <a:gd name="T79" fmla="*/ 489 h 889"/>
              <a:gd name="T80" fmla="*/ 489 w 889"/>
              <a:gd name="T81" fmla="*/ 718 h 889"/>
              <a:gd name="T82" fmla="*/ 489 w 889"/>
              <a:gd name="T83" fmla="*/ 718 h 889"/>
              <a:gd name="T84" fmla="*/ 489 w 889"/>
              <a:gd name="T85" fmla="*/ 718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9" h="889">
                <a:moveTo>
                  <a:pt x="845" y="400"/>
                </a:moveTo>
                <a:cubicBezTo>
                  <a:pt x="808" y="400"/>
                  <a:pt x="808" y="400"/>
                  <a:pt x="808" y="400"/>
                </a:cubicBezTo>
                <a:cubicBezTo>
                  <a:pt x="788" y="234"/>
                  <a:pt x="656" y="102"/>
                  <a:pt x="489" y="81"/>
                </a:cubicBezTo>
                <a:cubicBezTo>
                  <a:pt x="489" y="45"/>
                  <a:pt x="489" y="45"/>
                  <a:pt x="489" y="45"/>
                </a:cubicBezTo>
                <a:cubicBezTo>
                  <a:pt x="489" y="20"/>
                  <a:pt x="469" y="0"/>
                  <a:pt x="445" y="0"/>
                </a:cubicBezTo>
                <a:cubicBezTo>
                  <a:pt x="420" y="0"/>
                  <a:pt x="400" y="20"/>
                  <a:pt x="400" y="45"/>
                </a:cubicBezTo>
                <a:cubicBezTo>
                  <a:pt x="400" y="81"/>
                  <a:pt x="400" y="81"/>
                  <a:pt x="400" y="81"/>
                </a:cubicBezTo>
                <a:cubicBezTo>
                  <a:pt x="234" y="102"/>
                  <a:pt x="102" y="234"/>
                  <a:pt x="81" y="400"/>
                </a:cubicBezTo>
                <a:cubicBezTo>
                  <a:pt x="45" y="400"/>
                  <a:pt x="45" y="400"/>
                  <a:pt x="45" y="400"/>
                </a:cubicBezTo>
                <a:cubicBezTo>
                  <a:pt x="20" y="400"/>
                  <a:pt x="0" y="420"/>
                  <a:pt x="0" y="445"/>
                </a:cubicBezTo>
                <a:cubicBezTo>
                  <a:pt x="0" y="469"/>
                  <a:pt x="20" y="489"/>
                  <a:pt x="45" y="489"/>
                </a:cubicBezTo>
                <a:cubicBezTo>
                  <a:pt x="81" y="489"/>
                  <a:pt x="81" y="489"/>
                  <a:pt x="81" y="489"/>
                </a:cubicBezTo>
                <a:cubicBezTo>
                  <a:pt x="102" y="656"/>
                  <a:pt x="234" y="788"/>
                  <a:pt x="400" y="808"/>
                </a:cubicBezTo>
                <a:cubicBezTo>
                  <a:pt x="400" y="845"/>
                  <a:pt x="400" y="845"/>
                  <a:pt x="400" y="845"/>
                </a:cubicBezTo>
                <a:cubicBezTo>
                  <a:pt x="400" y="869"/>
                  <a:pt x="420" y="889"/>
                  <a:pt x="445" y="889"/>
                </a:cubicBezTo>
                <a:cubicBezTo>
                  <a:pt x="469" y="889"/>
                  <a:pt x="489" y="869"/>
                  <a:pt x="489" y="845"/>
                </a:cubicBezTo>
                <a:cubicBezTo>
                  <a:pt x="489" y="808"/>
                  <a:pt x="489" y="808"/>
                  <a:pt x="489" y="808"/>
                </a:cubicBezTo>
                <a:cubicBezTo>
                  <a:pt x="656" y="788"/>
                  <a:pt x="788" y="656"/>
                  <a:pt x="808" y="489"/>
                </a:cubicBezTo>
                <a:cubicBezTo>
                  <a:pt x="845" y="489"/>
                  <a:pt x="845" y="489"/>
                  <a:pt x="845" y="489"/>
                </a:cubicBezTo>
                <a:cubicBezTo>
                  <a:pt x="869" y="489"/>
                  <a:pt x="889" y="469"/>
                  <a:pt x="889" y="445"/>
                </a:cubicBezTo>
                <a:cubicBezTo>
                  <a:pt x="889" y="420"/>
                  <a:pt x="869" y="400"/>
                  <a:pt x="845" y="400"/>
                </a:cubicBezTo>
                <a:close/>
                <a:moveTo>
                  <a:pt x="718" y="400"/>
                </a:moveTo>
                <a:cubicBezTo>
                  <a:pt x="603" y="400"/>
                  <a:pt x="603" y="400"/>
                  <a:pt x="603" y="400"/>
                </a:cubicBezTo>
                <a:cubicBezTo>
                  <a:pt x="587" y="345"/>
                  <a:pt x="544" y="302"/>
                  <a:pt x="489" y="286"/>
                </a:cubicBezTo>
                <a:cubicBezTo>
                  <a:pt x="489" y="172"/>
                  <a:pt x="489" y="172"/>
                  <a:pt x="489" y="172"/>
                </a:cubicBezTo>
                <a:cubicBezTo>
                  <a:pt x="606" y="191"/>
                  <a:pt x="699" y="283"/>
                  <a:pt x="718" y="400"/>
                </a:cubicBezTo>
                <a:close/>
                <a:moveTo>
                  <a:pt x="400" y="172"/>
                </a:moveTo>
                <a:cubicBezTo>
                  <a:pt x="400" y="286"/>
                  <a:pt x="400" y="286"/>
                  <a:pt x="400" y="286"/>
                </a:cubicBezTo>
                <a:cubicBezTo>
                  <a:pt x="345" y="302"/>
                  <a:pt x="302" y="345"/>
                  <a:pt x="286" y="400"/>
                </a:cubicBezTo>
                <a:cubicBezTo>
                  <a:pt x="172" y="400"/>
                  <a:pt x="172" y="400"/>
                  <a:pt x="172" y="400"/>
                </a:cubicBezTo>
                <a:cubicBezTo>
                  <a:pt x="191" y="283"/>
                  <a:pt x="283" y="191"/>
                  <a:pt x="400" y="172"/>
                </a:cubicBezTo>
                <a:close/>
                <a:moveTo>
                  <a:pt x="172" y="489"/>
                </a:moveTo>
                <a:cubicBezTo>
                  <a:pt x="286" y="489"/>
                  <a:pt x="286" y="489"/>
                  <a:pt x="286" y="489"/>
                </a:cubicBezTo>
                <a:cubicBezTo>
                  <a:pt x="302" y="544"/>
                  <a:pt x="345" y="587"/>
                  <a:pt x="400" y="603"/>
                </a:cubicBezTo>
                <a:cubicBezTo>
                  <a:pt x="400" y="718"/>
                  <a:pt x="400" y="718"/>
                  <a:pt x="400" y="718"/>
                </a:cubicBezTo>
                <a:cubicBezTo>
                  <a:pt x="283" y="699"/>
                  <a:pt x="191" y="606"/>
                  <a:pt x="172" y="489"/>
                </a:cubicBezTo>
                <a:close/>
                <a:moveTo>
                  <a:pt x="489" y="718"/>
                </a:moveTo>
                <a:cubicBezTo>
                  <a:pt x="489" y="603"/>
                  <a:pt x="489" y="603"/>
                  <a:pt x="489" y="603"/>
                </a:cubicBezTo>
                <a:cubicBezTo>
                  <a:pt x="544" y="587"/>
                  <a:pt x="587" y="544"/>
                  <a:pt x="603" y="489"/>
                </a:cubicBezTo>
                <a:cubicBezTo>
                  <a:pt x="718" y="489"/>
                  <a:pt x="718" y="489"/>
                  <a:pt x="718" y="489"/>
                </a:cubicBezTo>
                <a:cubicBezTo>
                  <a:pt x="699" y="606"/>
                  <a:pt x="606" y="699"/>
                  <a:pt x="489" y="718"/>
                </a:cubicBezTo>
                <a:close/>
                <a:moveTo>
                  <a:pt x="489" y="718"/>
                </a:moveTo>
                <a:cubicBezTo>
                  <a:pt x="489" y="718"/>
                  <a:pt x="489" y="718"/>
                  <a:pt x="489" y="71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37091613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Structuring a COE</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Compromised of single shared services team.</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Centralized CO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1" name="Group 10"/>
          <p:cNvGrpSpPr/>
          <p:nvPr/>
        </p:nvGrpSpPr>
        <p:grpSpPr>
          <a:xfrm>
            <a:off x="3330909" y="1241701"/>
            <a:ext cx="2769182"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a single, centralized, shared services team that has been expanded to include embedded team members. </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The embedded team members are dedicated to supporting a specific functional area or business unit.</a:t>
              </a:r>
              <a:endParaRPr kumimoji="0" lang="en-US" sz="32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nified COE</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6" name="Group 15"/>
          <p:cNvGrpSpPr/>
          <p:nvPr/>
        </p:nvGrpSpPr>
        <p:grpSpPr>
          <a:xfrm>
            <a:off x="6266415" y="1247165"/>
            <a:ext cx="2769182"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comprises a shared services team plus satellite members from each functional area or major business unit. </a:t>
              </a: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A federated team works in coordination, even though its members reside in different business units. </a:t>
              </a: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endPar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a:p>
              <a:pPr marL="285750" marR="0" lvl="0" indent="-285750" algn="l" defTabSz="896350" rtl="0" eaLnBrk="1" fontAlgn="auto" latinLnBrk="0" hangingPunct="1">
                <a:lnSpc>
                  <a:spcPct val="100000"/>
                </a:lnSpc>
                <a:spcBef>
                  <a:spcPts val="0"/>
                </a:spcBef>
                <a:spcAft>
                  <a:spcPts val="0"/>
                </a:spcAft>
                <a:buClrTx/>
                <a:buSzPct val="80000"/>
                <a:buFont typeface="Arial"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Typically, satellite members are primarily focused on development activities to support their business unit while the shared services personnel support the entire community.</a:t>
              </a:r>
              <a:endParaRPr kumimoji="0" lang="en-GB"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endParaRP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Federated COE</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71450" algn="l" defTabSz="914187"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200" cap="none" spc="-70" normalizeH="0" baseline="0" noProof="0">
                  <a:ln>
                    <a:noFill/>
                  </a:ln>
                  <a:solidFill>
                    <a:srgbClr val="171717"/>
                  </a:solidFill>
                  <a:effectLst/>
                  <a:uLnTx/>
                  <a:uFillTx/>
                  <a:latin typeface="Segoe UI" panose="020B0502040204020203" pitchFamily="34" charset="0"/>
                  <a:ea typeface="+mn-ea"/>
                  <a:cs typeface="+mn-cs"/>
                </a:rPr>
                <a:t>independently managed by business units.</a:t>
              </a:r>
              <a:endParaRPr kumimoji="0" lang="en-IN" sz="32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Decentralized COE</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spTree>
    <p:custDataLst>
      <p:tags r:id="rId1"/>
    </p:custDataLst>
    <p:extLst>
      <p:ext uri="{BB962C8B-B14F-4D97-AF65-F5344CB8AC3E}">
        <p14:creationId xmlns:p14="http://schemas.microsoft.com/office/powerpoint/2010/main" val="1981356276"/>
      </p:ext>
    </p:extLst>
  </p:cSld>
  <p:clrMapOvr>
    <a:masterClrMapping/>
  </p:clrMapOvr>
  <mc:AlternateContent xmlns:mc="http://schemas.openxmlformats.org/markup-compatibility/2006" xmlns:p14="http://schemas.microsoft.com/office/powerpoint/2010/main">
    <mc:Choice Requires="p14">
      <p:transition spd="med" p14:dur="700" advTm="47202">
        <p:fade/>
      </p:transition>
    </mc:Choice>
    <mc:Fallback xmlns="">
      <p:transition spd="med" advTm="47202">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07F4F6-B99F-4867-88AB-F63F06B9C7F5}"/>
              </a:ext>
            </a:extLst>
          </p:cNvPr>
          <p:cNvSpPr>
            <a:spLocks noGrp="1"/>
          </p:cNvSpPr>
          <p:nvPr>
            <p:ph type="title"/>
          </p:nvPr>
        </p:nvSpPr>
        <p:spPr/>
        <p:txBody>
          <a:bodyPr/>
          <a:lstStyle/>
          <a:p>
            <a:r>
              <a:rPr lang="de-DE" b="1" err="1"/>
              <a:t>Structuring</a:t>
            </a:r>
            <a:r>
              <a:rPr lang="de-DE" b="1"/>
              <a:t> COE</a:t>
            </a:r>
            <a:endParaRPr lang="en-US" b="1"/>
          </a:p>
        </p:txBody>
      </p:sp>
      <p:sp>
        <p:nvSpPr>
          <p:cNvPr id="28" name="Rounded Rectangle 2">
            <a:extLst>
              <a:ext uri="{FF2B5EF4-FFF2-40B4-BE49-F238E27FC236}">
                <a16:creationId xmlns:a16="http://schemas.microsoft.com/office/drawing/2014/main" id="{CE4729B2-C5A6-4A9D-B77C-C361FE33248A}"/>
              </a:ext>
            </a:extLst>
          </p:cNvPr>
          <p:cNvSpPr/>
          <p:nvPr/>
        </p:nvSpPr>
        <p:spPr>
          <a:xfrm>
            <a:off x="1177984" y="3958219"/>
            <a:ext cx="4810098" cy="2178634"/>
          </a:xfrm>
          <a:prstGeom prst="roundRect">
            <a:avLst>
              <a:gd name="adj" fmla="val 6999"/>
            </a:avLst>
          </a:prstGeom>
          <a:solidFill>
            <a:sysClr val="window" lastClr="FFFFFF"/>
          </a:solidFill>
          <a:ln w="28575" cap="flat" cmpd="sng" algn="ctr">
            <a:solidFill>
              <a:srgbClr val="ED2541"/>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A13601"/>
              </a:solidFill>
              <a:effectLst/>
              <a:uLnTx/>
              <a:uFillTx/>
              <a:latin typeface="Arial" panose="020B0604020202020204"/>
              <a:ea typeface="+mj-ea"/>
              <a:cs typeface="+mj-cs"/>
            </a:endParaRPr>
          </a:p>
        </p:txBody>
      </p:sp>
      <p:sp>
        <p:nvSpPr>
          <p:cNvPr id="30" name="Rounded Rectangle 3">
            <a:extLst>
              <a:ext uri="{FF2B5EF4-FFF2-40B4-BE49-F238E27FC236}">
                <a16:creationId xmlns:a16="http://schemas.microsoft.com/office/drawing/2014/main" id="{C5E6DF66-F751-4254-8566-3DC31CFA2BCF}"/>
              </a:ext>
            </a:extLst>
          </p:cNvPr>
          <p:cNvSpPr/>
          <p:nvPr/>
        </p:nvSpPr>
        <p:spPr>
          <a:xfrm>
            <a:off x="6239542" y="3958219"/>
            <a:ext cx="4810098" cy="2178634"/>
          </a:xfrm>
          <a:prstGeom prst="roundRect">
            <a:avLst>
              <a:gd name="adj" fmla="val 6999"/>
            </a:avLst>
          </a:prstGeom>
          <a:solidFill>
            <a:sysClr val="window" lastClr="FFFFFF"/>
          </a:solidFill>
          <a:ln w="28575" cap="flat" cmpd="sng" algn="ctr">
            <a:solidFill>
              <a:srgbClr val="F7881F"/>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A50721"/>
              </a:solidFill>
              <a:effectLst/>
              <a:uLnTx/>
              <a:uFillTx/>
              <a:latin typeface="Arial" panose="020B0604020202020204"/>
              <a:ea typeface="+mj-ea"/>
              <a:cs typeface="+mj-cs"/>
            </a:endParaRPr>
          </a:p>
        </p:txBody>
      </p:sp>
      <p:sp>
        <p:nvSpPr>
          <p:cNvPr id="32" name="Rounded Rectangle 4">
            <a:extLst>
              <a:ext uri="{FF2B5EF4-FFF2-40B4-BE49-F238E27FC236}">
                <a16:creationId xmlns:a16="http://schemas.microsoft.com/office/drawing/2014/main" id="{5E332E20-736B-42E4-8718-D2397B36EDA6}"/>
              </a:ext>
            </a:extLst>
          </p:cNvPr>
          <p:cNvSpPr/>
          <p:nvPr/>
        </p:nvSpPr>
        <p:spPr>
          <a:xfrm>
            <a:off x="6239542" y="1478494"/>
            <a:ext cx="4810098" cy="2178634"/>
          </a:xfrm>
          <a:prstGeom prst="roundRect">
            <a:avLst>
              <a:gd name="adj" fmla="val 6999"/>
            </a:avLst>
          </a:prstGeom>
          <a:noFill/>
          <a:ln w="28575" cap="flat" cmpd="sng" algn="ctr">
            <a:solidFill>
              <a:srgbClr val="16BA9B">
                <a:alpha val="53000"/>
              </a:srgbClr>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281E32"/>
              </a:solidFill>
              <a:effectLst/>
              <a:uLnTx/>
              <a:uFillTx/>
              <a:latin typeface="Arial" panose="020B0604020202020204"/>
              <a:ea typeface="+mj-ea"/>
              <a:cs typeface="+mj-cs"/>
            </a:endParaRPr>
          </a:p>
        </p:txBody>
      </p:sp>
      <p:sp>
        <p:nvSpPr>
          <p:cNvPr id="34" name="Rounded Rectangle 5">
            <a:extLst>
              <a:ext uri="{FF2B5EF4-FFF2-40B4-BE49-F238E27FC236}">
                <a16:creationId xmlns:a16="http://schemas.microsoft.com/office/drawing/2014/main" id="{5FF3D640-FD5F-43AF-9D78-5C6B6030377F}"/>
              </a:ext>
            </a:extLst>
          </p:cNvPr>
          <p:cNvSpPr/>
          <p:nvPr/>
        </p:nvSpPr>
        <p:spPr>
          <a:xfrm>
            <a:off x="1177984" y="1478494"/>
            <a:ext cx="4810098" cy="2178634"/>
          </a:xfrm>
          <a:prstGeom prst="roundRect">
            <a:avLst>
              <a:gd name="adj" fmla="val 6999"/>
            </a:avLst>
          </a:prstGeom>
          <a:solidFill>
            <a:sysClr val="window" lastClr="FFFFFF"/>
          </a:solidFill>
          <a:ln w="28575" cap="flat" cmpd="sng" algn="ctr">
            <a:solidFill>
              <a:srgbClr val="3776C3"/>
            </a:solidFill>
            <a:prstDash val="solid"/>
            <a:miter lim="800000"/>
          </a:ln>
          <a:effectLst/>
        </p:spPr>
        <p:style>
          <a:lnRef idx="0">
            <a:scrgbClr r="0" g="0" b="0"/>
          </a:lnRef>
          <a:fillRef idx="0">
            <a:scrgbClr r="0" g="0" b="0"/>
          </a:fillRef>
          <a:effectRef idx="0">
            <a:scrgbClr r="0" g="0" b="0"/>
          </a:effectRef>
          <a:fontRef idx="major"/>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a:ln>
                <a:noFill/>
              </a:ln>
              <a:solidFill>
                <a:srgbClr val="74C042">
                  <a:lumMod val="50000"/>
                </a:srgbClr>
              </a:solidFill>
              <a:effectLst/>
              <a:uLnTx/>
              <a:uFillTx/>
              <a:latin typeface="Arial" panose="020B0604020202020204"/>
              <a:ea typeface="+mj-ea"/>
              <a:cs typeface="+mj-cs"/>
            </a:endParaRPr>
          </a:p>
        </p:txBody>
      </p:sp>
      <p:sp>
        <p:nvSpPr>
          <p:cNvPr id="36" name="Appropriately strategize granular experiences for fully…">
            <a:extLst>
              <a:ext uri="{FF2B5EF4-FFF2-40B4-BE49-F238E27FC236}">
                <a16:creationId xmlns:a16="http://schemas.microsoft.com/office/drawing/2014/main" id="{BE116C49-5BE9-4ADE-95B8-BE617B11E865}"/>
              </a:ext>
            </a:extLst>
          </p:cNvPr>
          <p:cNvSpPr/>
          <p:nvPr/>
        </p:nvSpPr>
        <p:spPr>
          <a:xfrm>
            <a:off x="1447454" y="2182008"/>
            <a:ext cx="3998306" cy="246221"/>
          </a:xfrm>
          <a:prstGeom prst="rect">
            <a:avLst/>
          </a:prstGeom>
          <a:ln w="12700">
            <a:miter lim="400000"/>
          </a:ln>
          <a:extLst>
            <a:ext uri="{C572A759-6A51-4108-AA02-DFA0A04FC94B}">
              <ma14:wrappingTextBoxFlag xmlns="" xmlns:ma14="http://schemas.microsoft.com/office/mac/drawingml/2011/main"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Compromised of single shared services team.</a:t>
            </a:r>
          </a:p>
        </p:txBody>
      </p:sp>
      <p:sp>
        <p:nvSpPr>
          <p:cNvPr id="38" name="Appropriately strategize granular experiences for fully…">
            <a:extLst>
              <a:ext uri="{FF2B5EF4-FFF2-40B4-BE49-F238E27FC236}">
                <a16:creationId xmlns:a16="http://schemas.microsoft.com/office/drawing/2014/main" id="{98CFEF10-F225-4034-9861-DDCD29946D57}"/>
              </a:ext>
            </a:extLst>
          </p:cNvPr>
          <p:cNvSpPr/>
          <p:nvPr/>
        </p:nvSpPr>
        <p:spPr>
          <a:xfrm>
            <a:off x="1447454" y="1787027"/>
            <a:ext cx="324234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3776C3"/>
                </a:solidFill>
                <a:effectLst/>
                <a:uLnTx/>
                <a:uFillTx/>
                <a:latin typeface="Roboto Slab Light"/>
                <a:ea typeface="Roboto Slab Light"/>
                <a:cs typeface="Roboto Slab Light"/>
                <a:sym typeface="Roboto Slab Light"/>
              </a:rPr>
              <a:t>Centralized COE</a:t>
            </a:r>
          </a:p>
        </p:txBody>
      </p:sp>
      <p:sp>
        <p:nvSpPr>
          <p:cNvPr id="40" name="Appropriately strategize granular experiences for fully…">
            <a:extLst>
              <a:ext uri="{FF2B5EF4-FFF2-40B4-BE49-F238E27FC236}">
                <a16:creationId xmlns:a16="http://schemas.microsoft.com/office/drawing/2014/main" id="{C2D74B2A-E72F-4364-92CD-F4B970223811}"/>
              </a:ext>
            </a:extLst>
          </p:cNvPr>
          <p:cNvSpPr/>
          <p:nvPr/>
        </p:nvSpPr>
        <p:spPr>
          <a:xfrm>
            <a:off x="1447454" y="4710574"/>
            <a:ext cx="3249319" cy="984885"/>
          </a:xfrm>
          <a:prstGeom prst="rect">
            <a:avLst/>
          </a:prstGeom>
          <a:ln w="12700">
            <a:miter lim="400000"/>
          </a:ln>
          <a:extLst>
            <a:ext uri="{C572A759-6A51-4108-AA02-DFA0A04FC94B}">
              <ma14:wrappingTextBoxFlag xmlns="" xmlns:ma14="http://schemas.microsoft.com/office/mac/drawingml/2011/main"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C</a:t>
            </a:r>
            <a:r>
              <a:rPr kumimoji="0" lang="en-US" sz="1600" b="0" i="0" u="none" strike="noStrike" kern="0" cap="none" spc="0" normalizeH="0" baseline="0" noProof="0" err="1">
                <a:ln>
                  <a:noFill/>
                </a:ln>
                <a:solidFill>
                  <a:srgbClr val="171717"/>
                </a:solidFill>
                <a:effectLst/>
                <a:uLnTx/>
                <a:uFillTx/>
                <a:latin typeface="Segoe UI Light"/>
                <a:ea typeface="+mj-ea"/>
                <a:cs typeface="+mj-cs"/>
              </a:rPr>
              <a:t>omprises</a:t>
            </a:r>
            <a:r>
              <a:rPr kumimoji="0" lang="en-US" sz="1600" b="0" i="0" u="none" strike="noStrike" kern="0" cap="none" spc="0" normalizeH="0" baseline="0" noProof="0">
                <a:ln>
                  <a:noFill/>
                </a:ln>
                <a:solidFill>
                  <a:srgbClr val="171717"/>
                </a:solidFill>
                <a:effectLst/>
                <a:uLnTx/>
                <a:uFillTx/>
                <a:latin typeface="Segoe UI Light"/>
                <a:ea typeface="+mj-ea"/>
                <a:cs typeface="+mj-cs"/>
              </a:rPr>
              <a:t> a shared services team plus satellite members from each functional area or major business unit. </a:t>
            </a:r>
          </a:p>
        </p:txBody>
      </p:sp>
      <p:sp>
        <p:nvSpPr>
          <p:cNvPr id="42" name="Appropriately strategize granular experiences for fully…">
            <a:extLst>
              <a:ext uri="{FF2B5EF4-FFF2-40B4-BE49-F238E27FC236}">
                <a16:creationId xmlns:a16="http://schemas.microsoft.com/office/drawing/2014/main" id="{E45C9AE0-903F-4A2C-AC41-BE8F51B3F88E}"/>
              </a:ext>
            </a:extLst>
          </p:cNvPr>
          <p:cNvSpPr/>
          <p:nvPr/>
        </p:nvSpPr>
        <p:spPr>
          <a:xfrm>
            <a:off x="1447454" y="4315593"/>
            <a:ext cx="324234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ED2541"/>
                </a:solidFill>
                <a:effectLst/>
                <a:uLnTx/>
                <a:uFillTx/>
                <a:latin typeface="Roboto Slab Light"/>
                <a:ea typeface="Roboto Slab Light"/>
                <a:cs typeface="Roboto Slab Light"/>
                <a:sym typeface="Roboto Slab Light"/>
              </a:rPr>
              <a:t>Federated COE</a:t>
            </a:r>
          </a:p>
        </p:txBody>
      </p:sp>
      <p:sp>
        <p:nvSpPr>
          <p:cNvPr id="44" name="Appropriately strategize granular experiences for fully…">
            <a:extLst>
              <a:ext uri="{FF2B5EF4-FFF2-40B4-BE49-F238E27FC236}">
                <a16:creationId xmlns:a16="http://schemas.microsoft.com/office/drawing/2014/main" id="{B4CBE827-E78D-487D-9D24-548DA2A64AB9}"/>
              </a:ext>
            </a:extLst>
          </p:cNvPr>
          <p:cNvSpPr/>
          <p:nvPr/>
        </p:nvSpPr>
        <p:spPr>
          <a:xfrm>
            <a:off x="7897175" y="2182008"/>
            <a:ext cx="3249319" cy="738664"/>
          </a:xfrm>
          <a:prstGeom prst="rect">
            <a:avLst/>
          </a:prstGeom>
          <a:ln w="12700">
            <a:miter lim="400000"/>
          </a:ln>
          <a:extLst>
            <a:ext uri="{C572A759-6A51-4108-AA02-DFA0A04FC94B}">
              <ma14:wrappingTextBoxFlag xmlns="" xmlns:ma14="http://schemas.microsoft.com/office/mac/drawingml/2011/main"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Single, centralized, shared services team that has been expanded to include embedded team members. </a:t>
            </a:r>
          </a:p>
        </p:txBody>
      </p:sp>
      <p:sp>
        <p:nvSpPr>
          <p:cNvPr id="46" name="Appropriately strategize granular experiences for fully…">
            <a:extLst>
              <a:ext uri="{FF2B5EF4-FFF2-40B4-BE49-F238E27FC236}">
                <a16:creationId xmlns:a16="http://schemas.microsoft.com/office/drawing/2014/main" id="{A2148814-4ECC-4CDF-8307-2CC0653794C5}"/>
              </a:ext>
            </a:extLst>
          </p:cNvPr>
          <p:cNvSpPr/>
          <p:nvPr/>
        </p:nvSpPr>
        <p:spPr>
          <a:xfrm>
            <a:off x="7546979" y="1787027"/>
            <a:ext cx="324234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16BA9B"/>
                </a:solidFill>
                <a:effectLst/>
                <a:uLnTx/>
                <a:uFillTx/>
                <a:latin typeface="Roboto Slab Light"/>
                <a:ea typeface="Roboto Slab Light"/>
                <a:cs typeface="Roboto Slab Light"/>
                <a:sym typeface="Roboto Slab Light"/>
              </a:rPr>
              <a:t>Unified COE</a:t>
            </a:r>
          </a:p>
        </p:txBody>
      </p:sp>
      <p:sp>
        <p:nvSpPr>
          <p:cNvPr id="48" name="Appropriately strategize granular experiences for fully…">
            <a:extLst>
              <a:ext uri="{FF2B5EF4-FFF2-40B4-BE49-F238E27FC236}">
                <a16:creationId xmlns:a16="http://schemas.microsoft.com/office/drawing/2014/main" id="{1C26012B-00B9-4353-8565-4F1E253127BE}"/>
              </a:ext>
            </a:extLst>
          </p:cNvPr>
          <p:cNvSpPr/>
          <p:nvPr/>
        </p:nvSpPr>
        <p:spPr>
          <a:xfrm>
            <a:off x="7162801" y="4710574"/>
            <a:ext cx="3674138" cy="246221"/>
          </a:xfrm>
          <a:prstGeom prst="rect">
            <a:avLst/>
          </a:prstGeom>
          <a:ln w="12700">
            <a:miter lim="400000"/>
          </a:ln>
          <a:extLst>
            <a:ext uri="{C572A759-6A51-4108-AA02-DFA0A04FC94B}">
              <ma14:wrappingTextBoxFlag xmlns="" xmlns:ma14="http://schemas.microsoft.com/office/mac/drawingml/2011/main" val="1"/>
            </a:ext>
          </a:extLst>
        </p:spPr>
        <p:style>
          <a:lnRef idx="0">
            <a:scrgbClr r="0" g="0" b="0"/>
          </a:lnRef>
          <a:fillRef idx="0">
            <a:scrgbClr r="0" g="0" b="0"/>
          </a:fillRef>
          <a:effectRef idx="0">
            <a:scrgbClr r="0" g="0" b="0"/>
          </a:effectRef>
          <a:fontRef idx="major"/>
        </p:style>
        <p:txBody>
          <a:bodyPr wrap="square" lIns="0" tIns="0" rIns="0" bIns="0">
            <a:spAutoFit/>
          </a:bodyPr>
          <a:lstStyle/>
          <a:p>
            <a:pPr marL="0" marR="0" lvl="0" indent="0" algn="l" defTabSz="914187" rtl="0" eaLnBrk="1" fontAlgn="auto" latinLnBrk="0" hangingPunct="1">
              <a:lnSpc>
                <a:spcPct val="100000"/>
              </a:lnSpc>
              <a:spcBef>
                <a:spcPts val="0"/>
              </a:spcBef>
              <a:spcAft>
                <a:spcPts val="0"/>
              </a:spcAft>
              <a:buClrTx/>
              <a:buSzPct val="80000"/>
              <a:buFontTx/>
              <a:buNone/>
              <a:tabLst/>
              <a:defRPr/>
            </a:pPr>
            <a:r>
              <a:rPr kumimoji="0" lang="en-US" sz="1600" b="0" i="0" u="none" strike="noStrike" kern="0" cap="none" spc="0" normalizeH="0" baseline="0" noProof="0">
                <a:ln>
                  <a:noFill/>
                </a:ln>
                <a:solidFill>
                  <a:srgbClr val="171717"/>
                </a:solidFill>
                <a:effectLst/>
                <a:uLnTx/>
                <a:uFillTx/>
                <a:latin typeface="Segoe UI Light"/>
                <a:ea typeface="+mj-ea"/>
                <a:cs typeface="+mj-cs"/>
              </a:rPr>
              <a:t>Independently managed by business units.</a:t>
            </a:r>
            <a:endParaRPr kumimoji="0" lang="en-IN" sz="3600" b="0" i="0" u="none" strike="noStrike" kern="0" cap="none" spc="0" normalizeH="0" baseline="0" noProof="0">
              <a:ln>
                <a:noFill/>
              </a:ln>
              <a:solidFill>
                <a:srgbClr val="000000"/>
              </a:solidFill>
              <a:effectLst/>
              <a:uLnTx/>
              <a:uFillTx/>
              <a:latin typeface="Segoe UI Light"/>
              <a:ea typeface="+mj-ea"/>
              <a:cs typeface="+mj-cs"/>
            </a:endParaRPr>
          </a:p>
        </p:txBody>
      </p:sp>
      <p:sp>
        <p:nvSpPr>
          <p:cNvPr id="50" name="Appropriately strategize granular experiences for fully…">
            <a:extLst>
              <a:ext uri="{FF2B5EF4-FFF2-40B4-BE49-F238E27FC236}">
                <a16:creationId xmlns:a16="http://schemas.microsoft.com/office/drawing/2014/main" id="{1409EAB2-01CE-4B47-A6DB-5974ED25F851}"/>
              </a:ext>
            </a:extLst>
          </p:cNvPr>
          <p:cNvSpPr/>
          <p:nvPr/>
        </p:nvSpPr>
        <p:spPr>
          <a:xfrm>
            <a:off x="7546979" y="4315593"/>
            <a:ext cx="3242347" cy="30777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2000" b="1" i="0" u="none" strike="noStrike" kern="1200" cap="none" spc="0" normalizeH="0" baseline="0" noProof="0">
                <a:ln>
                  <a:noFill/>
                </a:ln>
                <a:solidFill>
                  <a:srgbClr val="F7881F"/>
                </a:solidFill>
                <a:effectLst/>
                <a:uLnTx/>
                <a:uFillTx/>
                <a:latin typeface="Roboto Slab Light"/>
                <a:ea typeface="Roboto Slab Light"/>
                <a:cs typeface="Roboto Slab Light"/>
                <a:sym typeface="Roboto Slab Light"/>
              </a:rPr>
              <a:t>Decentralized COE</a:t>
            </a:r>
          </a:p>
        </p:txBody>
      </p:sp>
    </p:spTree>
    <p:extLst>
      <p:ext uri="{BB962C8B-B14F-4D97-AF65-F5344CB8AC3E}">
        <p14:creationId xmlns:p14="http://schemas.microsoft.com/office/powerpoint/2010/main" val="257133575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9857D8-EBFC-466B-BCC9-3E2C6AD923E6}"/>
              </a:ext>
            </a:extLst>
          </p:cNvPr>
          <p:cNvSpPr>
            <a:spLocks noGrp="1"/>
          </p:cNvSpPr>
          <p:nvPr>
            <p:ph type="title"/>
          </p:nvPr>
        </p:nvSpPr>
        <p:spPr/>
        <p:txBody>
          <a:bodyPr/>
          <a:lstStyle/>
          <a:p>
            <a:r>
              <a:rPr lang="de-DE" sz="4000" err="1"/>
              <a:t>Considerations</a:t>
            </a:r>
            <a:r>
              <a:rPr lang="de-DE" sz="4000"/>
              <a:t> &amp; Key Actions</a:t>
            </a:r>
            <a:endParaRPr lang="en-US" sz="4000"/>
          </a:p>
        </p:txBody>
      </p:sp>
      <p:sp>
        <p:nvSpPr>
          <p:cNvPr id="3" name="Textplatzhalter 2">
            <a:extLst>
              <a:ext uri="{FF2B5EF4-FFF2-40B4-BE49-F238E27FC236}">
                <a16:creationId xmlns:a16="http://schemas.microsoft.com/office/drawing/2014/main" id="{791523A3-8DC6-4067-8881-681373FF6932}"/>
              </a:ext>
            </a:extLst>
          </p:cNvPr>
          <p:cNvSpPr>
            <a:spLocks noGrp="1"/>
          </p:cNvSpPr>
          <p:nvPr>
            <p:ph type="body" sz="quarter" idx="10"/>
          </p:nvPr>
        </p:nvSpPr>
        <p:spPr>
          <a:xfrm>
            <a:off x="4407972" y="583388"/>
            <a:ext cx="7292164" cy="5855449"/>
          </a:xfrm>
        </p:spPr>
        <p:txBody>
          <a:bodyPr/>
          <a:lstStyle/>
          <a:p>
            <a:pPr marL="285750" indent="-285750">
              <a:lnSpc>
                <a:spcPct val="100000"/>
              </a:lnSpc>
              <a:buFont typeface="Arial" panose="020B0604020202020204" pitchFamily="34" charset="0"/>
              <a:buChar char="•"/>
            </a:pPr>
            <a:r>
              <a:rPr lang="en-US" sz="1800"/>
              <a:t>Define the </a:t>
            </a:r>
            <a:r>
              <a:rPr lang="en-US" sz="1800" b="1"/>
              <a:t>scope of responsibilities </a:t>
            </a:r>
            <a:r>
              <a:rPr lang="en-US" sz="1800"/>
              <a:t>for the COE</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Analyze </a:t>
            </a:r>
            <a:r>
              <a:rPr lang="en-US" sz="1800" b="1"/>
              <a:t>required systems and infrastructure</a:t>
            </a:r>
            <a:r>
              <a:rPr lang="en-US" sz="1800"/>
              <a:t> to meet its goals and scope of responsibilities</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Determine most appropriate </a:t>
            </a:r>
            <a:r>
              <a:rPr lang="en-US" sz="1800" b="1"/>
              <a:t>COE structure</a:t>
            </a:r>
            <a:endParaRPr lang="en-US" sz="1800"/>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Identify </a:t>
            </a:r>
            <a:r>
              <a:rPr lang="en-US" sz="1800" b="1"/>
              <a:t>internal customers </a:t>
            </a:r>
            <a:r>
              <a:rPr lang="en-US" sz="1800"/>
              <a:t>and any </a:t>
            </a:r>
            <a:r>
              <a:rPr lang="en-US" sz="1800" b="1"/>
              <a:t>external customers</a:t>
            </a:r>
            <a:r>
              <a:rPr lang="en-US" sz="1800"/>
              <a:t> to be served by the COE</a:t>
            </a:r>
          </a:p>
          <a:p>
            <a:pPr>
              <a:lnSpc>
                <a:spcPct val="100000"/>
              </a:lnSpc>
            </a:pPr>
            <a:endParaRPr lang="en-US" sz="1800"/>
          </a:p>
          <a:p>
            <a:pPr marL="285750" indent="-285750">
              <a:lnSpc>
                <a:spcPct val="100000"/>
              </a:lnSpc>
              <a:buFont typeface="Arial" panose="020B0604020202020204" pitchFamily="34" charset="0"/>
              <a:buChar char="•"/>
            </a:pPr>
            <a:r>
              <a:rPr lang="en-US" sz="1800"/>
              <a:t>Consider how to </a:t>
            </a:r>
            <a:r>
              <a:rPr lang="en-US" sz="1800" b="1"/>
              <a:t>scale the COE over time </a:t>
            </a:r>
            <a:r>
              <a:rPr lang="en-US" sz="1800"/>
              <a:t>with the unified or federated approach</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Verify the </a:t>
            </a:r>
            <a:r>
              <a:rPr lang="en-US" sz="1800" b="1"/>
              <a:t>funding plan </a:t>
            </a:r>
            <a:r>
              <a:rPr lang="en-US" sz="1800"/>
              <a:t>for the COE</a:t>
            </a:r>
          </a:p>
          <a:p>
            <a:pPr marL="285750" indent="-285750">
              <a:lnSpc>
                <a:spcPct val="100000"/>
              </a:lnSpc>
              <a:buFont typeface="Arial" panose="020B0604020202020204" pitchFamily="34" charset="0"/>
              <a:buChar char="•"/>
            </a:pPr>
            <a:endParaRPr lang="en-US" sz="1800"/>
          </a:p>
          <a:p>
            <a:pPr marL="285750" indent="-285750">
              <a:lnSpc>
                <a:spcPct val="100000"/>
              </a:lnSpc>
              <a:buFont typeface="Arial" panose="020B0604020202020204" pitchFamily="34" charset="0"/>
              <a:buChar char="•"/>
            </a:pPr>
            <a:r>
              <a:rPr lang="en-US" sz="1800"/>
              <a:t>Create a </a:t>
            </a:r>
            <a:r>
              <a:rPr lang="en-US" sz="1800" b="1"/>
              <a:t>communications strategy </a:t>
            </a:r>
            <a:r>
              <a:rPr lang="en-US" sz="1800"/>
              <a:t>to educate the Power BI community about COE services and how to engage with the COE</a:t>
            </a:r>
          </a:p>
          <a:p>
            <a:pPr marL="171450" indent="-171450">
              <a:buFont typeface="Arial" panose="020B0604020202020204" pitchFamily="34" charset="0"/>
              <a:buChar char="•"/>
            </a:pPr>
            <a:endParaRPr lang="en-US" sz="1100"/>
          </a:p>
        </p:txBody>
      </p:sp>
    </p:spTree>
    <p:extLst>
      <p:ext uri="{BB962C8B-B14F-4D97-AF65-F5344CB8AC3E}">
        <p14:creationId xmlns:p14="http://schemas.microsoft.com/office/powerpoint/2010/main" val="41464191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a:t>COE – Change Management Approach</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462233" y="1453112"/>
          <a:ext cx="11081339"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0652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E9F836B8-166B-45D6-9F84-CEA44AD858A3}"/>
                                            </p:graphicEl>
                                          </p:spTgt>
                                        </p:tgtEl>
                                        <p:attrNameLst>
                                          <p:attrName>style.visibility</p:attrName>
                                        </p:attrNameLst>
                                      </p:cBhvr>
                                      <p:to>
                                        <p:strVal val="visible"/>
                                      </p:to>
                                    </p:set>
                                    <p:animEffect transition="in" filter="fade">
                                      <p:cBhvr>
                                        <p:cTn id="7" dur="500"/>
                                        <p:tgtEl>
                                          <p:spTgt spid="8">
                                            <p:graphicEl>
                                              <a:dgm id="{E9F836B8-166B-45D6-9F84-CEA44AD858A3}"/>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1D316B12-8CDF-4966-8386-A25B656CCFCB}"/>
                                            </p:graphicEl>
                                          </p:spTgt>
                                        </p:tgtEl>
                                        <p:attrNameLst>
                                          <p:attrName>style.visibility</p:attrName>
                                        </p:attrNameLst>
                                      </p:cBhvr>
                                      <p:to>
                                        <p:strVal val="visible"/>
                                      </p:to>
                                    </p:set>
                                    <p:animEffect transition="in" filter="fade">
                                      <p:cBhvr>
                                        <p:cTn id="10" dur="500"/>
                                        <p:tgtEl>
                                          <p:spTgt spid="8">
                                            <p:graphicEl>
                                              <a:dgm id="{1D316B12-8CDF-4966-8386-A25B656CCFCB}"/>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39756C08-B936-44B2-9A3D-90560B0311E9}"/>
                                            </p:graphicEl>
                                          </p:spTgt>
                                        </p:tgtEl>
                                        <p:attrNameLst>
                                          <p:attrName>style.visibility</p:attrName>
                                        </p:attrNameLst>
                                      </p:cBhvr>
                                      <p:to>
                                        <p:strVal val="visible"/>
                                      </p:to>
                                    </p:set>
                                    <p:animEffect transition="in" filter="fade">
                                      <p:cBhvr>
                                        <p:cTn id="15" dur="500"/>
                                        <p:tgtEl>
                                          <p:spTgt spid="8">
                                            <p:graphicEl>
                                              <a:dgm id="{39756C08-B936-44B2-9A3D-90560B0311E9}"/>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8913CEDA-40AB-4CE7-9A23-57A66F010AED}"/>
                                            </p:graphicEl>
                                          </p:spTgt>
                                        </p:tgtEl>
                                        <p:attrNameLst>
                                          <p:attrName>style.visibility</p:attrName>
                                        </p:attrNameLst>
                                      </p:cBhvr>
                                      <p:to>
                                        <p:strVal val="visible"/>
                                      </p:to>
                                    </p:set>
                                    <p:animEffect transition="in" filter="fade">
                                      <p:cBhvr>
                                        <p:cTn id="18" dur="500"/>
                                        <p:tgtEl>
                                          <p:spTgt spid="8">
                                            <p:graphicEl>
                                              <a:dgm id="{8913CEDA-40AB-4CE7-9A23-57A66F010AED}"/>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54AC7EA8-AD67-4C0D-A259-7A17F4D1737E}"/>
                                            </p:graphicEl>
                                          </p:spTgt>
                                        </p:tgtEl>
                                        <p:attrNameLst>
                                          <p:attrName>style.visibility</p:attrName>
                                        </p:attrNameLst>
                                      </p:cBhvr>
                                      <p:to>
                                        <p:strVal val="visible"/>
                                      </p:to>
                                    </p:set>
                                    <p:animEffect transition="in" filter="fade">
                                      <p:cBhvr>
                                        <p:cTn id="23" dur="500"/>
                                        <p:tgtEl>
                                          <p:spTgt spid="8">
                                            <p:graphicEl>
                                              <a:dgm id="{54AC7EA8-AD67-4C0D-A259-7A17F4D1737E}"/>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DF963225-B69D-4A74-A4C8-54F6919AC7F8}"/>
                                            </p:graphicEl>
                                          </p:spTgt>
                                        </p:tgtEl>
                                        <p:attrNameLst>
                                          <p:attrName>style.visibility</p:attrName>
                                        </p:attrNameLst>
                                      </p:cBhvr>
                                      <p:to>
                                        <p:strVal val="visible"/>
                                      </p:to>
                                    </p:set>
                                    <p:animEffect transition="in" filter="fade">
                                      <p:cBhvr>
                                        <p:cTn id="26" dur="500"/>
                                        <p:tgtEl>
                                          <p:spTgt spid="8">
                                            <p:graphicEl>
                                              <a:dgm id="{DF963225-B69D-4A74-A4C8-54F6919AC7F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graphicEl>
                                              <a:dgm id="{3E6263A7-9A46-4994-BAC3-91FA9F1B04C7}"/>
                                            </p:graphicEl>
                                          </p:spTgt>
                                        </p:tgtEl>
                                        <p:attrNameLst>
                                          <p:attrName>style.visibility</p:attrName>
                                        </p:attrNameLst>
                                      </p:cBhvr>
                                      <p:to>
                                        <p:strVal val="visible"/>
                                      </p:to>
                                    </p:set>
                                    <p:animEffect transition="in" filter="fade">
                                      <p:cBhvr>
                                        <p:cTn id="31" dur="500"/>
                                        <p:tgtEl>
                                          <p:spTgt spid="8">
                                            <p:graphicEl>
                                              <a:dgm id="{3E6263A7-9A46-4994-BAC3-91FA9F1B04C7}"/>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graphicEl>
                                              <a:dgm id="{A7A301A0-80D4-4223-A864-BB174852226F}"/>
                                            </p:graphicEl>
                                          </p:spTgt>
                                        </p:tgtEl>
                                        <p:attrNameLst>
                                          <p:attrName>style.visibility</p:attrName>
                                        </p:attrNameLst>
                                      </p:cBhvr>
                                      <p:to>
                                        <p:strVal val="visible"/>
                                      </p:to>
                                    </p:set>
                                    <p:animEffect transition="in" filter="fade">
                                      <p:cBhvr>
                                        <p:cTn id="34" dur="500"/>
                                        <p:tgtEl>
                                          <p:spTgt spid="8">
                                            <p:graphicEl>
                                              <a:dgm id="{A7A301A0-80D4-4223-A864-BB174852226F}"/>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8">
                                            <p:graphicEl>
                                              <a:dgm id="{5A47FEE4-C561-4036-B650-0EF73D090244}"/>
                                            </p:graphicEl>
                                          </p:spTgt>
                                        </p:tgtEl>
                                        <p:attrNameLst>
                                          <p:attrName>style.visibility</p:attrName>
                                        </p:attrNameLst>
                                      </p:cBhvr>
                                      <p:to>
                                        <p:strVal val="visible"/>
                                      </p:to>
                                    </p:set>
                                    <p:animEffect transition="in" filter="fade">
                                      <p:cBhvr>
                                        <p:cTn id="39" dur="500"/>
                                        <p:tgtEl>
                                          <p:spTgt spid="8">
                                            <p:graphicEl>
                                              <a:dgm id="{5A47FEE4-C561-4036-B650-0EF73D090244}"/>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graphicEl>
                                              <a:dgm id="{ABFD6B99-954F-4DE4-A369-E4F00410AC06}"/>
                                            </p:graphicEl>
                                          </p:spTgt>
                                        </p:tgtEl>
                                        <p:attrNameLst>
                                          <p:attrName>style.visibility</p:attrName>
                                        </p:attrNameLst>
                                      </p:cBhvr>
                                      <p:to>
                                        <p:strVal val="visible"/>
                                      </p:to>
                                    </p:set>
                                    <p:animEffect transition="in" filter="fade">
                                      <p:cBhvr>
                                        <p:cTn id="42" dur="500"/>
                                        <p:tgtEl>
                                          <p:spTgt spid="8">
                                            <p:graphicEl>
                                              <a:dgm id="{ABFD6B99-954F-4DE4-A369-E4F00410AC0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585729" y="165318"/>
            <a:ext cx="4908864" cy="6348247"/>
          </a:xfrm>
          <a:prstGeom prst="rect">
            <a:avLst/>
          </a:prstGeom>
        </p:spPr>
        <p:txBody>
          <a:bodyPr wrap="square" lIns="179285" tIns="143428" rIns="179285" bIns="143428">
            <a:noAutofit/>
          </a:bodyPr>
          <a:lstStyle/>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ata Refresh Schedule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rand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lour Scheme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ont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ound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caling</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alculation Definitions</a:t>
            </a:r>
          </a:p>
          <a:p>
            <a:pPr marL="0" marR="0" lvl="0" indent="0" algn="l" defTabSz="914400" rtl="0" eaLnBrk="1" fontAlgn="auto" latinLnBrk="0" hangingPunct="1">
              <a:lnSpc>
                <a:spcPct val="25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ev / QA / Production</a:t>
            </a:r>
          </a:p>
          <a:p>
            <a:pPr marL="0" marR="0" lvl="0" indent="0" algn="l" defTabSz="914400" rtl="0" eaLnBrk="1" fontAlgn="auto" latinLnBrk="0" hangingPunct="1">
              <a:lnSpc>
                <a:spcPct val="25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vironment and Report Consistency</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28" name="Graphic 27" descr="Ribbon">
            <a:extLst>
              <a:ext uri="{FF2B5EF4-FFF2-40B4-BE49-F238E27FC236}">
                <a16:creationId xmlns:a16="http://schemas.microsoft.com/office/drawing/2014/main" id="{8A1FFAF0-E069-4859-98AD-28B26C9989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075" y="2041597"/>
            <a:ext cx="674152" cy="674152"/>
          </a:xfrm>
          <a:prstGeom prst="rect">
            <a:avLst/>
          </a:prstGeom>
        </p:spPr>
      </p:pic>
      <p:pic>
        <p:nvPicPr>
          <p:cNvPr id="30" name="Graphic 29" descr="Small paint brush">
            <a:extLst>
              <a:ext uri="{FF2B5EF4-FFF2-40B4-BE49-F238E27FC236}">
                <a16:creationId xmlns:a16="http://schemas.microsoft.com/office/drawing/2014/main" id="{432813C8-5B29-4FD3-9240-708D5BCD1A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26075" y="2737301"/>
            <a:ext cx="674152" cy="674152"/>
          </a:xfrm>
          <a:prstGeom prst="rect">
            <a:avLst/>
          </a:prstGeom>
        </p:spPr>
      </p:pic>
      <p:pic>
        <p:nvPicPr>
          <p:cNvPr id="32" name="Graphic 31" descr="Fence">
            <a:extLst>
              <a:ext uri="{FF2B5EF4-FFF2-40B4-BE49-F238E27FC236}">
                <a16:creationId xmlns:a16="http://schemas.microsoft.com/office/drawing/2014/main" id="{6534D962-9D76-4494-BA68-36FA07FAF3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26075" y="5791931"/>
            <a:ext cx="674152" cy="674152"/>
          </a:xfrm>
          <a:prstGeom prst="rect">
            <a:avLst/>
          </a:prstGeom>
        </p:spPr>
      </p:pic>
      <p:pic>
        <p:nvPicPr>
          <p:cNvPr id="34" name="Graphic 33" descr="Calculator">
            <a:extLst>
              <a:ext uri="{FF2B5EF4-FFF2-40B4-BE49-F238E27FC236}">
                <a16:creationId xmlns:a16="http://schemas.microsoft.com/office/drawing/2014/main" id="{271B1F8E-0D21-4002-9CA4-49AF755DB8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6075" y="1233813"/>
            <a:ext cx="674152" cy="674152"/>
          </a:xfrm>
          <a:prstGeom prst="rect">
            <a:avLst/>
          </a:prstGeom>
        </p:spPr>
      </p:pic>
      <p:pic>
        <p:nvPicPr>
          <p:cNvPr id="36" name="Graphic 35" descr="Scale">
            <a:extLst>
              <a:ext uri="{FF2B5EF4-FFF2-40B4-BE49-F238E27FC236}">
                <a16:creationId xmlns:a16="http://schemas.microsoft.com/office/drawing/2014/main" id="{0FBE0D58-54A9-4A3F-99F4-4F28252DD64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26075" y="5009418"/>
            <a:ext cx="674152" cy="674152"/>
          </a:xfrm>
          <a:prstGeom prst="rect">
            <a:avLst/>
          </a:prstGeom>
        </p:spPr>
      </p:pic>
      <p:pic>
        <p:nvPicPr>
          <p:cNvPr id="38" name="Graphic 37" descr="Watch">
            <a:extLst>
              <a:ext uri="{FF2B5EF4-FFF2-40B4-BE49-F238E27FC236}">
                <a16:creationId xmlns:a16="http://schemas.microsoft.com/office/drawing/2014/main" id="{80F8B9FF-2E0E-46CB-A0B4-1B6B0067B3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26075" y="443632"/>
            <a:ext cx="674152" cy="674152"/>
          </a:xfrm>
          <a:prstGeom prst="rect">
            <a:avLst/>
          </a:prstGeom>
        </p:spPr>
      </p:pic>
      <p:sp>
        <p:nvSpPr>
          <p:cNvPr id="39" name="TextBox 38">
            <a:extLst>
              <a:ext uri="{FF2B5EF4-FFF2-40B4-BE49-F238E27FC236}">
                <a16:creationId xmlns:a16="http://schemas.microsoft.com/office/drawing/2014/main" id="{EB9FA51A-C667-4ED1-BC74-9DFB7FDC53FF}"/>
              </a:ext>
            </a:extLst>
          </p:cNvPr>
          <p:cNvSpPr txBox="1"/>
          <p:nvPr/>
        </p:nvSpPr>
        <p:spPr>
          <a:xfrm>
            <a:off x="5495555" y="3536968"/>
            <a:ext cx="93519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solidFill>
                    <a:prstClr val="black"/>
                  </a:solidFill>
                </a:ln>
                <a:solidFill>
                  <a:prstClr val="white"/>
                </a:solidFill>
                <a:effectLst/>
                <a:uLnTx/>
                <a:uFillTx/>
                <a:latin typeface="Segoe UI"/>
                <a:ea typeface="+mn-ea"/>
                <a:cs typeface="+mn-cs"/>
              </a:rPr>
              <a:t>ABC</a:t>
            </a:r>
            <a:endParaRPr kumimoji="0" lang="en-US" sz="24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23822FFA-1BD9-49A7-A25C-0E7FD451CCF4}"/>
              </a:ext>
            </a:extLst>
          </p:cNvPr>
          <p:cNvSpPr txBox="1"/>
          <p:nvPr/>
        </p:nvSpPr>
        <p:spPr>
          <a:xfrm>
            <a:off x="5528417" y="4273193"/>
            <a:ext cx="869469"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solidFill>
                    <a:prstClr val="black"/>
                  </a:solidFill>
                </a:ln>
                <a:solidFill>
                  <a:prstClr val="white"/>
                </a:solidFill>
                <a:effectLst/>
                <a:uLnTx/>
                <a:uFillTx/>
                <a:latin typeface="Segoe UI"/>
                <a:ea typeface="+mn-ea"/>
                <a:cs typeface="+mn-cs"/>
              </a:rPr>
              <a:t>123</a:t>
            </a:r>
            <a:endParaRPr kumimoji="0" lang="en-US" sz="24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5286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0A0FE3-013C-44DC-8896-2EC6EF1C78FD}"/>
              </a:ext>
            </a:extLst>
          </p:cNvPr>
          <p:cNvSpPr>
            <a:spLocks noGrp="1"/>
          </p:cNvSpPr>
          <p:nvPr>
            <p:ph type="title"/>
          </p:nvPr>
        </p:nvSpPr>
        <p:spPr/>
        <p:txBody>
          <a:bodyPr/>
          <a:lstStyle/>
          <a:p>
            <a:r>
              <a:rPr lang="de-DE" err="1"/>
              <a:t>Maturity</a:t>
            </a:r>
            <a:r>
              <a:rPr lang="de-DE"/>
              <a:t> Level - COE</a:t>
            </a:r>
            <a:endParaRPr lang="en-US"/>
          </a:p>
        </p:txBody>
      </p:sp>
      <p:graphicFrame>
        <p:nvGraphicFramePr>
          <p:cNvPr id="4" name="Tabelle 3">
            <a:extLst>
              <a:ext uri="{FF2B5EF4-FFF2-40B4-BE49-F238E27FC236}">
                <a16:creationId xmlns:a16="http://schemas.microsoft.com/office/drawing/2014/main" id="{E961BD8E-B8AB-4F8D-B2D6-165124AD7459}"/>
              </a:ext>
            </a:extLst>
          </p:cNvPr>
          <p:cNvGraphicFramePr/>
          <p:nvPr/>
        </p:nvGraphicFramePr>
        <p:xfrm>
          <a:off x="849351" y="1192006"/>
          <a:ext cx="10493298" cy="5665995"/>
        </p:xfrm>
        <a:graphic>
          <a:graphicData uri="http://schemas.openxmlformats.org/drawingml/2006/table">
            <a:tbl>
              <a:tblPr>
                <a:tableStyleId>{5C22544A-7EE6-4342-B048-85BDC9FD1C3A}</a:tableStyleId>
              </a:tblPr>
              <a:tblGrid>
                <a:gridCol w="1661532">
                  <a:extLst>
                    <a:ext uri="{9D8B030D-6E8A-4147-A177-3AD203B41FA5}">
                      <a16:colId xmlns:a16="http://schemas.microsoft.com/office/drawing/2014/main" val="3406732712"/>
                    </a:ext>
                  </a:extLst>
                </a:gridCol>
                <a:gridCol w="8831766">
                  <a:extLst>
                    <a:ext uri="{9D8B030D-6E8A-4147-A177-3AD203B41FA5}">
                      <a16:colId xmlns:a16="http://schemas.microsoft.com/office/drawing/2014/main" val="1994139636"/>
                    </a:ext>
                  </a:extLst>
                </a:gridCol>
              </a:tblGrid>
              <a:tr h="507979">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b="1" u="none" strike="noStrike">
                          <a:effectLst/>
                        </a:rPr>
                        <a:t>State of Power BI Center of Excellence</a:t>
                      </a:r>
                      <a:endParaRPr lang="en-US" sz="1600" b="1"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876022863"/>
                  </a:ext>
                </a:extLst>
              </a:tr>
              <a:tr h="1092419">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One or more COEs exist, or the activities are performed within the BI team or IT. There's no clarity on the specific goals nor expectations for responsibilities.</a:t>
                      </a:r>
                      <a:br>
                        <a:rPr lang="en-US" sz="1600" u="none" strike="noStrike">
                          <a:effectLst/>
                        </a:rPr>
                      </a:br>
                      <a:r>
                        <a:rPr lang="en-US" sz="1600" u="none" strike="noStrike">
                          <a:effectLst/>
                        </a:rPr>
                        <a:t>Requests for assistance from the COE are handled in an unplanned manner.</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4086815167"/>
                  </a:ext>
                </a:extLst>
              </a:tr>
              <a:tr h="1092418">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COE is in place with a specific charter to mentor, guide, and educate self-service users. The COE seeks to maximize benefits of self-service BI while reducing the risks.</a:t>
                      </a:r>
                      <a:br>
                        <a:rPr lang="en-US" sz="1600" u="none" strike="noStrike">
                          <a:effectLst/>
                        </a:rPr>
                      </a:br>
                      <a:r>
                        <a:rPr lang="en-US" sz="1600" u="none" strike="noStrike">
                          <a:effectLst/>
                        </a:rPr>
                        <a:t>Goals, scope, staffing, structure, and funding are established for the CO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486119475"/>
                  </a:ext>
                </a:extLst>
              </a:tr>
              <a:tr h="553892">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COE operates with active involvement from all business units in a unified or federated mod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806671660"/>
                  </a:ext>
                </a:extLst>
              </a:tr>
              <a:tr h="1067842">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The goals of the COE align with organizational goals, and they are reassessed regularly.</a:t>
                      </a:r>
                      <a:br>
                        <a:rPr lang="en-US" sz="1600" u="none" strike="noStrike">
                          <a:effectLst/>
                        </a:rPr>
                      </a:br>
                      <a:r>
                        <a:rPr lang="en-US" sz="1600" u="none" strike="noStrike">
                          <a:effectLst/>
                        </a:rPr>
                        <a:t>The COE is well-known throughout the organization, and consistently proves its value to the internal user community.</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1715147832"/>
                  </a:ext>
                </a:extLst>
              </a:tr>
              <a:tr h="1351445">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6301" marR="26301" marT="13151" marB="13151"/>
                </a:tc>
                <a:tc>
                  <a:txBody>
                    <a:bodyPr/>
                    <a:lstStyle/>
                    <a:p>
                      <a:pPr algn="l" fontAlgn="t">
                        <a:spcBef>
                          <a:spcPts val="0"/>
                        </a:spcBef>
                        <a:spcAft>
                          <a:spcPts val="0"/>
                        </a:spcAft>
                      </a:pPr>
                      <a:r>
                        <a:rPr lang="en-US" sz="1600" u="none" strike="noStrike">
                          <a:effectLst/>
                        </a:rPr>
                        <a:t>Regular reviews of key performance indicators evaluate COE effectiveness.</a:t>
                      </a:r>
                      <a:br>
                        <a:rPr lang="en-US" sz="1600" u="none" strike="noStrike">
                          <a:effectLst/>
                        </a:rPr>
                      </a:br>
                      <a:r>
                        <a:rPr lang="en-US" sz="1600" u="none" strike="noStrike">
                          <a:effectLst/>
                        </a:rPr>
                        <a:t>Agility and implementing continual improvements from lessons learned are top priorities for the COE.</a:t>
                      </a:r>
                      <a:endParaRPr lang="en-US" sz="1600" b="0" i="0" u="none" strike="noStrike">
                        <a:effectLst/>
                        <a:latin typeface="Arial" panose="020B0604020202020204" pitchFamily="34" charset="0"/>
                      </a:endParaRPr>
                    </a:p>
                  </a:txBody>
                  <a:tcPr marL="26301" marR="26301" marT="13151" marB="13151"/>
                </a:tc>
                <a:extLst>
                  <a:ext uri="{0D108BD9-81ED-4DB2-BD59-A6C34878D82A}">
                    <a16:rowId xmlns:a16="http://schemas.microsoft.com/office/drawing/2014/main" val="3629353791"/>
                  </a:ext>
                </a:extLst>
              </a:tr>
            </a:tbl>
          </a:graphicData>
        </a:graphic>
      </p:graphicFrame>
    </p:spTree>
    <p:extLst>
      <p:ext uri="{BB962C8B-B14F-4D97-AF65-F5344CB8AC3E}">
        <p14:creationId xmlns:p14="http://schemas.microsoft.com/office/powerpoint/2010/main" val="113979012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292767" y="1422390"/>
            <a:ext cx="10408581" cy="1655108"/>
          </a:xfrm>
        </p:spPr>
        <p:txBody>
          <a:bodyPr/>
          <a:lstStyle/>
          <a:p>
            <a:r>
              <a:rPr lang="de-DE" sz="13300"/>
              <a:t> </a:t>
            </a:r>
            <a:r>
              <a:rPr lang="de-DE" sz="4400"/>
              <a:t> </a:t>
            </a:r>
            <a:r>
              <a:rPr lang="de-DE"/>
              <a:t>Mentoring &amp; User </a:t>
            </a:r>
            <a:r>
              <a:rPr lang="de-DE" err="1"/>
              <a:t>Enablement</a:t>
            </a:r>
            <a:endParaRPr lang="de-DE" sz="44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7</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9178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a:t>Adoption</a:t>
            </a:r>
            <a:br>
              <a:rPr lang="de-DE"/>
            </a:br>
            <a:r>
              <a:rPr lang="de-DE"/>
              <a:t>Roadmap</a:t>
            </a:r>
          </a:p>
        </p:txBody>
      </p:sp>
      <p:pic>
        <p:nvPicPr>
          <p:cNvPr id="7" name="Grafik 6">
            <a:extLst>
              <a:ext uri="{FF2B5EF4-FFF2-40B4-BE49-F238E27FC236}">
                <a16:creationId xmlns:a16="http://schemas.microsoft.com/office/drawing/2014/main" id="{E372CCCD-2F84-453B-AD03-7A1A368EC8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1480" y="100041"/>
            <a:ext cx="6525421" cy="6657918"/>
          </a:xfrm>
          <a:prstGeom prst="rect">
            <a:avLst/>
          </a:prstGeom>
        </p:spPr>
      </p:pic>
    </p:spTree>
    <p:extLst>
      <p:ext uri="{BB962C8B-B14F-4D97-AF65-F5344CB8AC3E}">
        <p14:creationId xmlns:p14="http://schemas.microsoft.com/office/powerpoint/2010/main" val="132641507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635690"/>
                <a:ext cx="1713267" cy="52322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F</a:t>
                </a:r>
                <a:r>
                  <a:rPr kumimoji="0" lang="en-US" sz="1400" b="1" i="0" u="none" strike="noStrike" kern="1200" cap="none" spc="0" normalizeH="0" baseline="0" noProof="0" err="1">
                    <a:ln>
                      <a:noFill/>
                    </a:ln>
                    <a:solidFill>
                      <a:prstClr val="black"/>
                    </a:solidFill>
                    <a:effectLst/>
                    <a:uLnTx/>
                    <a:uFillTx/>
                    <a:latin typeface="Arial" pitchFamily="34" charset="0"/>
                    <a:ea typeface="Kozuka Gothic Pr6N B" pitchFamily="34" charset="-128"/>
                    <a:cs typeface="Arial" pitchFamily="34" charset="0"/>
                  </a:rPr>
                  <a:t>orms</a:t>
                </a: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 of Mentoring</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9614" y="2110888"/>
            <a:ext cx="3249319" cy="123110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imes of regularly scheduled availability where members of the community can engage with experts from the COE to receive assistance with minimal process overhead.</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949614"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Office Hours</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949614" y="5086494"/>
            <a:ext cx="3249319" cy="123110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evaluates self-service Power BI content developed by a member of the community and identifies areas of risk or opportunities for improvement.</a:t>
            </a: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949614" y="469151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Best practices reviews</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89219" y="2110888"/>
            <a:ext cx="3249319" cy="123110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form of assistance offered by the COE where a user or business unit takes advantage of the technical expertise of the COE to solve business problems with data.</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689219"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16BA9B"/>
                </a:solidFill>
                <a:effectLst/>
                <a:uLnTx/>
                <a:uFillTx/>
                <a:latin typeface="Roboto Slab Light"/>
                <a:sym typeface="Roboto Slab Light"/>
              </a:rPr>
              <a:t>Co-development projects</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9219" y="5086494"/>
            <a:ext cx="3249319" cy="49244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may get involved with complex issues escalated from the help desk. </a:t>
            </a: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689219" y="469151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Extended support</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sz="4400" b="0">
                <a:latin typeface="Segoe"/>
              </a:rPr>
              <a:t>Skills Mentoring</a:t>
            </a:r>
            <a:endParaRPr lang="en-US" sz="4400" b="0">
              <a:latin typeface="Segoe"/>
            </a:endParaRPr>
          </a:p>
        </p:txBody>
      </p:sp>
    </p:spTree>
    <p:extLst>
      <p:ext uri="{BB962C8B-B14F-4D97-AF65-F5344CB8AC3E}">
        <p14:creationId xmlns:p14="http://schemas.microsoft.com/office/powerpoint/2010/main" val="280536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iderations &amp; Key Actions</a:t>
            </a:r>
          </a:p>
        </p:txBody>
      </p:sp>
      <p:sp>
        <p:nvSpPr>
          <p:cNvPr id="3" name="Rectangle 2">
            <a:extLst>
              <a:ext uri="{FF2B5EF4-FFF2-40B4-BE49-F238E27FC236}">
                <a16:creationId xmlns:a16="http://schemas.microsoft.com/office/drawing/2014/main" id="{08F4FBD7-FD95-45E5-AC65-5CCB7288C325}"/>
              </a:ext>
            </a:extLst>
          </p:cNvPr>
          <p:cNvSpPr/>
          <p:nvPr/>
        </p:nvSpPr>
        <p:spPr>
          <a:xfrm>
            <a:off x="4302369" y="99374"/>
            <a:ext cx="7889631" cy="6758626"/>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
        <p:nvSpPr>
          <p:cNvPr id="6" name="Text Placeholder 26">
            <a:extLst>
              <a:ext uri="{FF2B5EF4-FFF2-40B4-BE49-F238E27FC236}">
                <a16:creationId xmlns:a16="http://schemas.microsoft.com/office/drawing/2014/main" id="{DFB4AE08-DE45-4DDE-9FE0-CA3AA85397B4}"/>
              </a:ext>
            </a:extLst>
          </p:cNvPr>
          <p:cNvSpPr txBox="1">
            <a:spLocks/>
          </p:cNvSpPr>
          <p:nvPr/>
        </p:nvSpPr>
        <p:spPr>
          <a:xfrm>
            <a:off x="4672989" y="1044673"/>
            <a:ext cx="6768162" cy="5813327"/>
          </a:xfrm>
          <a:prstGeom prst="rect">
            <a:avLst/>
          </a:prstGeom>
        </p:spPr>
        <p:txBody>
          <a:bodyPr/>
          <a:lst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Light"/>
                <a:ea typeface="+mn-ea"/>
                <a:cs typeface="+mn-cs"/>
              </a:rPr>
              <a:t>Establish</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regular</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1" i="0" u="none" strike="noStrike" kern="1200" cap="none" spc="0" normalizeH="0" baseline="0" noProof="0" err="1">
                <a:ln>
                  <a:noFill/>
                </a:ln>
                <a:solidFill>
                  <a:prstClr val="black"/>
                </a:solidFill>
                <a:effectLst/>
                <a:uLnTx/>
                <a:uFillTx/>
                <a:latin typeface="Segoe UI Light"/>
                <a:ea typeface="+mn-ea"/>
                <a:cs typeface="+mn-cs"/>
              </a:rPr>
              <a:t>office</a:t>
            </a:r>
            <a:r>
              <a:rPr kumimoji="0" lang="de-DE" sz="1800" b="1" i="0" u="none" strike="noStrike" kern="1200" cap="none" spc="0" normalizeH="0" baseline="0" noProof="0">
                <a:ln>
                  <a:noFill/>
                </a:ln>
                <a:solidFill>
                  <a:prstClr val="black"/>
                </a:solidFill>
                <a:effectLst/>
                <a:uLnTx/>
                <a:uFillTx/>
                <a:latin typeface="Segoe UI Light"/>
                <a:ea typeface="+mn-ea"/>
                <a:cs typeface="+mn-cs"/>
              </a:rPr>
              <a:t> </a:t>
            </a:r>
            <a:r>
              <a:rPr kumimoji="0" lang="de-DE" sz="1800" b="1" i="0" u="none" strike="noStrike" kern="1200" cap="none" spc="0" normalizeH="0" baseline="0" noProof="0" err="1">
                <a:ln>
                  <a:noFill/>
                </a:ln>
                <a:solidFill>
                  <a:prstClr val="black"/>
                </a:solidFill>
                <a:effectLst/>
                <a:uLnTx/>
                <a:uFillTx/>
                <a:latin typeface="Segoe UI Light"/>
                <a:ea typeface="+mn-ea"/>
                <a:cs typeface="+mn-cs"/>
              </a:rPr>
              <a:t>hours</a:t>
            </a:r>
            <a:r>
              <a:rPr kumimoji="0" lang="de-DE" sz="1800" b="1"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with</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set</a:t>
            </a:r>
            <a:r>
              <a:rPr kumimoji="0" lang="de-DE" sz="1800" b="0" i="0" u="none" strike="noStrike" kern="1200" cap="none" spc="0" normalizeH="0" baseline="0" noProof="0">
                <a:ln>
                  <a:noFill/>
                </a:ln>
                <a:solidFill>
                  <a:prstClr val="black"/>
                </a:solidFill>
                <a:effectLst/>
                <a:uLnTx/>
                <a:uFillTx/>
                <a:latin typeface="Segoe UI Light"/>
                <a:ea typeface="+mn-ea"/>
                <a:cs typeface="+mn-cs"/>
              </a:rPr>
              <a:t> </a:t>
            </a:r>
            <a:r>
              <a:rPr kumimoji="0" lang="de-DE" sz="1800" b="0" i="0" u="none" strike="noStrike" kern="1200" cap="none" spc="0" normalizeH="0" baseline="0" noProof="0" err="1">
                <a:ln>
                  <a:noFill/>
                </a:ln>
                <a:solidFill>
                  <a:prstClr val="black"/>
                </a:solidFill>
                <a:effectLst/>
                <a:uLnTx/>
                <a:uFillTx/>
                <a:latin typeface="Segoe UI Light"/>
                <a:ea typeface="+mn-ea"/>
                <a:cs typeface="+mn-cs"/>
              </a:rPr>
              <a:t>expectations</a:t>
            </a:r>
            <a:endParaRPr kumimoji="0" lang="de-DE" sz="1800" b="0" i="0" u="none" strike="noStrike" kern="1200" cap="none" spc="0" normalizeH="0" baseline="0" noProof="0">
              <a:ln>
                <a:noFill/>
              </a:ln>
              <a:solidFill>
                <a:prstClr val="black"/>
              </a:solidFill>
              <a:effectLst/>
              <a:uLnTx/>
              <a:uFillTx/>
              <a:latin typeface="Segoe UI Light"/>
              <a:ea typeface="+mn-ea"/>
              <a:cs typeface="+mn-cs"/>
            </a:endParaRP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nsider other types of mentoring services such as </a:t>
            </a:r>
            <a:r>
              <a:rPr kumimoji="0" lang="en-US" sz="1800" b="1" i="0" u="none" strike="noStrike" kern="1200" cap="none" spc="0" normalizeH="0" baseline="0" noProof="0">
                <a:ln>
                  <a:noFill/>
                </a:ln>
                <a:solidFill>
                  <a:prstClr val="black"/>
                </a:solidFill>
                <a:effectLst/>
                <a:uLnTx/>
                <a:uFillTx/>
                <a:latin typeface="Segoe UI Light"/>
                <a:ea typeface="+mn-ea"/>
                <a:cs typeface="+mn-cs"/>
              </a:rPr>
              <a:t>co-development projects</a:t>
            </a:r>
            <a:r>
              <a:rPr kumimoji="0" lang="en-US" sz="1800" i="0" u="none" strike="noStrike" kern="1200" cap="none" spc="0" normalizeH="0" baseline="0" noProof="0">
                <a:ln>
                  <a:noFill/>
                </a:ln>
                <a:solidFill>
                  <a:prstClr val="black"/>
                </a:solidFill>
                <a:effectLst/>
                <a:uLnTx/>
                <a:uFillTx/>
                <a:latin typeface="Segoe UI Light"/>
                <a:ea typeface="+mn-ea"/>
                <a:cs typeface="+mn-cs"/>
              </a:rPr>
              <a:t> or </a:t>
            </a:r>
            <a:r>
              <a:rPr kumimoji="0" lang="en-US" sz="1800" b="1" i="0" u="none" strike="noStrike" kern="1200" cap="none" spc="0" normalizeH="0" baseline="0" noProof="0">
                <a:ln>
                  <a:noFill/>
                </a:ln>
                <a:solidFill>
                  <a:prstClr val="black"/>
                </a:solidFill>
                <a:effectLst/>
                <a:uLnTx/>
                <a:uFillTx/>
                <a:latin typeface="Segoe UI Light"/>
                <a:ea typeface="+mn-ea"/>
                <a:cs typeface="+mn-cs"/>
              </a:rPr>
              <a:t>best practices reviews</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reate a </a:t>
            </a:r>
            <a:r>
              <a:rPr kumimoji="0" lang="en-US" sz="1800" b="1" i="0" u="none" strike="noStrike" kern="1200" cap="none" spc="0" normalizeH="0" baseline="0" noProof="0">
                <a:ln>
                  <a:noFill/>
                </a:ln>
                <a:solidFill>
                  <a:prstClr val="black"/>
                </a:solidFill>
                <a:effectLst/>
                <a:uLnTx/>
                <a:uFillTx/>
                <a:latin typeface="Segoe UI Light"/>
                <a:ea typeface="+mn-ea"/>
                <a:cs typeface="+mn-cs"/>
              </a:rPr>
              <a:t>centralized portal </a:t>
            </a:r>
            <a:r>
              <a:rPr kumimoji="0" lang="en-US" sz="1800" b="0" i="0" u="none" strike="noStrike" kern="1200" cap="none" spc="0" normalizeH="0" baseline="0" noProof="0">
                <a:ln>
                  <a:noFill/>
                </a:ln>
                <a:solidFill>
                  <a:prstClr val="black"/>
                </a:solidFill>
                <a:effectLst/>
                <a:uLnTx/>
                <a:uFillTx/>
                <a:latin typeface="Segoe UI Light"/>
                <a:ea typeface="+mn-ea"/>
                <a:cs typeface="+mn-cs"/>
              </a:rPr>
              <a:t>to serve as the hub for Power BI training, documentation, and resources</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mpile a curated list of reputable </a:t>
            </a:r>
            <a:r>
              <a:rPr kumimoji="0" lang="en-US" sz="1800" b="1" i="0" u="none" strike="noStrike" kern="1200" cap="none" spc="0" normalizeH="0" baseline="0" noProof="0">
                <a:ln>
                  <a:noFill/>
                </a:ln>
                <a:solidFill>
                  <a:prstClr val="black"/>
                </a:solidFill>
                <a:effectLst/>
                <a:uLnTx/>
                <a:uFillTx/>
                <a:latin typeface="Segoe UI Light"/>
                <a:ea typeface="+mn-ea"/>
                <a:cs typeface="+mn-cs"/>
              </a:rPr>
              <a:t>training resources </a:t>
            </a:r>
            <a:r>
              <a:rPr kumimoji="0" lang="en-US" sz="1800" b="0" i="0" u="none" strike="noStrike" kern="1200" cap="none" spc="0" normalizeH="0" baseline="0" noProof="0">
                <a:ln>
                  <a:noFill/>
                </a:ln>
                <a:solidFill>
                  <a:prstClr val="black"/>
                </a:solidFill>
                <a:effectLst/>
                <a:uLnTx/>
                <a:uFillTx/>
                <a:latin typeface="Segoe UI Light"/>
                <a:ea typeface="+mn-ea"/>
                <a:cs typeface="+mn-cs"/>
              </a:rPr>
              <a:t>that target the training needs and interests of your user community</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onsider what </a:t>
            </a:r>
            <a:r>
              <a:rPr kumimoji="0" lang="en-US" sz="1800" b="1" i="0" u="none" strike="noStrike" kern="1200" cap="none" spc="0" normalizeH="0" baseline="0" noProof="0">
                <a:ln>
                  <a:noFill/>
                </a:ln>
                <a:solidFill>
                  <a:prstClr val="black"/>
                </a:solidFill>
                <a:effectLst/>
                <a:uLnTx/>
                <a:uFillTx/>
                <a:latin typeface="Segoe UI Light"/>
                <a:ea typeface="+mn-ea"/>
                <a:cs typeface="+mn-cs"/>
              </a:rPr>
              <a:t>custom in-house training resources </a:t>
            </a:r>
            <a:r>
              <a:rPr kumimoji="0" lang="en-US" sz="1800" b="0" i="0" u="none" strike="noStrike" kern="1200" cap="none" spc="0" normalizeH="0" baseline="0" noProof="0">
                <a:ln>
                  <a:noFill/>
                </a:ln>
                <a:solidFill>
                  <a:prstClr val="black"/>
                </a:solidFill>
                <a:effectLst/>
                <a:uLnTx/>
                <a:uFillTx/>
                <a:latin typeface="Segoe UI Light"/>
                <a:ea typeface="+mn-ea"/>
                <a:cs typeface="+mn-cs"/>
              </a:rPr>
              <a:t>will be useful and worth the time investment</a:t>
            </a:r>
          </a:p>
          <a:p>
            <a:pPr marL="285750" marR="0" lvl="0" indent="-285750" algn="l" defTabSz="914367" rtl="0" eaLnBrk="1" fontAlgn="auto" latinLnBrk="0" hangingPunct="1">
              <a:lnSpc>
                <a:spcPct val="15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Light"/>
                <a:ea typeface="+mn-ea"/>
                <a:cs typeface="+mn-cs"/>
              </a:rPr>
              <a:t>Create and promote a top 3-5 list of documentation and resources that will be most useful to the user community</a:t>
            </a:r>
          </a:p>
        </p:txBody>
      </p:sp>
    </p:spTree>
    <p:extLst>
      <p:ext uri="{BB962C8B-B14F-4D97-AF65-F5344CB8AC3E}">
        <p14:creationId xmlns:p14="http://schemas.microsoft.com/office/powerpoint/2010/main" val="2590693906"/>
      </p:ext>
    </p:extLst>
  </p:cSld>
  <p:clrMapOvr>
    <a:masterClrMapping/>
  </p:clrMapOvr>
  <mc:AlternateContent xmlns:mc="http://schemas.openxmlformats.org/markup-compatibility/2006" xmlns:p14="http://schemas.microsoft.com/office/powerpoint/2010/main">
    <mc:Choice Requires="p14">
      <p:transition spd="med" p14:dur="700" advTm="86545">
        <p:fade/>
      </p:transition>
    </mc:Choice>
    <mc:Fallback xmlns="">
      <p:transition spd="med" advTm="86545">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Mentoring &amp; </a:t>
            </a:r>
            <a:r>
              <a:rPr lang="de-DE" err="1"/>
              <a:t>Enablement</a:t>
            </a:r>
            <a:endParaRPr lang="en-US"/>
          </a:p>
        </p:txBody>
      </p:sp>
      <p:graphicFrame>
        <p:nvGraphicFramePr>
          <p:cNvPr id="3" name="Tabelle 2">
            <a:extLst>
              <a:ext uri="{FF2B5EF4-FFF2-40B4-BE49-F238E27FC236}">
                <a16:creationId xmlns:a16="http://schemas.microsoft.com/office/drawing/2014/main" id="{F73D1D83-D37D-4F07-BBF9-C12BC7B80871}"/>
              </a:ext>
            </a:extLst>
          </p:cNvPr>
          <p:cNvGraphicFramePr/>
          <p:nvPr/>
        </p:nvGraphicFramePr>
        <p:xfrm>
          <a:off x="914399" y="1193180"/>
          <a:ext cx="10330543" cy="5739397"/>
        </p:xfrm>
        <a:graphic>
          <a:graphicData uri="http://schemas.openxmlformats.org/drawingml/2006/table">
            <a:tbl>
              <a:tblPr>
                <a:tableStyleId>{5C22544A-7EE6-4342-B048-85BDC9FD1C3A}</a:tableStyleId>
              </a:tblPr>
              <a:tblGrid>
                <a:gridCol w="1817915">
                  <a:extLst>
                    <a:ext uri="{9D8B030D-6E8A-4147-A177-3AD203B41FA5}">
                      <a16:colId xmlns:a16="http://schemas.microsoft.com/office/drawing/2014/main" val="1489859026"/>
                    </a:ext>
                  </a:extLst>
                </a:gridCol>
                <a:gridCol w="8512628">
                  <a:extLst>
                    <a:ext uri="{9D8B030D-6E8A-4147-A177-3AD203B41FA5}">
                      <a16:colId xmlns:a16="http://schemas.microsoft.com/office/drawing/2014/main" val="2840462753"/>
                    </a:ext>
                  </a:extLst>
                </a:gridCol>
              </a:tblGrid>
              <a:tr h="558207">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b="1" u="none" strike="noStrike">
                          <a:effectLst/>
                        </a:rPr>
                        <a:t>State of Power BI mentoring and user enablement</a:t>
                      </a:r>
                      <a:endParaRPr lang="en-US" sz="1600" b="1"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529244556"/>
                  </a:ext>
                </a:extLst>
              </a:tr>
              <a:tr h="791091">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Some documentation and resources exist, though they are siloed and inconsistent.</a:t>
                      </a:r>
                      <a:br>
                        <a:rPr lang="en-US" sz="1600" u="none" strike="noStrike">
                          <a:effectLst/>
                        </a:rPr>
                      </a:br>
                      <a:r>
                        <a:rPr lang="en-US" sz="1600" u="none" strike="noStrike">
                          <a:effectLst/>
                        </a:rPr>
                        <a:t>Few users are aware of, or take advantage of, available resources.</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3772124839"/>
                  </a:ext>
                </a:extLst>
              </a:tr>
              <a:tr h="757857">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A centralized portal exists with a library of training, documentation, and resources.</a:t>
                      </a:r>
                      <a:br>
                        <a:rPr lang="en-US" sz="1600" u="none" strike="noStrike">
                          <a:effectLst/>
                        </a:rPr>
                      </a:br>
                      <a:r>
                        <a:rPr lang="en-US" sz="1600" u="none" strike="noStrike">
                          <a:effectLst/>
                        </a:rPr>
                        <a:t>Office hours are held on a regular basis.</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1669652532"/>
                  </a:ext>
                </a:extLst>
              </a:tr>
              <a:tr h="1060413">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The centralized portal is the primary hub for community members to locate information.</a:t>
                      </a:r>
                      <a:br>
                        <a:rPr lang="en-US" sz="1600" u="none" strike="noStrike">
                          <a:effectLst/>
                        </a:rPr>
                      </a:br>
                      <a:r>
                        <a:rPr lang="en-US" sz="1600" u="none" strike="noStrike">
                          <a:effectLst/>
                        </a:rPr>
                        <a:t>The COE's skills mentoring program is in place to assist users in the community in various ways.</a:t>
                      </a:r>
                    </a:p>
                    <a:p>
                      <a:pPr algn="l" fontAlgn="t">
                        <a:spcBef>
                          <a:spcPts val="0"/>
                        </a:spcBef>
                        <a:spcAft>
                          <a:spcPts val="0"/>
                        </a:spcAft>
                      </a:pP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1540364598"/>
                  </a:ext>
                </a:extLst>
              </a:tr>
              <a:tr h="1315223">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Resources in the centralized portal are commonly referenced by champions and community members when supporting and learning from each other.</a:t>
                      </a:r>
                      <a:br>
                        <a:rPr lang="en-US" sz="1600" u="none" strike="noStrike">
                          <a:effectLst/>
                        </a:rPr>
                      </a:br>
                      <a:r>
                        <a:rPr lang="en-US" sz="1600" u="none" strike="noStrike">
                          <a:effectLst/>
                        </a:rPr>
                        <a:t>Business units regularly engage with the COE and take advantage of its skills mentoring program. Tangible business value is gained from the program.</a:t>
                      </a: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3073070942"/>
                  </a:ext>
                </a:extLst>
              </a:tr>
              <a:tr h="690574">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37406" marR="37406" marT="18703" marB="18703"/>
                </a:tc>
                <a:tc>
                  <a:txBody>
                    <a:bodyPr/>
                    <a:lstStyle/>
                    <a:p>
                      <a:pPr algn="l" fontAlgn="t">
                        <a:spcBef>
                          <a:spcPts val="0"/>
                        </a:spcBef>
                        <a:spcAft>
                          <a:spcPts val="0"/>
                        </a:spcAft>
                      </a:pPr>
                      <a:r>
                        <a:rPr lang="en-US" sz="1600" u="none" strike="noStrike">
                          <a:effectLst/>
                        </a:rPr>
                        <a:t>Documentation and resources are continually updated and improved by the COE, based on lessons learned.</a:t>
                      </a: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txBody>
                  <a:tcPr marL="37406" marR="37406" marT="18703" marB="18703"/>
                </a:tc>
                <a:extLst>
                  <a:ext uri="{0D108BD9-81ED-4DB2-BD59-A6C34878D82A}">
                    <a16:rowId xmlns:a16="http://schemas.microsoft.com/office/drawing/2014/main" val="4250477808"/>
                  </a:ext>
                </a:extLst>
              </a:tr>
            </a:tbl>
          </a:graphicData>
        </a:graphic>
      </p:graphicFrame>
    </p:spTree>
    <p:extLst>
      <p:ext uri="{BB962C8B-B14F-4D97-AF65-F5344CB8AC3E}">
        <p14:creationId xmlns:p14="http://schemas.microsoft.com/office/powerpoint/2010/main" val="131059006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292767" y="1422390"/>
            <a:ext cx="10408581" cy="1655108"/>
          </a:xfrm>
        </p:spPr>
        <p:txBody>
          <a:bodyPr/>
          <a:lstStyle/>
          <a:p>
            <a:r>
              <a:rPr lang="de-DE" sz="16000"/>
              <a:t> </a:t>
            </a:r>
            <a:r>
              <a:rPr lang="de-DE"/>
              <a:t> </a:t>
            </a:r>
            <a:r>
              <a:rPr lang="de-DE" sz="5400"/>
              <a:t>Mentoring &amp; User </a:t>
            </a:r>
            <a:r>
              <a:rPr lang="de-DE" sz="5400" err="1"/>
              <a:t>Enablement</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8</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9131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8E089F4-D410-4CA5-8865-5931CDEBEE41}"/>
              </a:ext>
            </a:extLst>
          </p:cNvPr>
          <p:cNvSpPr>
            <a:spLocks noGrp="1"/>
          </p:cNvSpPr>
          <p:nvPr>
            <p:ph type="title"/>
          </p:nvPr>
        </p:nvSpPr>
        <p:spPr>
          <a:xfrm>
            <a:off x="165100" y="2249714"/>
            <a:ext cx="3747478" cy="2358572"/>
          </a:xfrm>
        </p:spPr>
        <p:txBody>
          <a:bodyPr/>
          <a:lstStyle/>
          <a:p>
            <a:r>
              <a:rPr lang="de-DE" sz="4800"/>
              <a:t>Community </a:t>
            </a:r>
            <a:r>
              <a:rPr lang="de-DE" sz="4800" err="1"/>
              <a:t>of</a:t>
            </a:r>
            <a:r>
              <a:rPr lang="de-DE" sz="4800"/>
              <a:t> Practice</a:t>
            </a:r>
            <a:endParaRPr lang="en-US" sz="4800"/>
          </a:p>
        </p:txBody>
      </p:sp>
      <p:pic>
        <p:nvPicPr>
          <p:cNvPr id="7170" name="Picture 2" descr="Image shows the community relationships between the C O E, creators, champions, and consumers, which are described next.">
            <a:extLst>
              <a:ext uri="{FF2B5EF4-FFF2-40B4-BE49-F238E27FC236}">
                <a16:creationId xmlns:a16="http://schemas.microsoft.com/office/drawing/2014/main" id="{3D4D1DDC-BADA-4442-AB1C-F8427A77CB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7568" y="422749"/>
            <a:ext cx="7892991" cy="6012502"/>
          </a:xfrm>
          <a:prstGeom prst="rect">
            <a:avLst/>
          </a:prstGeom>
          <a:noFill/>
        </p:spPr>
      </p:pic>
    </p:spTree>
    <p:extLst>
      <p:ext uri="{BB962C8B-B14F-4D97-AF65-F5344CB8AC3E}">
        <p14:creationId xmlns:p14="http://schemas.microsoft.com/office/powerpoint/2010/main" val="210281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984944" y="403949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188742" y="403949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18874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984944" y="1407374"/>
            <a:ext cx="4810098" cy="2178634"/>
          </a:xfrm>
          <a:prstGeom prst="roundRect">
            <a:avLst>
              <a:gd name="adj" fmla="val 6999"/>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1254414" y="2110888"/>
            <a:ext cx="4329957" cy="98488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champions influence and help their colleagues in many ways including solution development, learning, skills improvement, troubleshooting, and keeping up to date.  </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1254414"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Champions Network</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1254414" y="4791854"/>
            <a:ext cx="4211666" cy="147732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mpower and reward users who work for benefit of the commun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tests with a small gift card or time o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anking based on help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eadership commun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1254414" y="439687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Incentives</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6508721" y="2110888"/>
            <a:ext cx="4236778" cy="123110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acilitate knowledge sharing among colleagues and across organization during the normal course of work or during a more structured activity, such as discussion channels, office hours with </a:t>
            </a:r>
            <a:r>
              <a:rPr kumimoji="0" lang="en-US"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E</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etc.</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496179"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16BA9B"/>
                </a:solidFill>
                <a:effectLst/>
                <a:uLnTx/>
                <a:uFillTx/>
                <a:latin typeface="Roboto Slab Light"/>
                <a:sym typeface="Roboto Slab Light"/>
              </a:rPr>
              <a:t>Knowledge Sharing</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6508720" y="4791854"/>
            <a:ext cx="4490120" cy="147732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mmunication with community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E exists and how to get help/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ere to find resources and docu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ere to find governance guidel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ow to share suggestions and id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496179" y="439687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Communication Plan</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sz="4400" b="0">
                <a:latin typeface="Segoe"/>
              </a:rPr>
              <a:t>Community </a:t>
            </a:r>
            <a:r>
              <a:rPr lang="de-DE" sz="4400" b="0" err="1">
                <a:latin typeface="Segoe"/>
              </a:rPr>
              <a:t>of</a:t>
            </a:r>
            <a:r>
              <a:rPr lang="de-DE" sz="4400" b="0">
                <a:latin typeface="Segoe"/>
              </a:rPr>
              <a:t> Practice</a:t>
            </a:r>
            <a:endParaRPr lang="en-US" sz="4400" b="0">
              <a:latin typeface="Segoe"/>
            </a:endParaRPr>
          </a:p>
        </p:txBody>
      </p:sp>
    </p:spTree>
    <p:extLst>
      <p:ext uri="{BB962C8B-B14F-4D97-AF65-F5344CB8AC3E}">
        <p14:creationId xmlns:p14="http://schemas.microsoft.com/office/powerpoint/2010/main" val="4087483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Community </a:t>
            </a:r>
            <a:r>
              <a:rPr lang="de-DE" err="1"/>
              <a:t>of</a:t>
            </a:r>
            <a:r>
              <a:rPr lang="de-DE"/>
              <a:t> Practice</a:t>
            </a:r>
            <a:endParaRPr lang="en-US"/>
          </a:p>
        </p:txBody>
      </p:sp>
      <p:graphicFrame>
        <p:nvGraphicFramePr>
          <p:cNvPr id="8" name="Tabelle 7">
            <a:extLst>
              <a:ext uri="{FF2B5EF4-FFF2-40B4-BE49-F238E27FC236}">
                <a16:creationId xmlns:a16="http://schemas.microsoft.com/office/drawing/2014/main" id="{F58A957E-1559-42D0-884A-7AA3B74411D8}"/>
              </a:ext>
            </a:extLst>
          </p:cNvPr>
          <p:cNvGraphicFramePr/>
          <p:nvPr/>
        </p:nvGraphicFramePr>
        <p:xfrm>
          <a:off x="751840" y="1203708"/>
          <a:ext cx="10688320" cy="5654292"/>
        </p:xfrm>
        <a:graphic>
          <a:graphicData uri="http://schemas.openxmlformats.org/drawingml/2006/table">
            <a:tbl>
              <a:tblPr>
                <a:tableStyleId>{5C22544A-7EE6-4342-B048-85BDC9FD1C3A}</a:tableStyleId>
              </a:tblPr>
              <a:tblGrid>
                <a:gridCol w="1765283">
                  <a:extLst>
                    <a:ext uri="{9D8B030D-6E8A-4147-A177-3AD203B41FA5}">
                      <a16:colId xmlns:a16="http://schemas.microsoft.com/office/drawing/2014/main" val="3404741661"/>
                    </a:ext>
                  </a:extLst>
                </a:gridCol>
                <a:gridCol w="8923037">
                  <a:extLst>
                    <a:ext uri="{9D8B030D-6E8A-4147-A177-3AD203B41FA5}">
                      <a16:colId xmlns:a16="http://schemas.microsoft.com/office/drawing/2014/main" val="27468960"/>
                    </a:ext>
                  </a:extLst>
                </a:gridCol>
              </a:tblGrid>
              <a:tr h="506253">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b="1" u="none" strike="noStrike">
                          <a:effectLst/>
                        </a:rPr>
                        <a:t>State of Power BI community</a:t>
                      </a:r>
                      <a:endParaRPr lang="en-US" sz="1600" b="1"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611094556"/>
                  </a:ext>
                </a:extLst>
              </a:tr>
              <a:tr h="1019985">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Some content creators do great work, but their efforts are unrecognized.</a:t>
                      </a:r>
                      <a:br>
                        <a:rPr lang="en-US" sz="1600" u="none" strike="noStrike">
                          <a:effectLst/>
                        </a:rPr>
                      </a:br>
                      <a:r>
                        <a:rPr lang="en-US" sz="1600" u="none" strike="noStrike">
                          <a:effectLst/>
                        </a:rPr>
                        <a:t>Efforts to share knowledge are rare and unstructured.</a:t>
                      </a:r>
                      <a:br>
                        <a:rPr lang="en-US" sz="1600" u="none" strike="noStrike">
                          <a:effectLst/>
                        </a:rPr>
                      </a:br>
                      <a:r>
                        <a:rPr lang="en-US" sz="1600" u="none" strike="noStrike">
                          <a:effectLst/>
                        </a:rPr>
                        <a:t>Communication is inconsis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137888504"/>
                  </a:ext>
                </a:extLst>
              </a:tr>
              <a:tr h="79754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The first set of champions are identified, and champions network goals are established.</a:t>
                      </a:r>
                      <a:br>
                        <a:rPr lang="en-US" sz="1600" u="none" strike="noStrike">
                          <a:effectLst/>
                        </a:rPr>
                      </a:br>
                      <a:r>
                        <a:rPr lang="en-US" sz="1600" u="none" strike="noStrike">
                          <a:effectLst/>
                        </a:rPr>
                        <a:t>Knowledge sharing practices gain traction and are now more consistent.</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577367865"/>
                  </a:ext>
                </a:extLst>
              </a:tr>
              <a:tr h="1225493">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Best practices are actively shared across the organization.</a:t>
                      </a:r>
                      <a:br>
                        <a:rPr lang="en-US" sz="1600" u="none" strike="noStrike">
                          <a:effectLst/>
                        </a:rPr>
                      </a:br>
                      <a:r>
                        <a:rPr lang="en-US" sz="1600" u="none" strike="noStrike">
                          <a:effectLst/>
                        </a:rPr>
                        <a:t>Knowledge sharing in multiple forms is a normal and regularly scheduled occurrence.</a:t>
                      </a:r>
                      <a:br>
                        <a:rPr lang="en-US" sz="1600" u="none" strike="noStrike">
                          <a:effectLst/>
                        </a:rPr>
                      </a:br>
                      <a:r>
                        <a:rPr lang="en-US" sz="1600" u="none" strike="noStrike">
                          <a:effectLst/>
                        </a:rPr>
                        <a:t>Goals for transparent communication with the user community are defined and executed with regularity.</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1846375502"/>
                  </a:ext>
                </a:extLst>
              </a:tr>
              <a:tr h="1283850">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Champions are established for all business units and actively support colleagues in their self-service efforts.</a:t>
                      </a:r>
                      <a:br>
                        <a:rPr lang="en-US" sz="1600" u="none" strike="noStrike">
                          <a:effectLst/>
                        </a:rPr>
                      </a:br>
                      <a:r>
                        <a:rPr lang="en-US" sz="1600" u="none" strike="noStrike">
                          <a:effectLst/>
                        </a:rPr>
                        <a:t>Incentives to recognize and reward knowledge sharing efforts are a common occurrence.</a:t>
                      </a:r>
                      <a:br>
                        <a:rPr lang="en-US" sz="1600" u="none" strike="noStrike">
                          <a:effectLst/>
                        </a:rPr>
                      </a:br>
                      <a:r>
                        <a:rPr lang="en-US" sz="1600" u="none" strike="noStrike">
                          <a:effectLst/>
                        </a:rPr>
                        <a:t>Regular and frequent communication occurs based on a predefined communication plan.</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3586972018"/>
                  </a:ext>
                </a:extLst>
              </a:tr>
              <a:tr h="821167">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25897" marR="25897" marT="12948" marB="12948"/>
                </a:tc>
                <a:tc>
                  <a:txBody>
                    <a:bodyPr/>
                    <a:lstStyle/>
                    <a:p>
                      <a:pPr algn="l" fontAlgn="t">
                        <a:spcBef>
                          <a:spcPts val="0"/>
                        </a:spcBef>
                        <a:spcAft>
                          <a:spcPts val="0"/>
                        </a:spcAft>
                      </a:pPr>
                      <a:r>
                        <a:rPr lang="en-US" sz="1600" u="none" strike="noStrike">
                          <a:effectLst/>
                        </a:rPr>
                        <a:t>Bidirectional feedback loops exist between the champions network and the COE.</a:t>
                      </a:r>
                      <a:endParaRPr lang="en-US" sz="1600" b="0" i="0" u="none" strike="noStrike">
                        <a:effectLst/>
                        <a:latin typeface="Arial" panose="020B0604020202020204" pitchFamily="34" charset="0"/>
                      </a:endParaRPr>
                    </a:p>
                  </a:txBody>
                  <a:tcPr marL="25897" marR="25897" marT="12948" marB="12948"/>
                </a:tc>
                <a:extLst>
                  <a:ext uri="{0D108BD9-81ED-4DB2-BD59-A6C34878D82A}">
                    <a16:rowId xmlns:a16="http://schemas.microsoft.com/office/drawing/2014/main" val="2415950013"/>
                  </a:ext>
                </a:extLst>
              </a:tr>
            </a:tbl>
          </a:graphicData>
        </a:graphic>
      </p:graphicFrame>
    </p:spTree>
    <p:extLst>
      <p:ext uri="{BB962C8B-B14F-4D97-AF65-F5344CB8AC3E}">
        <p14:creationId xmlns:p14="http://schemas.microsoft.com/office/powerpoint/2010/main" val="134614538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649606" y="1455843"/>
            <a:ext cx="10408581" cy="1655108"/>
          </a:xfrm>
        </p:spPr>
        <p:txBody>
          <a:bodyPr/>
          <a:lstStyle/>
          <a:p>
            <a:r>
              <a:rPr lang="de-DE" sz="16000"/>
              <a:t> </a:t>
            </a:r>
            <a:r>
              <a:rPr lang="de-DE"/>
              <a:t> </a:t>
            </a:r>
            <a:r>
              <a:rPr lang="de-DE" sz="5400"/>
              <a:t>User Support</a:t>
            </a:r>
            <a:endParaRPr lang="de-DE"/>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9</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9829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913CB3-37C7-4CD5-90C0-2C93E0207D56}"/>
              </a:ext>
            </a:extLst>
          </p:cNvPr>
          <p:cNvSpPr>
            <a:spLocks noGrp="1"/>
          </p:cNvSpPr>
          <p:nvPr>
            <p:ph type="title"/>
          </p:nvPr>
        </p:nvSpPr>
        <p:spPr/>
        <p:txBody>
          <a:bodyPr/>
          <a:lstStyle/>
          <a:p>
            <a:r>
              <a:rPr lang="de-DE"/>
              <a:t>User Support</a:t>
            </a:r>
            <a:endParaRPr lang="en-US"/>
          </a:p>
        </p:txBody>
      </p:sp>
      <p:pic>
        <p:nvPicPr>
          <p:cNvPr id="12290" name="Picture 2" descr="Image shows the four types of internal Power B I user support, and the two types of external support, which are described in the table below.">
            <a:extLst>
              <a:ext uri="{FF2B5EF4-FFF2-40B4-BE49-F238E27FC236}">
                <a16:creationId xmlns:a16="http://schemas.microsoft.com/office/drawing/2014/main" id="{328A2CE3-AA38-44FA-A229-B76BFAE5AA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9675" y="1533875"/>
            <a:ext cx="9772650" cy="2162175"/>
          </a:xfrm>
          <a:prstGeom prst="rect">
            <a:avLst/>
          </a:prstGeom>
          <a:noFill/>
        </p:spPr>
      </p:pic>
      <p:pic>
        <p:nvPicPr>
          <p:cNvPr id="5" name="Grafik 4">
            <a:extLst>
              <a:ext uri="{FF2B5EF4-FFF2-40B4-BE49-F238E27FC236}">
                <a16:creationId xmlns:a16="http://schemas.microsoft.com/office/drawing/2014/main" id="{01E7E16B-1A6A-496E-9D4E-4D7E7474A820}"/>
              </a:ext>
            </a:extLst>
          </p:cNvPr>
          <p:cNvPicPr>
            <a:picLocks noChangeAspect="1"/>
          </p:cNvPicPr>
          <p:nvPr/>
        </p:nvPicPr>
        <p:blipFill>
          <a:blip r:embed="rId4"/>
          <a:stretch>
            <a:fillRect/>
          </a:stretch>
        </p:blipFill>
        <p:spPr>
          <a:xfrm>
            <a:off x="1332758" y="4216831"/>
            <a:ext cx="360000" cy="360000"/>
          </a:xfrm>
          <a:prstGeom prst="rect">
            <a:avLst/>
          </a:prstGeom>
        </p:spPr>
      </p:pic>
      <p:pic>
        <p:nvPicPr>
          <p:cNvPr id="7" name="Grafik 6">
            <a:extLst>
              <a:ext uri="{FF2B5EF4-FFF2-40B4-BE49-F238E27FC236}">
                <a16:creationId xmlns:a16="http://schemas.microsoft.com/office/drawing/2014/main" id="{2699C9F4-1FC9-4E16-882C-9AD40355A7A0}"/>
              </a:ext>
            </a:extLst>
          </p:cNvPr>
          <p:cNvPicPr>
            <a:picLocks noChangeAspect="1"/>
          </p:cNvPicPr>
          <p:nvPr/>
        </p:nvPicPr>
        <p:blipFill>
          <a:blip r:embed="rId5"/>
          <a:stretch>
            <a:fillRect/>
          </a:stretch>
        </p:blipFill>
        <p:spPr>
          <a:xfrm>
            <a:off x="1332758" y="5071233"/>
            <a:ext cx="360000" cy="360000"/>
          </a:xfrm>
          <a:prstGeom prst="rect">
            <a:avLst/>
          </a:prstGeom>
        </p:spPr>
      </p:pic>
      <p:pic>
        <p:nvPicPr>
          <p:cNvPr id="9" name="Grafik 8">
            <a:extLst>
              <a:ext uri="{FF2B5EF4-FFF2-40B4-BE49-F238E27FC236}">
                <a16:creationId xmlns:a16="http://schemas.microsoft.com/office/drawing/2014/main" id="{F5E4E1BE-C74E-4312-98BB-87799EB160F0}"/>
              </a:ext>
            </a:extLst>
          </p:cNvPr>
          <p:cNvPicPr>
            <a:picLocks noChangeAspect="1"/>
          </p:cNvPicPr>
          <p:nvPr/>
        </p:nvPicPr>
        <p:blipFill>
          <a:blip r:embed="rId6"/>
          <a:stretch>
            <a:fillRect/>
          </a:stretch>
        </p:blipFill>
        <p:spPr>
          <a:xfrm>
            <a:off x="1332758" y="5861511"/>
            <a:ext cx="360000" cy="360000"/>
          </a:xfrm>
          <a:prstGeom prst="rect">
            <a:avLst/>
          </a:prstGeom>
        </p:spPr>
      </p:pic>
      <p:sp>
        <p:nvSpPr>
          <p:cNvPr id="12" name="Textfeld 11">
            <a:extLst>
              <a:ext uri="{FF2B5EF4-FFF2-40B4-BE49-F238E27FC236}">
                <a16:creationId xmlns:a16="http://schemas.microsoft.com/office/drawing/2014/main" id="{52E058C0-B6F7-4AB9-B840-C8141ED8F887}"/>
              </a:ext>
            </a:extLst>
          </p:cNvPr>
          <p:cNvSpPr txBox="1"/>
          <p:nvPr/>
        </p:nvSpPr>
        <p:spPr>
          <a:xfrm>
            <a:off x="2277637" y="4108323"/>
            <a:ext cx="609414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ra-team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s very informal. Support occurs when team members learn from each other during the natural course of their job.</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4" name="Textfeld 13">
            <a:extLst>
              <a:ext uri="{FF2B5EF4-FFF2-40B4-BE49-F238E27FC236}">
                <a16:creationId xmlns:a16="http://schemas.microsoft.com/office/drawing/2014/main" id="{8C04C483-22DB-4606-876A-271E952B2EAE}"/>
              </a:ext>
            </a:extLst>
          </p:cNvPr>
          <p:cNvSpPr txBox="1"/>
          <p:nvPr/>
        </p:nvSpPr>
        <p:spPr>
          <a:xfrm>
            <a:off x="2277637" y="4968839"/>
            <a:ext cx="609414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ernal community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can be organized informally, formally, or both. It occurs when colleagues interact with each other via internal community channels.</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6" name="Textfeld 15">
            <a:extLst>
              <a:ext uri="{FF2B5EF4-FFF2-40B4-BE49-F238E27FC236}">
                <a16:creationId xmlns:a16="http://schemas.microsoft.com/office/drawing/2014/main" id="{491491EC-F14C-47E7-83BA-DE30C205DE46}"/>
              </a:ext>
            </a:extLst>
          </p:cNvPr>
          <p:cNvSpPr txBox="1"/>
          <p:nvPr/>
        </p:nvSpPr>
        <p:spPr>
          <a:xfrm>
            <a:off x="2277637" y="5855355"/>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elp desk support (internal) </a:t>
            </a:r>
            <a:r>
              <a:rPr kumimoji="0" lang="en-US" sz="1600" b="0" i="0" u="none" strike="noStrike" kern="1200" cap="none" spc="0" normalizeH="0" baseline="0" noProof="0">
                <a:ln>
                  <a:noFill/>
                </a:ln>
                <a:solidFill>
                  <a:prstClr val="black"/>
                </a:solidFill>
                <a:effectLst/>
                <a:uLnTx/>
                <a:uFillTx/>
                <a:latin typeface="Segoe UI"/>
                <a:ea typeface="+mn-ea"/>
                <a:cs typeface="+mn-cs"/>
              </a:rPr>
              <a:t>handles formal support issues and requests.</a:t>
            </a:r>
          </a:p>
        </p:txBody>
      </p:sp>
    </p:spTree>
    <p:extLst>
      <p:ext uri="{BB962C8B-B14F-4D97-AF65-F5344CB8AC3E}">
        <p14:creationId xmlns:p14="http://schemas.microsoft.com/office/powerpoint/2010/main" val="24995404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913CB3-37C7-4CD5-90C0-2C93E0207D56}"/>
              </a:ext>
            </a:extLst>
          </p:cNvPr>
          <p:cNvSpPr>
            <a:spLocks noGrp="1"/>
          </p:cNvSpPr>
          <p:nvPr>
            <p:ph type="title"/>
          </p:nvPr>
        </p:nvSpPr>
        <p:spPr/>
        <p:txBody>
          <a:bodyPr/>
          <a:lstStyle/>
          <a:p>
            <a:r>
              <a:rPr lang="de-DE"/>
              <a:t>User Support</a:t>
            </a:r>
            <a:endParaRPr lang="en-US"/>
          </a:p>
        </p:txBody>
      </p:sp>
      <p:pic>
        <p:nvPicPr>
          <p:cNvPr id="12290" name="Picture 2" descr="Image shows the four types of internal Power B I user support, and the two types of external support, which are described in the table below.">
            <a:extLst>
              <a:ext uri="{FF2B5EF4-FFF2-40B4-BE49-F238E27FC236}">
                <a16:creationId xmlns:a16="http://schemas.microsoft.com/office/drawing/2014/main" id="{328A2CE3-AA38-44FA-A229-B76BFAE5AA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9675" y="1533875"/>
            <a:ext cx="9772650" cy="2162175"/>
          </a:xfrm>
          <a:prstGeom prst="rect">
            <a:avLst/>
          </a:prstGeom>
          <a:noFill/>
        </p:spPr>
      </p:pic>
      <p:pic>
        <p:nvPicPr>
          <p:cNvPr id="5" name="Grafik 4">
            <a:extLst>
              <a:ext uri="{FF2B5EF4-FFF2-40B4-BE49-F238E27FC236}">
                <a16:creationId xmlns:a16="http://schemas.microsoft.com/office/drawing/2014/main" id="{01E7E16B-1A6A-496E-9D4E-4D7E7474A820}"/>
              </a:ext>
            </a:extLst>
          </p:cNvPr>
          <p:cNvPicPr>
            <a:picLocks noChangeAspect="1"/>
          </p:cNvPicPr>
          <p:nvPr/>
        </p:nvPicPr>
        <p:blipFill>
          <a:blip r:embed="rId4"/>
          <a:stretch>
            <a:fillRect/>
          </a:stretch>
        </p:blipFill>
        <p:spPr>
          <a:xfrm>
            <a:off x="1332758" y="4216831"/>
            <a:ext cx="360000" cy="360000"/>
          </a:xfrm>
          <a:prstGeom prst="rect">
            <a:avLst/>
          </a:prstGeom>
        </p:spPr>
      </p:pic>
      <p:pic>
        <p:nvPicPr>
          <p:cNvPr id="7" name="Grafik 6">
            <a:extLst>
              <a:ext uri="{FF2B5EF4-FFF2-40B4-BE49-F238E27FC236}">
                <a16:creationId xmlns:a16="http://schemas.microsoft.com/office/drawing/2014/main" id="{2699C9F4-1FC9-4E16-882C-9AD40355A7A0}"/>
              </a:ext>
            </a:extLst>
          </p:cNvPr>
          <p:cNvPicPr>
            <a:picLocks noChangeAspect="1"/>
          </p:cNvPicPr>
          <p:nvPr/>
        </p:nvPicPr>
        <p:blipFill>
          <a:blip r:embed="rId5"/>
          <a:stretch>
            <a:fillRect/>
          </a:stretch>
        </p:blipFill>
        <p:spPr>
          <a:xfrm>
            <a:off x="1332758" y="5071233"/>
            <a:ext cx="360000" cy="360000"/>
          </a:xfrm>
          <a:prstGeom prst="rect">
            <a:avLst/>
          </a:prstGeom>
        </p:spPr>
      </p:pic>
      <p:pic>
        <p:nvPicPr>
          <p:cNvPr id="9" name="Grafik 8">
            <a:extLst>
              <a:ext uri="{FF2B5EF4-FFF2-40B4-BE49-F238E27FC236}">
                <a16:creationId xmlns:a16="http://schemas.microsoft.com/office/drawing/2014/main" id="{F5E4E1BE-C74E-4312-98BB-87799EB160F0}"/>
              </a:ext>
            </a:extLst>
          </p:cNvPr>
          <p:cNvPicPr>
            <a:picLocks noChangeAspect="1"/>
          </p:cNvPicPr>
          <p:nvPr/>
        </p:nvPicPr>
        <p:blipFill>
          <a:blip r:embed="rId6"/>
          <a:stretch>
            <a:fillRect/>
          </a:stretch>
        </p:blipFill>
        <p:spPr>
          <a:xfrm>
            <a:off x="1332758" y="5861511"/>
            <a:ext cx="360000" cy="360000"/>
          </a:xfrm>
          <a:prstGeom prst="rect">
            <a:avLst/>
          </a:prstGeom>
        </p:spPr>
      </p:pic>
      <p:sp>
        <p:nvSpPr>
          <p:cNvPr id="12" name="Textfeld 11">
            <a:extLst>
              <a:ext uri="{FF2B5EF4-FFF2-40B4-BE49-F238E27FC236}">
                <a16:creationId xmlns:a16="http://schemas.microsoft.com/office/drawing/2014/main" id="{52E058C0-B6F7-4AB9-B840-C8141ED8F887}"/>
              </a:ext>
            </a:extLst>
          </p:cNvPr>
          <p:cNvSpPr txBox="1"/>
          <p:nvPr/>
        </p:nvSpPr>
        <p:spPr>
          <a:xfrm>
            <a:off x="2277637" y="4152927"/>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Extended support (in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volves handling complex issues escalated by the help desk.</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14" name="Textfeld 13">
            <a:extLst>
              <a:ext uri="{FF2B5EF4-FFF2-40B4-BE49-F238E27FC236}">
                <a16:creationId xmlns:a16="http://schemas.microsoft.com/office/drawing/2014/main" id="{8C04C483-22DB-4606-876A-271E952B2EAE}"/>
              </a:ext>
            </a:extLst>
          </p:cNvPr>
          <p:cNvSpPr txBox="1"/>
          <p:nvPr/>
        </p:nvSpPr>
        <p:spPr>
          <a:xfrm>
            <a:off x="2277637" y="5004327"/>
            <a:ext cx="609414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Microsoft support (ex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cludes support for licensed users and administrators.</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pic>
        <p:nvPicPr>
          <p:cNvPr id="4" name="Grafik 3">
            <a:extLst>
              <a:ext uri="{FF2B5EF4-FFF2-40B4-BE49-F238E27FC236}">
                <a16:creationId xmlns:a16="http://schemas.microsoft.com/office/drawing/2014/main" id="{6FB38EDA-A817-4976-B60B-FD7314B1B57F}"/>
              </a:ext>
            </a:extLst>
          </p:cNvPr>
          <p:cNvPicPr>
            <a:picLocks noChangeAspect="1"/>
          </p:cNvPicPr>
          <p:nvPr/>
        </p:nvPicPr>
        <p:blipFill>
          <a:blip r:embed="rId7"/>
          <a:stretch>
            <a:fillRect/>
          </a:stretch>
        </p:blipFill>
        <p:spPr>
          <a:xfrm>
            <a:off x="1348005" y="4213606"/>
            <a:ext cx="360000" cy="360000"/>
          </a:xfrm>
          <a:prstGeom prst="rect">
            <a:avLst/>
          </a:prstGeom>
        </p:spPr>
      </p:pic>
      <p:pic>
        <p:nvPicPr>
          <p:cNvPr id="8" name="Grafik 7">
            <a:extLst>
              <a:ext uri="{FF2B5EF4-FFF2-40B4-BE49-F238E27FC236}">
                <a16:creationId xmlns:a16="http://schemas.microsoft.com/office/drawing/2014/main" id="{699728BE-7883-46A8-A978-B673190C8DD4}"/>
              </a:ext>
            </a:extLst>
          </p:cNvPr>
          <p:cNvPicPr>
            <a:picLocks noChangeAspect="1"/>
          </p:cNvPicPr>
          <p:nvPr/>
        </p:nvPicPr>
        <p:blipFill>
          <a:blip r:embed="rId8"/>
          <a:stretch>
            <a:fillRect/>
          </a:stretch>
        </p:blipFill>
        <p:spPr>
          <a:xfrm>
            <a:off x="1336854" y="5071233"/>
            <a:ext cx="360000" cy="360000"/>
          </a:xfrm>
          <a:prstGeom prst="rect">
            <a:avLst/>
          </a:prstGeom>
        </p:spPr>
      </p:pic>
      <p:pic>
        <p:nvPicPr>
          <p:cNvPr id="11" name="Grafik 10">
            <a:extLst>
              <a:ext uri="{FF2B5EF4-FFF2-40B4-BE49-F238E27FC236}">
                <a16:creationId xmlns:a16="http://schemas.microsoft.com/office/drawing/2014/main" id="{42049ADA-4840-4876-8432-E9CEA0EDF407}"/>
              </a:ext>
            </a:extLst>
          </p:cNvPr>
          <p:cNvPicPr>
            <a:picLocks noChangeAspect="1"/>
          </p:cNvPicPr>
          <p:nvPr/>
        </p:nvPicPr>
        <p:blipFill>
          <a:blip r:embed="rId9"/>
          <a:stretch>
            <a:fillRect/>
          </a:stretch>
        </p:blipFill>
        <p:spPr>
          <a:xfrm>
            <a:off x="1336854" y="5861511"/>
            <a:ext cx="360000" cy="360000"/>
          </a:xfrm>
          <a:prstGeom prst="rect">
            <a:avLst/>
          </a:prstGeom>
        </p:spPr>
      </p:pic>
      <p:sp>
        <p:nvSpPr>
          <p:cNvPr id="16" name="Textfeld 15">
            <a:extLst>
              <a:ext uri="{FF2B5EF4-FFF2-40B4-BE49-F238E27FC236}">
                <a16:creationId xmlns:a16="http://schemas.microsoft.com/office/drawing/2014/main" id="{5ED8E1B0-64DA-47AD-9DE7-2E323003F0F1}"/>
              </a:ext>
            </a:extLst>
          </p:cNvPr>
          <p:cNvSpPr txBox="1"/>
          <p:nvPr/>
        </p:nvSpPr>
        <p:spPr>
          <a:xfrm>
            <a:off x="2277637" y="5818109"/>
            <a:ext cx="630880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Community support (external)</a:t>
            </a: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includes the worldwide community of Power BI experts, Microsoft MVPs, and enthusiasts who participate in forums and publish content.</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751321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82F21C-D2F1-4E99-8DE8-548305754226}"/>
              </a:ext>
            </a:extLst>
          </p:cNvPr>
          <p:cNvSpPr>
            <a:spLocks noGrp="1"/>
          </p:cNvSpPr>
          <p:nvPr>
            <p:ph type="title"/>
          </p:nvPr>
        </p:nvSpPr>
        <p:spPr/>
        <p:txBody>
          <a:bodyPr/>
          <a:lstStyle/>
          <a:p>
            <a:r>
              <a:rPr lang="de-DE" err="1"/>
              <a:t>Types</a:t>
            </a:r>
            <a:r>
              <a:rPr lang="de-DE"/>
              <a:t> </a:t>
            </a:r>
            <a:r>
              <a:rPr lang="de-DE" err="1"/>
              <a:t>of</a:t>
            </a:r>
            <a:r>
              <a:rPr lang="de-DE"/>
              <a:t> </a:t>
            </a:r>
            <a:r>
              <a:rPr lang="de-DE" err="1"/>
              <a:t>Adoptions</a:t>
            </a:r>
            <a:endParaRPr lang="en-US"/>
          </a:p>
        </p:txBody>
      </p:sp>
      <p:pic>
        <p:nvPicPr>
          <p:cNvPr id="1026" name="Picture 2" descr="Image shows the three inter-related types of Power B I adoption, which are described in the table below.">
            <a:extLst>
              <a:ext uri="{FF2B5EF4-FFF2-40B4-BE49-F238E27FC236}">
                <a16:creationId xmlns:a16="http://schemas.microsoft.com/office/drawing/2014/main" id="{AD8F5060-3D8F-4346-973E-EE7F0B644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4192" y="1689410"/>
            <a:ext cx="7483616" cy="4183852"/>
          </a:xfrm>
          <a:prstGeom prst="rect">
            <a:avLst/>
          </a:prstGeom>
          <a:noFill/>
        </p:spPr>
      </p:pic>
    </p:spTree>
    <p:extLst>
      <p:ext uri="{BB962C8B-B14F-4D97-AF65-F5344CB8AC3E}">
        <p14:creationId xmlns:p14="http://schemas.microsoft.com/office/powerpoint/2010/main" val="350420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ypes of Support</a:t>
            </a:r>
          </a:p>
        </p:txBody>
      </p:sp>
      <p:sp>
        <p:nvSpPr>
          <p:cNvPr id="7" name="TextBox 6"/>
          <p:cNvSpPr txBox="1"/>
          <p:nvPr/>
        </p:nvSpPr>
        <p:spPr>
          <a:xfrm>
            <a:off x="7988326" y="812948"/>
            <a:ext cx="2497015"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reak-fix</a:t>
            </a:r>
          </a:p>
        </p:txBody>
      </p:sp>
      <p:sp>
        <p:nvSpPr>
          <p:cNvPr id="8" name="Rectangle 7"/>
          <p:cNvSpPr/>
          <p:nvPr/>
        </p:nvSpPr>
        <p:spPr>
          <a:xfrm>
            <a:off x="8372460" y="3387109"/>
            <a:ext cx="314220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Minor Enhancements</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
        <p:nvSpPr>
          <p:cNvPr id="9" name="Rectangle 8"/>
          <p:cNvSpPr/>
          <p:nvPr/>
        </p:nvSpPr>
        <p:spPr>
          <a:xfrm>
            <a:off x="9644608" y="5489561"/>
            <a:ext cx="179247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nablement</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pic>
        <p:nvPicPr>
          <p:cNvPr id="10" name="Picture 9" descr="A close up of a logo&#10;&#10;Description generated with very high confidence">
            <a:extLst>
              <a:ext uri="{FF2B5EF4-FFF2-40B4-BE49-F238E27FC236}">
                <a16:creationId xmlns:a16="http://schemas.microsoft.com/office/drawing/2014/main" id="{BD508F56-868A-45D0-935D-C8E94420C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1853" y="518959"/>
            <a:ext cx="2908040" cy="1817525"/>
          </a:xfrm>
          <a:prstGeom prst="rect">
            <a:avLst/>
          </a:prstGeom>
        </p:spPr>
      </p:pic>
      <p:pic>
        <p:nvPicPr>
          <p:cNvPr id="12" name="Picture 11" descr="A close up of a device&#10;&#10;Description generated with very high confidence">
            <a:extLst>
              <a:ext uri="{FF2B5EF4-FFF2-40B4-BE49-F238E27FC236}">
                <a16:creationId xmlns:a16="http://schemas.microsoft.com/office/drawing/2014/main" id="{F0A0C3CB-0B4B-457A-BF5C-FDA8023A9A55}"/>
              </a:ext>
            </a:extLst>
          </p:cNvPr>
          <p:cNvPicPr>
            <a:picLocks noChangeAspect="1"/>
          </p:cNvPicPr>
          <p:nvPr/>
        </p:nvPicPr>
        <p:blipFill rotWithShape="1">
          <a:blip r:embed="rId5">
            <a:extLst>
              <a:ext uri="{28A0092B-C50C-407E-A947-70E740481C1C}">
                <a14:useLocalDpi xmlns:a14="http://schemas.microsoft.com/office/drawing/2010/main" val="0"/>
              </a:ext>
            </a:extLst>
          </a:blip>
          <a:srcRect l="6834" t="13974" r="48133" b="26088"/>
          <a:stretch/>
        </p:blipFill>
        <p:spPr>
          <a:xfrm>
            <a:off x="6037088" y="2699507"/>
            <a:ext cx="1771399" cy="1473578"/>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D9A9531D-311B-4645-92FC-7D5059982A8A}"/>
              </a:ext>
            </a:extLst>
          </p:cNvPr>
          <p:cNvPicPr>
            <a:picLocks noChangeAspect="1"/>
          </p:cNvPicPr>
          <p:nvPr/>
        </p:nvPicPr>
        <p:blipFill rotWithShape="1">
          <a:blip r:embed="rId6">
            <a:extLst>
              <a:ext uri="{28A0092B-C50C-407E-A947-70E740481C1C}">
                <a14:useLocalDpi xmlns:a14="http://schemas.microsoft.com/office/drawing/2010/main" val="0"/>
              </a:ext>
            </a:extLst>
          </a:blip>
          <a:srcRect l="24413" t="18111" r="30333" b="32800"/>
          <a:stretch/>
        </p:blipFill>
        <p:spPr>
          <a:xfrm>
            <a:off x="7372725" y="5061142"/>
            <a:ext cx="1828711" cy="1239821"/>
          </a:xfrm>
          <a:prstGeom prst="rect">
            <a:avLst/>
          </a:prstGeom>
        </p:spPr>
      </p:pic>
    </p:spTree>
    <p:custDataLst>
      <p:tags r:id="rId1"/>
    </p:custDataLst>
    <p:extLst>
      <p:ext uri="{BB962C8B-B14F-4D97-AF65-F5344CB8AC3E}">
        <p14:creationId xmlns:p14="http://schemas.microsoft.com/office/powerpoint/2010/main" val="68394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a:t>
            </a:r>
          </a:p>
        </p:txBody>
      </p:sp>
      <p:sp>
        <p:nvSpPr>
          <p:cNvPr id="3" name="TextBox 2"/>
          <p:cNvSpPr txBox="1"/>
          <p:nvPr/>
        </p:nvSpPr>
        <p:spPr>
          <a:xfrm>
            <a:off x="165099" y="3795785"/>
            <a:ext cx="327743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Infrastructure/Service</a:t>
            </a:r>
          </a:p>
        </p:txBody>
      </p:sp>
      <p:graphicFrame>
        <p:nvGraphicFramePr>
          <p:cNvPr id="5" name="Diagram 4">
            <a:extLst>
              <a:ext uri="{FF2B5EF4-FFF2-40B4-BE49-F238E27FC236}">
                <a16:creationId xmlns:a16="http://schemas.microsoft.com/office/drawing/2014/main" id="{C02001AC-5FB0-40B2-8C29-462FB4A53EDD}"/>
              </a:ext>
            </a:extLst>
          </p:cNvPr>
          <p:cNvGraphicFramePr/>
          <p:nvPr/>
        </p:nvGraphicFramePr>
        <p:xfrm>
          <a:off x="5104548" y="1578220"/>
          <a:ext cx="6118060" cy="34119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1827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a:t>
            </a:r>
          </a:p>
        </p:txBody>
      </p:sp>
      <p:sp>
        <p:nvSpPr>
          <p:cNvPr id="3" name="TextBox 2"/>
          <p:cNvSpPr txBox="1"/>
          <p:nvPr/>
        </p:nvSpPr>
        <p:spPr>
          <a:xfrm>
            <a:off x="165099" y="3795785"/>
            <a:ext cx="1309461"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Project</a:t>
            </a:r>
          </a:p>
        </p:txBody>
      </p:sp>
      <p:graphicFrame>
        <p:nvGraphicFramePr>
          <p:cNvPr id="5" name="Diagram 4">
            <a:extLst>
              <a:ext uri="{FF2B5EF4-FFF2-40B4-BE49-F238E27FC236}">
                <a16:creationId xmlns:a16="http://schemas.microsoft.com/office/drawing/2014/main" id="{C06A87C5-51E8-4715-A299-B0F57D893D3D}"/>
              </a:ext>
            </a:extLst>
          </p:cNvPr>
          <p:cNvGraphicFramePr/>
          <p:nvPr/>
        </p:nvGraphicFramePr>
        <p:xfrm>
          <a:off x="5040627" y="999062"/>
          <a:ext cx="7256245" cy="52474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11509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a:t>Minor Enhancements</a:t>
            </a:r>
          </a:p>
        </p:txBody>
      </p:sp>
      <p:graphicFrame>
        <p:nvGraphicFramePr>
          <p:cNvPr id="4" name="Diagram 3">
            <a:extLst>
              <a:ext uri="{FF2B5EF4-FFF2-40B4-BE49-F238E27FC236}">
                <a16:creationId xmlns:a16="http://schemas.microsoft.com/office/drawing/2014/main" id="{C64D24D1-4D29-4BD4-A411-DAAC528A8AC8}"/>
              </a:ext>
            </a:extLst>
          </p:cNvPr>
          <p:cNvGraphicFramePr/>
          <p:nvPr/>
        </p:nvGraphicFramePr>
        <p:xfrm>
          <a:off x="4820092" y="778933"/>
          <a:ext cx="7206808" cy="5712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93757995"/>
      </p:ext>
    </p:extLst>
  </p:cSld>
  <p:clrMapOvr>
    <a:masterClrMapping/>
  </p:clrMapOvr>
  <mc:AlternateContent xmlns:mc="http://schemas.openxmlformats.org/markup-compatibility/2006" xmlns:p14="http://schemas.microsoft.com/office/powerpoint/2010/main">
    <mc:Choice Requires="p14">
      <p:transition spd="med" p14:dur="700" advTm="43837">
        <p:fade/>
      </p:transition>
    </mc:Choice>
    <mc:Fallback xmlns="">
      <p:transition spd="med" advTm="43837">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a:t>
            </a:r>
          </a:p>
        </p:txBody>
      </p:sp>
      <p:graphicFrame>
        <p:nvGraphicFramePr>
          <p:cNvPr id="4" name="Diagram 3">
            <a:extLst>
              <a:ext uri="{FF2B5EF4-FFF2-40B4-BE49-F238E27FC236}">
                <a16:creationId xmlns:a16="http://schemas.microsoft.com/office/drawing/2014/main" id="{1E7E3D4C-6194-44E7-A6C4-85683757E10B}"/>
              </a:ext>
            </a:extLst>
          </p:cNvPr>
          <p:cNvGraphicFramePr/>
          <p:nvPr/>
        </p:nvGraphicFramePr>
        <p:xfrm>
          <a:off x="4876618" y="746858"/>
          <a:ext cx="6805612" cy="61111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848173241"/>
      </p:ext>
    </p:extLst>
  </p:cSld>
  <p:clrMapOvr>
    <a:masterClrMapping/>
  </p:clrMapOvr>
  <mc:AlternateContent xmlns:mc="http://schemas.openxmlformats.org/markup-compatibility/2006" xmlns:p14="http://schemas.microsoft.com/office/powerpoint/2010/main">
    <mc:Choice Requires="p14">
      <p:transition spd="med" p14:dur="700" advTm="132161">
        <p:fade/>
      </p:transition>
    </mc:Choice>
    <mc:Fallback xmlns="">
      <p:transition spd="med" advTm="132161">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reak-fix / Minor Enhancements</a:t>
            </a:r>
            <a:br>
              <a:rPr lang="en-GB"/>
            </a:br>
            <a:r>
              <a:rPr lang="en-GB"/>
              <a:t>Options</a:t>
            </a:r>
          </a:p>
        </p:txBody>
      </p:sp>
      <p:graphicFrame>
        <p:nvGraphicFramePr>
          <p:cNvPr id="4" name="Diagram 3">
            <a:extLst>
              <a:ext uri="{FF2B5EF4-FFF2-40B4-BE49-F238E27FC236}">
                <a16:creationId xmlns:a16="http://schemas.microsoft.com/office/drawing/2014/main" id="{45854C92-6347-46C4-A58F-6AAE1DB9ABF3}"/>
              </a:ext>
            </a:extLst>
          </p:cNvPr>
          <p:cNvGraphicFramePr/>
          <p:nvPr/>
        </p:nvGraphicFramePr>
        <p:xfrm>
          <a:off x="5104005" y="1329864"/>
          <a:ext cx="6748787" cy="39834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113427851"/>
      </p:ext>
    </p:extLst>
  </p:cSld>
  <p:clrMapOvr>
    <a:masterClrMapping/>
  </p:clrMapOvr>
  <mc:AlternateContent xmlns:mc="http://schemas.openxmlformats.org/markup-compatibility/2006" xmlns:p14="http://schemas.microsoft.com/office/powerpoint/2010/main">
    <mc:Choice Requires="p14">
      <p:transition spd="med" p14:dur="700" advTm="78767">
        <p:fade/>
      </p:transition>
    </mc:Choice>
    <mc:Fallback xmlns="">
      <p:transition spd="med" advTm="78767">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 Options</a:t>
            </a:r>
          </a:p>
        </p:txBody>
      </p:sp>
      <p:sp>
        <p:nvSpPr>
          <p:cNvPr id="5" name="TextBox 4"/>
          <p:cNvSpPr txBox="1"/>
          <p:nvPr/>
        </p:nvSpPr>
        <p:spPr>
          <a:xfrm>
            <a:off x="165099" y="4294354"/>
            <a:ext cx="1401859"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Internal</a:t>
            </a:r>
          </a:p>
        </p:txBody>
      </p:sp>
      <p:sp>
        <p:nvSpPr>
          <p:cNvPr id="3" name="Rectangle 2">
            <a:extLst>
              <a:ext uri="{FF2B5EF4-FFF2-40B4-BE49-F238E27FC236}">
                <a16:creationId xmlns:a16="http://schemas.microsoft.com/office/drawing/2014/main" id="{3C5375A2-730E-4281-9852-FBFBA8BCFBB9}"/>
              </a:ext>
            </a:extLst>
          </p:cNvPr>
          <p:cNvSpPr/>
          <p:nvPr/>
        </p:nvSpPr>
        <p:spPr>
          <a:xfrm>
            <a:off x="5081968" y="1211688"/>
            <a:ext cx="6944932" cy="4046068"/>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Centre of Excellenc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Dedicated Power BI Enablement tea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Lunch &amp; Learn / Office hour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Internal websit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Ongoing training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Advisory Service</a:t>
            </a:r>
          </a:p>
        </p:txBody>
      </p:sp>
    </p:spTree>
    <p:extLst>
      <p:ext uri="{BB962C8B-B14F-4D97-AF65-F5344CB8AC3E}">
        <p14:creationId xmlns:p14="http://schemas.microsoft.com/office/powerpoint/2010/main" val="187536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Enablement Options</a:t>
            </a:r>
          </a:p>
        </p:txBody>
      </p:sp>
      <p:sp>
        <p:nvSpPr>
          <p:cNvPr id="5" name="TextBox 4"/>
          <p:cNvSpPr txBox="1"/>
          <p:nvPr/>
        </p:nvSpPr>
        <p:spPr>
          <a:xfrm>
            <a:off x="165099" y="4294354"/>
            <a:ext cx="1948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Community</a:t>
            </a:r>
          </a:p>
        </p:txBody>
      </p:sp>
      <p:sp>
        <p:nvSpPr>
          <p:cNvPr id="3" name="Rectangle 2">
            <a:extLst>
              <a:ext uri="{FF2B5EF4-FFF2-40B4-BE49-F238E27FC236}">
                <a16:creationId xmlns:a16="http://schemas.microsoft.com/office/drawing/2014/main" id="{08F4FBD7-FD95-45E5-AC65-5CCB7288C325}"/>
              </a:ext>
            </a:extLst>
          </p:cNvPr>
          <p:cNvSpPr/>
          <p:nvPr/>
        </p:nvSpPr>
        <p:spPr>
          <a:xfrm>
            <a:off x="4302369" y="99374"/>
            <a:ext cx="7889631" cy="3732136"/>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Power BI website, blogs, community portal</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Online courses e.g. </a:t>
            </a:r>
            <a:r>
              <a:rPr kumimoji="0" lang="en-GB" sz="3200" b="0" i="0" u="none" strike="noStrike" kern="1200" cap="none" spc="0" normalizeH="0" baseline="0" noProof="0" err="1">
                <a:ln>
                  <a:noFill/>
                </a:ln>
                <a:solidFill>
                  <a:prstClr val="black"/>
                </a:solidFill>
                <a:effectLst/>
                <a:uLnTx/>
                <a:uFillTx/>
                <a:latin typeface="Segoe UI"/>
                <a:ea typeface="+mn-ea"/>
                <a:cs typeface="+mn-cs"/>
              </a:rPr>
              <a:t>eDX</a:t>
            </a:r>
            <a:endParaRPr kumimoji="0" lang="en-GB" sz="3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YouTube Power BI video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Guy in a cube</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Power BI User Group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Community websites, blogs: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a:ln>
                  <a:noFill/>
                </a:ln>
                <a:solidFill>
                  <a:prstClr val="black"/>
                </a:solidFill>
                <a:effectLst/>
                <a:uLnTx/>
                <a:uFillTx/>
                <a:latin typeface="Segoe UI"/>
                <a:ea typeface="+mn-ea"/>
                <a:cs typeface="+mn-cs"/>
              </a:rPr>
              <a:t>	</a:t>
            </a:r>
            <a:r>
              <a:rPr kumimoji="0" lang="en-GB" sz="2400" b="0" i="0" u="none" strike="noStrike" kern="1200" cap="none" spc="0" normalizeH="0" baseline="0" noProof="0">
                <a:ln>
                  <a:noFill/>
                </a:ln>
                <a:solidFill>
                  <a:prstClr val="black"/>
                </a:solidFill>
                <a:effectLst/>
                <a:uLnTx/>
                <a:uFillTx/>
                <a:latin typeface="Segoe UI"/>
                <a:ea typeface="+mn-ea"/>
                <a:cs typeface="+mn-cs"/>
              </a:rPr>
              <a:t>DAX Pattern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	Power Pivot Pro</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	Chris Webb’s blog</a:t>
            </a:r>
          </a:p>
        </p:txBody>
      </p:sp>
    </p:spTree>
    <p:extLst>
      <p:ext uri="{BB962C8B-B14F-4D97-AF65-F5344CB8AC3E}">
        <p14:creationId xmlns:p14="http://schemas.microsoft.com/office/powerpoint/2010/main" val="148024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do you need to consider when someone starts / changes role?</a:t>
            </a:r>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Actions</a:t>
            </a:r>
          </a:p>
          <a:p>
            <a:pPr lvl="2"/>
            <a:r>
              <a:rPr lang="en-GB">
                <a:solidFill>
                  <a:srgbClr val="EDC30D"/>
                </a:solidFill>
              </a:rPr>
              <a:t>Document user rights changes</a:t>
            </a:r>
          </a:p>
          <a:p>
            <a:pPr lvl="3"/>
            <a:r>
              <a:rPr lang="en-US">
                <a:solidFill>
                  <a:srgbClr val="EDC30D"/>
                </a:solidFill>
              </a:rPr>
              <a:t>User from Gateway(s) – both admins and data sources</a:t>
            </a:r>
          </a:p>
          <a:p>
            <a:pPr lvl="3"/>
            <a:r>
              <a:rPr lang="en-US">
                <a:solidFill>
                  <a:srgbClr val="EDC30D"/>
                </a:solidFill>
              </a:rPr>
              <a:t>Pro license</a:t>
            </a:r>
          </a:p>
          <a:p>
            <a:pPr lvl="3"/>
            <a:r>
              <a:rPr lang="en-US">
                <a:solidFill>
                  <a:srgbClr val="EDC30D"/>
                </a:solidFill>
              </a:rPr>
              <a:t>Rollout / Removal of Power BI Desktop</a:t>
            </a:r>
          </a:p>
          <a:p>
            <a:pPr lvl="3"/>
            <a:endParaRPr lang="en-US">
              <a:solidFill>
                <a:srgbClr val="EDC30D"/>
              </a:solidFill>
            </a:endParaRPr>
          </a:p>
        </p:txBody>
      </p:sp>
    </p:spTree>
    <p:custDataLst>
      <p:tags r:id="rId1"/>
    </p:custDataLst>
    <p:extLst>
      <p:ext uri="{BB962C8B-B14F-4D97-AF65-F5344CB8AC3E}">
        <p14:creationId xmlns:p14="http://schemas.microsoft.com/office/powerpoint/2010/main" val="772240527"/>
      </p:ext>
    </p:extLst>
  </p:cSld>
  <p:clrMapOvr>
    <a:masterClrMapping/>
  </p:clrMapOvr>
  <mc:AlternateContent xmlns:mc="http://schemas.openxmlformats.org/markup-compatibility/2006" xmlns:p14="http://schemas.microsoft.com/office/powerpoint/2010/main">
    <mc:Choice Requires="p14">
      <p:transition spd="med" p14:dur="700" advTm="22276">
        <p:fade/>
      </p:transition>
    </mc:Choice>
    <mc:Fallback xmlns="">
      <p:transition spd="med" advTm="22276">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level of support will you give users?</a:t>
            </a:r>
          </a:p>
        </p:txBody>
      </p:sp>
    </p:spTree>
    <p:custDataLst>
      <p:tags r:id="rId2"/>
    </p:custDataLst>
    <p:extLst>
      <p:ext uri="{BB962C8B-B14F-4D97-AF65-F5344CB8AC3E}">
        <p14:creationId xmlns:p14="http://schemas.microsoft.com/office/powerpoint/2010/main" val="1329170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1"/>
          <p:cNvSpPr>
            <a:spLocks/>
          </p:cNvSpPr>
          <p:nvPr/>
        </p:nvSpPr>
        <p:spPr bwMode="auto">
          <a:xfrm>
            <a:off x="6968072" y="1818235"/>
            <a:ext cx="19359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2" name="Rectangle 1"/>
          <p:cNvSpPr>
            <a:spLocks/>
          </p:cNvSpPr>
          <p:nvPr/>
        </p:nvSpPr>
        <p:spPr bwMode="auto">
          <a:xfrm>
            <a:off x="640275" y="2100845"/>
            <a:ext cx="2222133"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Rectangle 1"/>
          <p:cNvSpPr>
            <a:spLocks/>
          </p:cNvSpPr>
          <p:nvPr/>
        </p:nvSpPr>
        <p:spPr bwMode="auto">
          <a:xfrm>
            <a:off x="844012" y="2639440"/>
            <a:ext cx="2018396" cy="3911903"/>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5" name="Freeform 2"/>
          <p:cNvSpPr>
            <a:spLocks/>
          </p:cNvSpPr>
          <p:nvPr/>
        </p:nvSpPr>
        <p:spPr bwMode="auto">
          <a:xfrm>
            <a:off x="2652521" y="2394481"/>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2">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Rectangle 4"/>
          <p:cNvSpPr>
            <a:spLocks/>
          </p:cNvSpPr>
          <p:nvPr/>
        </p:nvSpPr>
        <p:spPr bwMode="auto">
          <a:xfrm>
            <a:off x="2652521" y="1851363"/>
            <a:ext cx="2222133" cy="543118"/>
          </a:xfrm>
          <a:prstGeom prst="rect">
            <a:avLst/>
          </a:prstGeom>
          <a:solidFill>
            <a:schemeClr val="accent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Rectangle 1"/>
          <p:cNvSpPr>
            <a:spLocks/>
          </p:cNvSpPr>
          <p:nvPr/>
        </p:nvSpPr>
        <p:spPr bwMode="auto">
          <a:xfrm>
            <a:off x="2944130" y="2368135"/>
            <a:ext cx="1935970"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59" name="Freeform 2"/>
          <p:cNvSpPr>
            <a:spLocks/>
          </p:cNvSpPr>
          <p:nvPr/>
        </p:nvSpPr>
        <p:spPr bwMode="auto">
          <a:xfrm>
            <a:off x="4662270" y="2149522"/>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Rectangle 4"/>
          <p:cNvSpPr>
            <a:spLocks/>
          </p:cNvSpPr>
          <p:nvPr/>
        </p:nvSpPr>
        <p:spPr bwMode="auto">
          <a:xfrm>
            <a:off x="4662270" y="1606404"/>
            <a:ext cx="222213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Rectangle 1"/>
          <p:cNvSpPr>
            <a:spLocks/>
          </p:cNvSpPr>
          <p:nvPr/>
        </p:nvSpPr>
        <p:spPr bwMode="auto">
          <a:xfrm>
            <a:off x="4953879" y="2126823"/>
            <a:ext cx="1935970"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2" name="Freeform 2"/>
          <p:cNvSpPr>
            <a:spLocks/>
          </p:cNvSpPr>
          <p:nvPr/>
        </p:nvSpPr>
        <p:spPr bwMode="auto">
          <a:xfrm>
            <a:off x="642288" y="2643960"/>
            <a:ext cx="215333" cy="24948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Freeform 2"/>
          <p:cNvSpPr>
            <a:spLocks/>
          </p:cNvSpPr>
          <p:nvPr/>
        </p:nvSpPr>
        <p:spPr bwMode="auto">
          <a:xfrm>
            <a:off x="6676463" y="1877342"/>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Rectangle 4"/>
          <p:cNvSpPr>
            <a:spLocks/>
          </p:cNvSpPr>
          <p:nvPr/>
        </p:nvSpPr>
        <p:spPr bwMode="auto">
          <a:xfrm>
            <a:off x="6676463" y="1334224"/>
            <a:ext cx="222213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AutoShape 13"/>
          <p:cNvSpPr>
            <a:spLocks/>
          </p:cNvSpPr>
          <p:nvPr/>
        </p:nvSpPr>
        <p:spPr bwMode="auto">
          <a:xfrm>
            <a:off x="8680845" y="926730"/>
            <a:ext cx="2744988"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9" name="Group 68"/>
          <p:cNvGrpSpPr/>
          <p:nvPr/>
        </p:nvGrpSpPr>
        <p:grpSpPr>
          <a:xfrm>
            <a:off x="8686285" y="1552085"/>
            <a:ext cx="2227579" cy="4978927"/>
            <a:chOff x="7961392" y="5898825"/>
            <a:chExt cx="3646856" cy="6685542"/>
          </a:xfrm>
        </p:grpSpPr>
        <p:sp>
          <p:nvSpPr>
            <p:cNvPr id="70" name="Freeform 2"/>
            <p:cNvSpPr>
              <a:spLocks/>
            </p:cNvSpPr>
            <p:nvPr/>
          </p:nvSpPr>
          <p:spPr bwMode="auto">
            <a:xfrm>
              <a:off x="7961392" y="5898827"/>
              <a:ext cx="352530" cy="408435"/>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71" name="Rectangle 1"/>
            <p:cNvSpPr>
              <a:spLocks/>
            </p:cNvSpPr>
            <p:nvPr/>
          </p:nvSpPr>
          <p:spPr bwMode="auto">
            <a:xfrm>
              <a:off x="8438796" y="5898825"/>
              <a:ext cx="3169452" cy="6685542"/>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grpSp>
      <p:sp>
        <p:nvSpPr>
          <p:cNvPr id="77" name="TextBox 76"/>
          <p:cNvSpPr txBox="1"/>
          <p:nvPr/>
        </p:nvSpPr>
        <p:spPr>
          <a:xfrm>
            <a:off x="637779" y="2184958"/>
            <a:ext cx="214937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Arial" panose="020B0604020202020204"/>
                <a:ea typeface="+mn-ea"/>
                <a:cs typeface="Lato Regular"/>
              </a:rPr>
              <a:t>L</a:t>
            </a:r>
            <a:r>
              <a:rPr kumimoji="0" lang="en-US" sz="1600" b="1" i="0" u="none" strike="noStrike" kern="1200" cap="none" spc="0" normalizeH="0" baseline="0" noProof="0" err="1">
                <a:ln>
                  <a:noFill/>
                </a:ln>
                <a:solidFill>
                  <a:prstClr val="black"/>
                </a:solidFill>
                <a:effectLst/>
                <a:uLnTx/>
                <a:uFillTx/>
                <a:latin typeface="Arial" panose="020B0604020202020204"/>
                <a:ea typeface="+mn-ea"/>
                <a:cs typeface="Lato Regular"/>
              </a:rPr>
              <a:t>evel</a:t>
            </a: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 100</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78" name="TextBox 77"/>
          <p:cNvSpPr txBox="1"/>
          <p:nvPr/>
        </p:nvSpPr>
        <p:spPr>
          <a:xfrm>
            <a:off x="2652521" y="1930909"/>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2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79" name="TextBox 78"/>
          <p:cNvSpPr txBox="1"/>
          <p:nvPr/>
        </p:nvSpPr>
        <p:spPr>
          <a:xfrm>
            <a:off x="4662271" y="1681429"/>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3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1" name="TextBox 80"/>
          <p:cNvSpPr txBox="1"/>
          <p:nvPr/>
        </p:nvSpPr>
        <p:spPr>
          <a:xfrm>
            <a:off x="6673441" y="1423122"/>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4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2" name="TextBox 81"/>
          <p:cNvSpPr txBox="1"/>
          <p:nvPr/>
        </p:nvSpPr>
        <p:spPr>
          <a:xfrm>
            <a:off x="8701441" y="1124701"/>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Level 500</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87" name="TextBox 86"/>
          <p:cNvSpPr txBox="1"/>
          <p:nvPr/>
        </p:nvSpPr>
        <p:spPr>
          <a:xfrm>
            <a:off x="1570116" y="2694021"/>
            <a:ext cx="58862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Initial</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88" name="TextBox 87"/>
          <p:cNvSpPr txBox="1"/>
          <p:nvPr/>
        </p:nvSpPr>
        <p:spPr>
          <a:xfrm>
            <a:off x="920117" y="3022357"/>
            <a:ext cx="1901464" cy="2988492"/>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Quick wins has been a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 coordinated strategy or governance appro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ew formal processes in place for effective data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isk due to a lack of awareness of how data is u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tential for a strategic investment with Power BI is acknowledged, but no clear path for organization-wide execution.</a:t>
            </a:r>
          </a:p>
        </p:txBody>
      </p:sp>
      <p:sp>
        <p:nvSpPr>
          <p:cNvPr id="89" name="TextBox 88"/>
          <p:cNvSpPr txBox="1"/>
          <p:nvPr/>
        </p:nvSpPr>
        <p:spPr>
          <a:xfrm>
            <a:off x="3404766" y="2519221"/>
            <a:ext cx="100380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Repeatable</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0" name="TextBox 89"/>
          <p:cNvSpPr txBox="1"/>
          <p:nvPr/>
        </p:nvSpPr>
        <p:spPr>
          <a:xfrm>
            <a:off x="3064132" y="2945308"/>
            <a:ext cx="171469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ertain Power BI content is now critical in importance and/or it is broadly used by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tempts to document and define repeatable practices, but efforts are siloed, reactive with varying levels of su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options continues to grow organically and produces value, however it takes place in an uncontrolled 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planning for a consistent Power BI governance strategy is underway.</a:t>
            </a:r>
          </a:p>
        </p:txBody>
      </p:sp>
      <p:sp>
        <p:nvSpPr>
          <p:cNvPr id="91" name="TextBox 90"/>
          <p:cNvSpPr txBox="1"/>
          <p:nvPr/>
        </p:nvSpPr>
        <p:spPr>
          <a:xfrm>
            <a:off x="5537334" y="2292887"/>
            <a:ext cx="748923"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Defined</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4" name="TextBox 93"/>
          <p:cNvSpPr txBox="1"/>
          <p:nvPr/>
        </p:nvSpPr>
        <p:spPr>
          <a:xfrm>
            <a:off x="4967487" y="2641545"/>
            <a:ext cx="1901464" cy="3829363"/>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gress on standardization of repeatable practi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ed COE with clear goals and scopes of responsibiliti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ternal community with growing number of user and champions emerging</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investments in training, documentation, and resourc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itial governance model in pla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has an active and engaged executive sponsor.</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oles and responsibilities for all Power BI stakeholders are well understood.</a:t>
            </a:r>
          </a:p>
        </p:txBody>
      </p:sp>
      <p:sp>
        <p:nvSpPr>
          <p:cNvPr id="95" name="TextBox 94"/>
          <p:cNvSpPr txBox="1"/>
          <p:nvPr/>
        </p:nvSpPr>
        <p:spPr>
          <a:xfrm>
            <a:off x="7520509" y="2039832"/>
            <a:ext cx="78258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Capable</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6" name="TextBox 95"/>
          <p:cNvSpPr txBox="1"/>
          <p:nvPr/>
        </p:nvSpPr>
        <p:spPr>
          <a:xfrm>
            <a:off x="6967495" y="2327529"/>
            <a:ext cx="1901464" cy="4004155"/>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is commonly used for delivering critical content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ed and accepted governance model with cooperation from all key business 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raining, documentation, and resources are actively used by the Power BI community of 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tandardized processes for oversight and monitoring of Power BI usage and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Power BI COE includes representation from all key business units.</a:t>
            </a:r>
          </a:p>
        </p:txBody>
      </p:sp>
      <p:sp>
        <p:nvSpPr>
          <p:cNvPr id="97" name="TextBox 96"/>
          <p:cNvSpPr txBox="1"/>
          <p:nvPr/>
        </p:nvSpPr>
        <p:spPr>
          <a:xfrm>
            <a:off x="9507051" y="1774093"/>
            <a:ext cx="79220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Lato Regular"/>
              </a:rPr>
              <a:t>Efficient</a:t>
            </a:r>
            <a:endParaRPr kumimoji="0" lang="id-ID" sz="12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98" name="TextBox 97"/>
          <p:cNvSpPr txBox="1"/>
          <p:nvPr/>
        </p:nvSpPr>
        <p:spPr>
          <a:xfrm>
            <a:off x="8958844" y="2143070"/>
            <a:ext cx="1901464" cy="3834878"/>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ue of Power BI solutions is prevalent in the organization, and Power BI is widely accepted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skillsets are highly valued in the organization, and they are recognized by leadersh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internal Power BI community is self-sustaining, with support from the CO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tinuous improvement as continual prio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 of automation adds value, improves productivity, or reduces risk for error</a:t>
            </a:r>
          </a:p>
        </p:txBody>
      </p:sp>
      <p:sp>
        <p:nvSpPr>
          <p:cNvPr id="41" name="Titel 1">
            <a:extLst>
              <a:ext uri="{FF2B5EF4-FFF2-40B4-BE49-F238E27FC236}">
                <a16:creationId xmlns:a16="http://schemas.microsoft.com/office/drawing/2014/main" id="{72967DCE-A413-4B4F-8F28-FAB05CF817CE}"/>
              </a:ext>
            </a:extLst>
          </p:cNvPr>
          <p:cNvSpPr>
            <a:spLocks noGrp="1"/>
          </p:cNvSpPr>
          <p:nvPr>
            <p:ph type="title"/>
          </p:nvPr>
        </p:nvSpPr>
        <p:spPr/>
        <p:txBody>
          <a:bodyPr/>
          <a:lstStyle/>
          <a:p>
            <a:r>
              <a:rPr lang="de-DE" err="1"/>
              <a:t>Organization</a:t>
            </a:r>
            <a:r>
              <a:rPr lang="de-DE"/>
              <a:t> Adoption </a:t>
            </a:r>
            <a:endParaRPr lang="en-US"/>
          </a:p>
        </p:txBody>
      </p:sp>
    </p:spTree>
    <p:extLst>
      <p:ext uri="{BB962C8B-B14F-4D97-AF65-F5344CB8AC3E}">
        <p14:creationId xmlns:p14="http://schemas.microsoft.com/office/powerpoint/2010/main" val="22883618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support Power BI?</a:t>
            </a:r>
          </a:p>
        </p:txBody>
      </p:sp>
    </p:spTree>
    <p:custDataLst>
      <p:tags r:id="rId2"/>
    </p:custDataLst>
    <p:extLst>
      <p:ext uri="{BB962C8B-B14F-4D97-AF65-F5344CB8AC3E}">
        <p14:creationId xmlns:p14="http://schemas.microsoft.com/office/powerpoint/2010/main" val="3089315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3752">
        <p:fade/>
      </p:transition>
    </mc:Choice>
    <mc:Fallback xmlns="">
      <p:transition spd="med" advTm="23752">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B80B72-5F31-4891-8247-3F49117F807B}"/>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00796B51-A78A-4C29-AF80-389E35ECAF6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60922750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User Support</a:t>
            </a:r>
            <a:endParaRPr lang="en-US"/>
          </a:p>
        </p:txBody>
      </p:sp>
      <p:graphicFrame>
        <p:nvGraphicFramePr>
          <p:cNvPr id="4" name="Tabelle 3">
            <a:extLst>
              <a:ext uri="{FF2B5EF4-FFF2-40B4-BE49-F238E27FC236}">
                <a16:creationId xmlns:a16="http://schemas.microsoft.com/office/drawing/2014/main" id="{567C8D1F-6D01-4CB4-AA4E-3B326955FA7A}"/>
              </a:ext>
            </a:extLst>
          </p:cNvPr>
          <p:cNvGraphicFramePr/>
          <p:nvPr/>
        </p:nvGraphicFramePr>
        <p:xfrm>
          <a:off x="704385" y="1217147"/>
          <a:ext cx="10783230" cy="5640854"/>
        </p:xfrm>
        <a:graphic>
          <a:graphicData uri="http://schemas.openxmlformats.org/drawingml/2006/table">
            <a:tbl>
              <a:tblPr>
                <a:tableStyleId>{5C22544A-7EE6-4342-B048-85BDC9FD1C3A}</a:tableStyleId>
              </a:tblPr>
              <a:tblGrid>
                <a:gridCol w="1505415">
                  <a:extLst>
                    <a:ext uri="{9D8B030D-6E8A-4147-A177-3AD203B41FA5}">
                      <a16:colId xmlns:a16="http://schemas.microsoft.com/office/drawing/2014/main" val="3873161133"/>
                    </a:ext>
                  </a:extLst>
                </a:gridCol>
                <a:gridCol w="9277815">
                  <a:extLst>
                    <a:ext uri="{9D8B030D-6E8A-4147-A177-3AD203B41FA5}">
                      <a16:colId xmlns:a16="http://schemas.microsoft.com/office/drawing/2014/main" val="304458598"/>
                    </a:ext>
                  </a:extLst>
                </a:gridCol>
              </a:tblGrid>
              <a:tr h="489454">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b="1" u="none" strike="noStrike">
                          <a:effectLst/>
                        </a:rPr>
                        <a:t>State of Power BI user support</a:t>
                      </a:r>
                      <a:endParaRPr lang="en-US" sz="1400" b="1"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1938909825"/>
                  </a:ext>
                </a:extLst>
              </a:tr>
              <a:tr h="846622">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Individual business units find effective ways of supporting each other, though tactics are siloed and not consistently applied.</a:t>
                      </a:r>
                      <a:br>
                        <a:rPr lang="en-US" sz="1400" u="none" strike="noStrike">
                          <a:effectLst/>
                        </a:rPr>
                      </a:br>
                      <a:r>
                        <a:rPr lang="en-US" sz="1400" u="none" strike="noStrike">
                          <a:effectLst/>
                        </a:rPr>
                        <a:t>An internal discussion channel is available, but it's not monitored closely so the user experience is inconsistent.</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3643998281"/>
                  </a:ext>
                </a:extLst>
              </a:tr>
              <a:tr h="1116614">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The importance of intra-team support is encouraged and actively supported by the COE, including direct support of the champions network.</a:t>
                      </a:r>
                      <a:br>
                        <a:rPr lang="en-US" sz="1400" u="none" strike="noStrike">
                          <a:effectLst/>
                        </a:rPr>
                      </a:br>
                      <a:r>
                        <a:rPr lang="en-US" sz="1400" u="none" strike="noStrike">
                          <a:effectLst/>
                        </a:rPr>
                        <a:t>The internal discussion channel gains traction as the default place for Power BI Q&amp;A.</a:t>
                      </a:r>
                      <a:br>
                        <a:rPr lang="en-US" sz="1400" u="none" strike="noStrike">
                          <a:effectLst/>
                        </a:rPr>
                      </a:br>
                      <a:r>
                        <a:rPr lang="en-US" sz="1400" u="none" strike="noStrike">
                          <a:effectLst/>
                        </a:rPr>
                        <a:t>The help desk handles a small number of the most common Power BI technical support issues.</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1222547110"/>
                  </a:ext>
                </a:extLst>
              </a:tr>
              <a:tr h="1094501">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The internal discussion channel is now popular and largely self-sustaining. COE members actively monitor and manage the discussion channel to ensure questions are answered quickly and correctly.</a:t>
                      </a:r>
                      <a:br>
                        <a:rPr lang="en-US" sz="1400" u="none" strike="noStrike">
                          <a:effectLst/>
                        </a:rPr>
                      </a:br>
                      <a:r>
                        <a:rPr lang="en-US" sz="1400" u="none" strike="noStrike">
                          <a:effectLst/>
                        </a:rPr>
                        <a:t>The help desk is fully prepared to handle all known and expected Power BI technical support issues, and the COE provides appropriate extended support when required.</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3716521604"/>
                  </a:ext>
                </a:extLst>
              </a:tr>
              <a:tr h="851280">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A recognition program is established, and it generates enthusiasm and encourages sharing best practices.</a:t>
                      </a:r>
                      <a:br>
                        <a:rPr lang="en-US" sz="1400" u="none" strike="noStrike">
                          <a:effectLst/>
                        </a:rPr>
                      </a:br>
                      <a:r>
                        <a:rPr lang="en-US" sz="1400" u="none" strike="noStrike">
                          <a:effectLst/>
                        </a:rPr>
                        <a:t>SLAs are in place to define help desk support expectations, including extended support, and they are clear to everyone involved.</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2896735707"/>
                  </a:ext>
                </a:extLst>
              </a:tr>
              <a:tr h="1242383">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7003" marR="17003" marT="8501" marB="8501"/>
                </a:tc>
                <a:tc>
                  <a:txBody>
                    <a:bodyPr/>
                    <a:lstStyle/>
                    <a:p>
                      <a:pPr algn="l" fontAlgn="t">
                        <a:spcBef>
                          <a:spcPts val="0"/>
                        </a:spcBef>
                        <a:spcAft>
                          <a:spcPts val="0"/>
                        </a:spcAft>
                      </a:pPr>
                      <a:r>
                        <a:rPr lang="en-US" sz="1400" u="none" strike="noStrike">
                          <a:effectLst/>
                        </a:rPr>
                        <a:t>Bidirectional feedback loops exist between the help desk and the COE.</a:t>
                      </a:r>
                      <a:br>
                        <a:rPr lang="en-US" sz="1400" u="none" strike="noStrike">
                          <a:effectLst/>
                        </a:rPr>
                      </a:br>
                      <a:r>
                        <a:rPr lang="en-US" sz="1400" u="none" strike="noStrike">
                          <a:effectLst/>
                        </a:rPr>
                        <a:t>Key performance indicators measure community engagement and satisfaction.</a:t>
                      </a:r>
                      <a:br>
                        <a:rPr lang="en-US" sz="1400" u="none" strike="noStrike">
                          <a:effectLst/>
                        </a:rPr>
                      </a:br>
                      <a:r>
                        <a:rPr lang="en-US" sz="1400" u="none" strike="noStrike">
                          <a:effectLst/>
                        </a:rPr>
                        <a:t>Automation is in place when it adds direct value to the user experience (for example, automatic access to the community), or for specific help desk activities (for example, use of APIs and scripts that increase speed and reduce error).</a:t>
                      </a:r>
                      <a:endParaRPr lang="en-US" sz="1400" b="0" i="0" u="none" strike="noStrike">
                        <a:effectLst/>
                        <a:latin typeface="Arial" panose="020B0604020202020204" pitchFamily="34" charset="0"/>
                      </a:endParaRPr>
                    </a:p>
                  </a:txBody>
                  <a:tcPr marL="17003" marR="17003" marT="8501" marB="8501"/>
                </a:tc>
                <a:extLst>
                  <a:ext uri="{0D108BD9-81ED-4DB2-BD59-A6C34878D82A}">
                    <a16:rowId xmlns:a16="http://schemas.microsoft.com/office/drawing/2014/main" val="509060441"/>
                  </a:ext>
                </a:extLst>
              </a:tr>
            </a:tbl>
          </a:graphicData>
        </a:graphic>
      </p:graphicFrame>
    </p:spTree>
    <p:extLst>
      <p:ext uri="{BB962C8B-B14F-4D97-AF65-F5344CB8AC3E}">
        <p14:creationId xmlns:p14="http://schemas.microsoft.com/office/powerpoint/2010/main" val="291861000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842568" y="1872247"/>
            <a:ext cx="10408581" cy="923330"/>
          </a:xfrm>
        </p:spPr>
        <p:txBody>
          <a:bodyPr/>
          <a:lstStyle/>
          <a:p>
            <a:r>
              <a:rPr lang="de-DE" sz="6000"/>
              <a:t>System </a:t>
            </a:r>
            <a:r>
              <a:rPr lang="de-DE" sz="6000" err="1"/>
              <a:t>Oversight</a:t>
            </a:r>
            <a:endParaRPr lang="de-DE" sz="6000"/>
          </a:p>
        </p:txBody>
      </p:sp>
      <p:sp>
        <p:nvSpPr>
          <p:cNvPr id="4" name="Textfeld 3">
            <a:extLst>
              <a:ext uri="{FF2B5EF4-FFF2-40B4-BE49-F238E27FC236}">
                <a16:creationId xmlns:a16="http://schemas.microsoft.com/office/drawing/2014/main" id="{62DAD56F-D264-487F-BE5B-0F8A3B9D43A0}"/>
              </a:ext>
            </a:extLst>
          </p:cNvPr>
          <p:cNvSpPr txBox="1"/>
          <p:nvPr/>
        </p:nvSpPr>
        <p:spPr>
          <a:xfrm>
            <a:off x="270355" y="1173922"/>
            <a:ext cx="2762777" cy="21390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3900" b="0" i="0" u="none" strike="noStrike" kern="1200" cap="none" spc="0" normalizeH="0" baseline="0" noProof="0">
                <a:ln>
                  <a:noFill/>
                </a:ln>
                <a:solidFill>
                  <a:srgbClr val="000000"/>
                </a:solidFill>
                <a:effectLst/>
                <a:uLnTx/>
                <a:uFillTx/>
                <a:latin typeface="Segoe UI"/>
                <a:ea typeface="+mn-ea"/>
                <a:cs typeface="+mn-cs"/>
              </a:rPr>
              <a:t>10</a:t>
            </a:r>
            <a:endParaRPr kumimoji="0" lang="en-US" sz="20000" b="0" i="0" u="none" strike="noStrike" kern="1200" cap="none" spc="0" normalizeH="0" baseline="0" noProof="0" err="1">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1839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3569707-2206-4F08-9188-28C05CEA3E2B}"/>
              </a:ext>
            </a:extLst>
          </p:cNvPr>
          <p:cNvSpPr>
            <a:spLocks noGrp="1"/>
          </p:cNvSpPr>
          <p:nvPr>
            <p:ph type="title"/>
          </p:nvPr>
        </p:nvSpPr>
        <p:spPr/>
        <p:txBody>
          <a:bodyPr/>
          <a:lstStyle/>
          <a:p>
            <a:r>
              <a:rPr lang="de-DE"/>
              <a:t>System </a:t>
            </a:r>
            <a:r>
              <a:rPr lang="de-DE" err="1"/>
              <a:t>Oversight</a:t>
            </a:r>
            <a:r>
              <a:rPr lang="de-DE"/>
              <a:t> </a:t>
            </a:r>
            <a:r>
              <a:rPr lang="de-DE" err="1"/>
              <a:t>Overview</a:t>
            </a:r>
            <a:r>
              <a:rPr lang="de-DE"/>
              <a:t> </a:t>
            </a:r>
          </a:p>
        </p:txBody>
      </p:sp>
      <p:grpSp>
        <p:nvGrpSpPr>
          <p:cNvPr id="6" name="Group 69">
            <a:extLst>
              <a:ext uri="{FF2B5EF4-FFF2-40B4-BE49-F238E27FC236}">
                <a16:creationId xmlns:a16="http://schemas.microsoft.com/office/drawing/2014/main" id="{6F90C70B-3B18-45C7-8BFA-501F7DBB4B91}"/>
              </a:ext>
            </a:extLst>
          </p:cNvPr>
          <p:cNvGrpSpPr/>
          <p:nvPr/>
        </p:nvGrpSpPr>
        <p:grpSpPr>
          <a:xfrm>
            <a:off x="7414579" y="1648780"/>
            <a:ext cx="3795888" cy="607458"/>
            <a:chOff x="15588833" y="3625334"/>
            <a:chExt cx="7591775" cy="1214915"/>
          </a:xfrm>
        </p:grpSpPr>
        <p:sp>
          <p:nvSpPr>
            <p:cNvPr id="7" name="Oval 70">
              <a:extLst>
                <a:ext uri="{FF2B5EF4-FFF2-40B4-BE49-F238E27FC236}">
                  <a16:creationId xmlns:a16="http://schemas.microsoft.com/office/drawing/2014/main" id="{0F054821-19B3-4D7F-80E9-EA89C4F9C975}"/>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CDD6D4AA-E3DE-430F-9947-4C50BE9332D7}"/>
                </a:ext>
              </a:extLst>
            </p:cNvPr>
            <p:cNvSpPr txBox="1">
              <a:spLocks/>
            </p:cNvSpPr>
            <p:nvPr/>
          </p:nvSpPr>
          <p:spPr>
            <a:xfrm>
              <a:off x="17175035" y="3973926"/>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st management</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9" name="Group 72">
              <a:extLst>
                <a:ext uri="{FF2B5EF4-FFF2-40B4-BE49-F238E27FC236}">
                  <a16:creationId xmlns:a16="http://schemas.microsoft.com/office/drawing/2014/main" id="{56BBA311-082B-4670-9C14-8C0889F36BA7}"/>
                </a:ext>
              </a:extLst>
            </p:cNvPr>
            <p:cNvGrpSpPr/>
            <p:nvPr/>
          </p:nvGrpSpPr>
          <p:grpSpPr>
            <a:xfrm>
              <a:off x="15924310" y="3897035"/>
              <a:ext cx="546100" cy="671513"/>
              <a:chOff x="11245851" y="9561513"/>
              <a:chExt cx="546100" cy="671513"/>
            </a:xfrm>
            <a:solidFill>
              <a:sysClr val="window" lastClr="FFFFFF"/>
            </a:solidFill>
          </p:grpSpPr>
          <p:sp>
            <p:nvSpPr>
              <p:cNvPr id="10" name="Freeform 17">
                <a:extLst>
                  <a:ext uri="{FF2B5EF4-FFF2-40B4-BE49-F238E27FC236}">
                    <a16:creationId xmlns:a16="http://schemas.microsoft.com/office/drawing/2014/main" id="{10226FB2-C179-454B-B98C-1CBE2198B912}"/>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18">
                <a:extLst>
                  <a:ext uri="{FF2B5EF4-FFF2-40B4-BE49-F238E27FC236}">
                    <a16:creationId xmlns:a16="http://schemas.microsoft.com/office/drawing/2014/main" id="{5605D107-9CA3-48DD-BFFF-0C5B44EBA49A}"/>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Freeform 19">
                <a:extLst>
                  <a:ext uri="{FF2B5EF4-FFF2-40B4-BE49-F238E27FC236}">
                    <a16:creationId xmlns:a16="http://schemas.microsoft.com/office/drawing/2014/main" id="{A7B2A27E-7457-433F-BE9A-C245EA9CCD5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20">
                <a:extLst>
                  <a:ext uri="{FF2B5EF4-FFF2-40B4-BE49-F238E27FC236}">
                    <a16:creationId xmlns:a16="http://schemas.microsoft.com/office/drawing/2014/main" id="{D1D851DA-9FDB-43CF-8C93-D4CC6CB140FA}"/>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4" name="Group 77">
            <a:extLst>
              <a:ext uri="{FF2B5EF4-FFF2-40B4-BE49-F238E27FC236}">
                <a16:creationId xmlns:a16="http://schemas.microsoft.com/office/drawing/2014/main" id="{BEE52CC6-C73F-4BB8-942D-829A979F2545}"/>
              </a:ext>
            </a:extLst>
          </p:cNvPr>
          <p:cNvGrpSpPr/>
          <p:nvPr/>
        </p:nvGrpSpPr>
        <p:grpSpPr>
          <a:xfrm>
            <a:off x="7421597" y="2533149"/>
            <a:ext cx="3832878" cy="607458"/>
            <a:chOff x="15602870" y="5394070"/>
            <a:chExt cx="7665756" cy="1214915"/>
          </a:xfrm>
        </p:grpSpPr>
        <p:sp>
          <p:nvSpPr>
            <p:cNvPr id="15" name="Oval 78">
              <a:extLst>
                <a:ext uri="{FF2B5EF4-FFF2-40B4-BE49-F238E27FC236}">
                  <a16:creationId xmlns:a16="http://schemas.microsoft.com/office/drawing/2014/main" id="{0B07B3BC-4A27-4A82-A0E1-CFC939A39785}"/>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6" name="Group 79">
              <a:extLst>
                <a:ext uri="{FF2B5EF4-FFF2-40B4-BE49-F238E27FC236}">
                  <a16:creationId xmlns:a16="http://schemas.microsoft.com/office/drawing/2014/main" id="{E93968A9-950F-449F-8F4E-F9165C1D7702}"/>
                </a:ext>
              </a:extLst>
            </p:cNvPr>
            <p:cNvGrpSpPr/>
            <p:nvPr/>
          </p:nvGrpSpPr>
          <p:grpSpPr>
            <a:xfrm>
              <a:off x="15891681" y="5694346"/>
              <a:ext cx="673100" cy="614363"/>
              <a:chOff x="11047413" y="6575425"/>
              <a:chExt cx="673100" cy="614363"/>
            </a:xfrm>
            <a:solidFill>
              <a:sysClr val="window" lastClr="FFFFFF"/>
            </a:solidFill>
          </p:grpSpPr>
          <p:sp>
            <p:nvSpPr>
              <p:cNvPr id="18" name="Freeform 47">
                <a:extLst>
                  <a:ext uri="{FF2B5EF4-FFF2-40B4-BE49-F238E27FC236}">
                    <a16:creationId xmlns:a16="http://schemas.microsoft.com/office/drawing/2014/main" id="{6727BF51-E7E8-4CAE-A77B-992A7EA0AB65}"/>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48">
                <a:extLst>
                  <a:ext uri="{FF2B5EF4-FFF2-40B4-BE49-F238E27FC236}">
                    <a16:creationId xmlns:a16="http://schemas.microsoft.com/office/drawing/2014/main" id="{1E6C0ECE-3C22-4263-A4CF-650298CE9D74}"/>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Freeform 49">
                <a:extLst>
                  <a:ext uri="{FF2B5EF4-FFF2-40B4-BE49-F238E27FC236}">
                    <a16:creationId xmlns:a16="http://schemas.microsoft.com/office/drawing/2014/main" id="{F514C004-276C-42A1-B0D3-3CD9F938AE7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Freeform 50">
                <a:extLst>
                  <a:ext uri="{FF2B5EF4-FFF2-40B4-BE49-F238E27FC236}">
                    <a16:creationId xmlns:a16="http://schemas.microsoft.com/office/drawing/2014/main" id="{96494105-8F59-4CCB-A3EB-C9A7E43C1DF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Text Placeholder 3">
              <a:extLst>
                <a:ext uri="{FF2B5EF4-FFF2-40B4-BE49-F238E27FC236}">
                  <a16:creationId xmlns:a16="http://schemas.microsoft.com/office/drawing/2014/main" id="{6A2F8A99-570F-46A9-A323-B6119ABEFA7A}"/>
                </a:ext>
              </a:extLst>
            </p:cNvPr>
            <p:cNvSpPr txBox="1">
              <a:spLocks/>
            </p:cNvSpPr>
            <p:nvPr/>
          </p:nvSpPr>
          <p:spPr>
            <a:xfrm>
              <a:off x="17263052" y="573323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curity and data protection</a:t>
              </a:r>
            </a:p>
          </p:txBody>
        </p:sp>
      </p:grpSp>
      <p:grpSp>
        <p:nvGrpSpPr>
          <p:cNvPr id="22" name="Group 85">
            <a:extLst>
              <a:ext uri="{FF2B5EF4-FFF2-40B4-BE49-F238E27FC236}">
                <a16:creationId xmlns:a16="http://schemas.microsoft.com/office/drawing/2014/main" id="{47DE96DA-EA67-46CC-B38F-BC89E6964377}"/>
              </a:ext>
            </a:extLst>
          </p:cNvPr>
          <p:cNvGrpSpPr/>
          <p:nvPr/>
        </p:nvGrpSpPr>
        <p:grpSpPr>
          <a:xfrm>
            <a:off x="7421597" y="3446666"/>
            <a:ext cx="3832878" cy="607458"/>
            <a:chOff x="15602870" y="7221105"/>
            <a:chExt cx="7665755" cy="1214915"/>
          </a:xfrm>
        </p:grpSpPr>
        <p:sp>
          <p:nvSpPr>
            <p:cNvPr id="23" name="Oval 86">
              <a:extLst>
                <a:ext uri="{FF2B5EF4-FFF2-40B4-BE49-F238E27FC236}">
                  <a16:creationId xmlns:a16="http://schemas.microsoft.com/office/drawing/2014/main" id="{571BCC17-9883-4C5A-819F-2BAA541348A0}"/>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4" name="Group 87">
              <a:extLst>
                <a:ext uri="{FF2B5EF4-FFF2-40B4-BE49-F238E27FC236}">
                  <a16:creationId xmlns:a16="http://schemas.microsoft.com/office/drawing/2014/main" id="{B58F2D47-22FA-43C0-B0F2-B21C7343E39D}"/>
                </a:ext>
              </a:extLst>
            </p:cNvPr>
            <p:cNvGrpSpPr/>
            <p:nvPr/>
          </p:nvGrpSpPr>
          <p:grpSpPr>
            <a:xfrm>
              <a:off x="15940928" y="7525366"/>
              <a:ext cx="611089" cy="613985"/>
              <a:chOff x="12606338" y="10871200"/>
              <a:chExt cx="669925" cy="673100"/>
            </a:xfrm>
            <a:solidFill>
              <a:sysClr val="window" lastClr="FFFFFF"/>
            </a:solidFill>
          </p:grpSpPr>
          <p:sp>
            <p:nvSpPr>
              <p:cNvPr id="26" name="Freeform 42">
                <a:extLst>
                  <a:ext uri="{FF2B5EF4-FFF2-40B4-BE49-F238E27FC236}">
                    <a16:creationId xmlns:a16="http://schemas.microsoft.com/office/drawing/2014/main" id="{25433DA0-A5FD-4F43-8578-B58219CA3B5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Freeform 43">
                <a:extLst>
                  <a:ext uri="{FF2B5EF4-FFF2-40B4-BE49-F238E27FC236}">
                    <a16:creationId xmlns:a16="http://schemas.microsoft.com/office/drawing/2014/main" id="{932E82CB-C329-49E5-8F40-DA20563DCE4A}"/>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Freeform 44">
                <a:extLst>
                  <a:ext uri="{FF2B5EF4-FFF2-40B4-BE49-F238E27FC236}">
                    <a16:creationId xmlns:a16="http://schemas.microsoft.com/office/drawing/2014/main" id="{1D6712B7-4419-4D75-8FCA-8A9BC79BE85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5" name="Text Placeholder 3">
              <a:extLst>
                <a:ext uri="{FF2B5EF4-FFF2-40B4-BE49-F238E27FC236}">
                  <a16:creationId xmlns:a16="http://schemas.microsoft.com/office/drawing/2014/main" id="{F6D19E14-F749-4439-956E-BD522B8387C7}"/>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uditing and monitoring</a:t>
              </a:r>
            </a:p>
          </p:txBody>
        </p:sp>
      </p:grpSp>
      <p:grpSp>
        <p:nvGrpSpPr>
          <p:cNvPr id="29" name="Group 92">
            <a:extLst>
              <a:ext uri="{FF2B5EF4-FFF2-40B4-BE49-F238E27FC236}">
                <a16:creationId xmlns:a16="http://schemas.microsoft.com/office/drawing/2014/main" id="{2282A930-16CF-41D4-905E-130A5C0709DE}"/>
              </a:ext>
            </a:extLst>
          </p:cNvPr>
          <p:cNvGrpSpPr/>
          <p:nvPr/>
        </p:nvGrpSpPr>
        <p:grpSpPr>
          <a:xfrm>
            <a:off x="7421597" y="4324619"/>
            <a:ext cx="3771364" cy="607458"/>
            <a:chOff x="15602870" y="8977015"/>
            <a:chExt cx="7542728" cy="1214915"/>
          </a:xfrm>
        </p:grpSpPr>
        <p:sp>
          <p:nvSpPr>
            <p:cNvPr id="30" name="Oval 93">
              <a:extLst>
                <a:ext uri="{FF2B5EF4-FFF2-40B4-BE49-F238E27FC236}">
                  <a16:creationId xmlns:a16="http://schemas.microsoft.com/office/drawing/2014/main" id="{EC9AB4CD-B4FF-4319-994D-558BB8C369F2}"/>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1" name="Freeform 23">
              <a:extLst>
                <a:ext uri="{FF2B5EF4-FFF2-40B4-BE49-F238E27FC236}">
                  <a16:creationId xmlns:a16="http://schemas.microsoft.com/office/drawing/2014/main" id="{7116AAF9-CA03-4E6C-956D-08ED37E4CA32}"/>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3">
              <a:extLst>
                <a:ext uri="{FF2B5EF4-FFF2-40B4-BE49-F238E27FC236}">
                  <a16:creationId xmlns:a16="http://schemas.microsoft.com/office/drawing/2014/main" id="{D8386C48-A98E-4670-B3E0-A7E5299D359F}"/>
                </a:ext>
              </a:extLst>
            </p:cNvPr>
            <p:cNvSpPr txBox="1">
              <a:spLocks/>
            </p:cNvSpPr>
            <p:nvPr/>
          </p:nvSpPr>
          <p:spPr>
            <a:xfrm>
              <a:off x="17140024" y="915293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lanning for change</a:t>
              </a:r>
            </a:p>
          </p:txBody>
        </p:sp>
      </p:grpSp>
      <p:grpSp>
        <p:nvGrpSpPr>
          <p:cNvPr id="41" name="Group 69">
            <a:extLst>
              <a:ext uri="{FF2B5EF4-FFF2-40B4-BE49-F238E27FC236}">
                <a16:creationId xmlns:a16="http://schemas.microsoft.com/office/drawing/2014/main" id="{EFDDA750-0661-4AA3-BB22-8B3F72B4D9C3}"/>
              </a:ext>
            </a:extLst>
          </p:cNvPr>
          <p:cNvGrpSpPr/>
          <p:nvPr/>
        </p:nvGrpSpPr>
        <p:grpSpPr>
          <a:xfrm>
            <a:off x="1479173" y="1648780"/>
            <a:ext cx="3778381" cy="607458"/>
            <a:chOff x="15588833" y="3625334"/>
            <a:chExt cx="7556761" cy="1214915"/>
          </a:xfrm>
        </p:grpSpPr>
        <p:sp>
          <p:nvSpPr>
            <p:cNvPr id="42" name="Oval 70">
              <a:extLst>
                <a:ext uri="{FF2B5EF4-FFF2-40B4-BE49-F238E27FC236}">
                  <a16:creationId xmlns:a16="http://schemas.microsoft.com/office/drawing/2014/main" id="{4BF7EDE0-6541-4FA8-A0C0-87C6BBCA2DCA}"/>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3" name="Text Placeholder 3">
              <a:extLst>
                <a:ext uri="{FF2B5EF4-FFF2-40B4-BE49-F238E27FC236}">
                  <a16:creationId xmlns:a16="http://schemas.microsoft.com/office/drawing/2014/main" id="{39ED7946-852F-4C48-8E9F-30EC0F90ED91}"/>
                </a:ext>
              </a:extLst>
            </p:cNvPr>
            <p:cNvSpPr txBox="1">
              <a:spLocks/>
            </p:cNvSpPr>
            <p:nvPr/>
          </p:nvSpPr>
          <p:spPr>
            <a:xfrm>
              <a:off x="17140021" y="4160912"/>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ministration</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4" name="Group 72">
              <a:extLst>
                <a:ext uri="{FF2B5EF4-FFF2-40B4-BE49-F238E27FC236}">
                  <a16:creationId xmlns:a16="http://schemas.microsoft.com/office/drawing/2014/main" id="{5F34D92F-648F-4C4D-9DCD-6F559DE1529C}"/>
                </a:ext>
              </a:extLst>
            </p:cNvPr>
            <p:cNvGrpSpPr/>
            <p:nvPr/>
          </p:nvGrpSpPr>
          <p:grpSpPr>
            <a:xfrm>
              <a:off x="15924310" y="3897035"/>
              <a:ext cx="546100" cy="671513"/>
              <a:chOff x="11245851" y="9561513"/>
              <a:chExt cx="546100" cy="671513"/>
            </a:xfrm>
            <a:solidFill>
              <a:sysClr val="window" lastClr="FFFFFF"/>
            </a:solidFill>
          </p:grpSpPr>
          <p:sp>
            <p:nvSpPr>
              <p:cNvPr id="45" name="Freeform 17">
                <a:extLst>
                  <a:ext uri="{FF2B5EF4-FFF2-40B4-BE49-F238E27FC236}">
                    <a16:creationId xmlns:a16="http://schemas.microsoft.com/office/drawing/2014/main" id="{EC0094E4-7D35-4343-BEBD-67B85EB7680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Freeform 18">
                <a:extLst>
                  <a:ext uri="{FF2B5EF4-FFF2-40B4-BE49-F238E27FC236}">
                    <a16:creationId xmlns:a16="http://schemas.microsoft.com/office/drawing/2014/main" id="{B0496557-0903-4845-AC3F-421C89FC0A9E}"/>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Freeform 19">
                <a:extLst>
                  <a:ext uri="{FF2B5EF4-FFF2-40B4-BE49-F238E27FC236}">
                    <a16:creationId xmlns:a16="http://schemas.microsoft.com/office/drawing/2014/main" id="{02D64EF6-C636-47BF-8942-EDC99AAD6D88}"/>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Freeform 20">
                <a:extLst>
                  <a:ext uri="{FF2B5EF4-FFF2-40B4-BE49-F238E27FC236}">
                    <a16:creationId xmlns:a16="http://schemas.microsoft.com/office/drawing/2014/main" id="{69042E4D-05AD-4149-8F2D-3F1F6597B7B1}"/>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49" name="Group 77">
            <a:extLst>
              <a:ext uri="{FF2B5EF4-FFF2-40B4-BE49-F238E27FC236}">
                <a16:creationId xmlns:a16="http://schemas.microsoft.com/office/drawing/2014/main" id="{206DED04-9D20-496B-987C-4D44956333EB}"/>
              </a:ext>
            </a:extLst>
          </p:cNvPr>
          <p:cNvGrpSpPr/>
          <p:nvPr/>
        </p:nvGrpSpPr>
        <p:grpSpPr>
          <a:xfrm>
            <a:off x="1486191" y="2533149"/>
            <a:ext cx="3792857" cy="607458"/>
            <a:chOff x="15602870" y="5394070"/>
            <a:chExt cx="7585714" cy="1214915"/>
          </a:xfrm>
        </p:grpSpPr>
        <p:sp>
          <p:nvSpPr>
            <p:cNvPr id="50" name="Oval 78">
              <a:extLst>
                <a:ext uri="{FF2B5EF4-FFF2-40B4-BE49-F238E27FC236}">
                  <a16:creationId xmlns:a16="http://schemas.microsoft.com/office/drawing/2014/main" id="{5B85078E-24B0-43F4-8131-71B46DBEFD54}"/>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1" name="Group 79">
              <a:extLst>
                <a:ext uri="{FF2B5EF4-FFF2-40B4-BE49-F238E27FC236}">
                  <a16:creationId xmlns:a16="http://schemas.microsoft.com/office/drawing/2014/main" id="{DF8DB950-E601-489D-AD82-E0217FCBD5BE}"/>
                </a:ext>
              </a:extLst>
            </p:cNvPr>
            <p:cNvGrpSpPr/>
            <p:nvPr/>
          </p:nvGrpSpPr>
          <p:grpSpPr>
            <a:xfrm>
              <a:off x="15891681" y="5694346"/>
              <a:ext cx="673100" cy="614363"/>
              <a:chOff x="11047413" y="6575425"/>
              <a:chExt cx="673100" cy="614363"/>
            </a:xfrm>
            <a:solidFill>
              <a:sysClr val="window" lastClr="FFFFFF"/>
            </a:solidFill>
          </p:grpSpPr>
          <p:sp>
            <p:nvSpPr>
              <p:cNvPr id="53" name="Freeform 47">
                <a:extLst>
                  <a:ext uri="{FF2B5EF4-FFF2-40B4-BE49-F238E27FC236}">
                    <a16:creationId xmlns:a16="http://schemas.microsoft.com/office/drawing/2014/main" id="{171488CC-200A-4E44-A2F0-D30878255E5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Freeform 48">
                <a:extLst>
                  <a:ext uri="{FF2B5EF4-FFF2-40B4-BE49-F238E27FC236}">
                    <a16:creationId xmlns:a16="http://schemas.microsoft.com/office/drawing/2014/main" id="{F8F8D6D0-2DB4-44A7-8CB0-BFB9520D9A71}"/>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Freeform 49">
                <a:extLst>
                  <a:ext uri="{FF2B5EF4-FFF2-40B4-BE49-F238E27FC236}">
                    <a16:creationId xmlns:a16="http://schemas.microsoft.com/office/drawing/2014/main" id="{BDCDA7EC-AB0E-404C-B8F8-DFF809ABB3A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Freeform 50">
                <a:extLst>
                  <a:ext uri="{FF2B5EF4-FFF2-40B4-BE49-F238E27FC236}">
                    <a16:creationId xmlns:a16="http://schemas.microsoft.com/office/drawing/2014/main" id="{D883E9F2-C01B-4E66-97BA-EB2A7CA053E8}"/>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52" name="Text Placeholder 3">
              <a:extLst>
                <a:ext uri="{FF2B5EF4-FFF2-40B4-BE49-F238E27FC236}">
                  <a16:creationId xmlns:a16="http://schemas.microsoft.com/office/drawing/2014/main" id="{EF8FDB36-4FB2-4FDE-8369-7772EB6B3F75}"/>
                </a:ext>
              </a:extLst>
            </p:cNvPr>
            <p:cNvSpPr txBox="1">
              <a:spLocks/>
            </p:cNvSpPr>
            <p:nvPr/>
          </p:nvSpPr>
          <p:spPr>
            <a:xfrm>
              <a:off x="17183010" y="577116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rvice Management</a:t>
              </a:r>
            </a:p>
          </p:txBody>
        </p:sp>
      </p:grpSp>
      <p:grpSp>
        <p:nvGrpSpPr>
          <p:cNvPr id="57" name="Group 85">
            <a:extLst>
              <a:ext uri="{FF2B5EF4-FFF2-40B4-BE49-F238E27FC236}">
                <a16:creationId xmlns:a16="http://schemas.microsoft.com/office/drawing/2014/main" id="{B6888871-4C9D-47B9-94ED-6FFA2995646F}"/>
              </a:ext>
            </a:extLst>
          </p:cNvPr>
          <p:cNvGrpSpPr/>
          <p:nvPr/>
        </p:nvGrpSpPr>
        <p:grpSpPr>
          <a:xfrm>
            <a:off x="1486191" y="3446666"/>
            <a:ext cx="3832878" cy="607458"/>
            <a:chOff x="15602870" y="7221105"/>
            <a:chExt cx="7665755" cy="1214915"/>
          </a:xfrm>
        </p:grpSpPr>
        <p:sp>
          <p:nvSpPr>
            <p:cNvPr id="58" name="Oval 86">
              <a:extLst>
                <a:ext uri="{FF2B5EF4-FFF2-40B4-BE49-F238E27FC236}">
                  <a16:creationId xmlns:a16="http://schemas.microsoft.com/office/drawing/2014/main" id="{A19BDB5E-5496-4C18-8233-EE50D4205B12}"/>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9" name="Group 87">
              <a:extLst>
                <a:ext uri="{FF2B5EF4-FFF2-40B4-BE49-F238E27FC236}">
                  <a16:creationId xmlns:a16="http://schemas.microsoft.com/office/drawing/2014/main" id="{8B508166-A94D-4E2C-96DA-606E4B8B39C2}"/>
                </a:ext>
              </a:extLst>
            </p:cNvPr>
            <p:cNvGrpSpPr/>
            <p:nvPr/>
          </p:nvGrpSpPr>
          <p:grpSpPr>
            <a:xfrm>
              <a:off x="15940928" y="7525366"/>
              <a:ext cx="611089" cy="613985"/>
              <a:chOff x="12606338" y="10871200"/>
              <a:chExt cx="669925" cy="673100"/>
            </a:xfrm>
            <a:solidFill>
              <a:sysClr val="window" lastClr="FFFFFF"/>
            </a:solidFill>
          </p:grpSpPr>
          <p:sp>
            <p:nvSpPr>
              <p:cNvPr id="61" name="Freeform 42">
                <a:extLst>
                  <a:ext uri="{FF2B5EF4-FFF2-40B4-BE49-F238E27FC236}">
                    <a16:creationId xmlns:a16="http://schemas.microsoft.com/office/drawing/2014/main" id="{456A3709-BAFA-4F49-95B3-3723399A6481}"/>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Freeform 43">
                <a:extLst>
                  <a:ext uri="{FF2B5EF4-FFF2-40B4-BE49-F238E27FC236}">
                    <a16:creationId xmlns:a16="http://schemas.microsoft.com/office/drawing/2014/main" id="{C9EFB9FD-A4CA-4755-A705-52E478A2FF7C}"/>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Freeform 44">
                <a:extLst>
                  <a:ext uri="{FF2B5EF4-FFF2-40B4-BE49-F238E27FC236}">
                    <a16:creationId xmlns:a16="http://schemas.microsoft.com/office/drawing/2014/main" id="{D1279FEB-FC32-41A0-A347-86D1EE3CF1BF}"/>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0" name="Text Placeholder 3">
              <a:extLst>
                <a:ext uri="{FF2B5EF4-FFF2-40B4-BE49-F238E27FC236}">
                  <a16:creationId xmlns:a16="http://schemas.microsoft.com/office/drawing/2014/main" id="{35246524-EEF1-4735-ACDB-84A0EA0A9AAB}"/>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machines and devices</a:t>
              </a:r>
            </a:p>
          </p:txBody>
        </p:sp>
      </p:grpSp>
      <p:grpSp>
        <p:nvGrpSpPr>
          <p:cNvPr id="64" name="Group 92">
            <a:extLst>
              <a:ext uri="{FF2B5EF4-FFF2-40B4-BE49-F238E27FC236}">
                <a16:creationId xmlns:a16="http://schemas.microsoft.com/office/drawing/2014/main" id="{C69AC8FC-9945-49D0-B71B-92E94C12A5F5}"/>
              </a:ext>
            </a:extLst>
          </p:cNvPr>
          <p:cNvGrpSpPr/>
          <p:nvPr/>
        </p:nvGrpSpPr>
        <p:grpSpPr>
          <a:xfrm>
            <a:off x="1486191" y="4324619"/>
            <a:ext cx="3792856" cy="607458"/>
            <a:chOff x="15602870" y="8977015"/>
            <a:chExt cx="7585712" cy="1214915"/>
          </a:xfrm>
        </p:grpSpPr>
        <p:sp>
          <p:nvSpPr>
            <p:cNvPr id="65" name="Oval 93">
              <a:extLst>
                <a:ext uri="{FF2B5EF4-FFF2-40B4-BE49-F238E27FC236}">
                  <a16:creationId xmlns:a16="http://schemas.microsoft.com/office/drawing/2014/main" id="{719C3E51-A70A-4CDC-8542-52704EA1CF64}"/>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6" name="Freeform 23">
              <a:extLst>
                <a:ext uri="{FF2B5EF4-FFF2-40B4-BE49-F238E27FC236}">
                  <a16:creationId xmlns:a16="http://schemas.microsoft.com/office/drawing/2014/main" id="{DF0A1F6B-1E01-454B-81B3-59A5756EFBFC}"/>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Text Placeholder 3">
              <a:extLst>
                <a:ext uri="{FF2B5EF4-FFF2-40B4-BE49-F238E27FC236}">
                  <a16:creationId xmlns:a16="http://schemas.microsoft.com/office/drawing/2014/main" id="{246BD4E9-E743-4EE1-B7D7-A2759C0D7701}"/>
                </a:ext>
              </a:extLst>
            </p:cNvPr>
            <p:cNvSpPr txBox="1">
              <a:spLocks/>
            </p:cNvSpPr>
            <p:nvPr/>
          </p:nvSpPr>
          <p:spPr>
            <a:xfrm>
              <a:off x="17183008" y="941418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rchitecture</a:t>
              </a:r>
            </a:p>
          </p:txBody>
        </p:sp>
      </p:grpSp>
      <p:grpSp>
        <p:nvGrpSpPr>
          <p:cNvPr id="68" name="Group 96">
            <a:extLst>
              <a:ext uri="{FF2B5EF4-FFF2-40B4-BE49-F238E27FC236}">
                <a16:creationId xmlns:a16="http://schemas.microsoft.com/office/drawing/2014/main" id="{D0A42029-B5D2-4D59-B206-BE35B9F931D4}"/>
              </a:ext>
            </a:extLst>
          </p:cNvPr>
          <p:cNvGrpSpPr/>
          <p:nvPr/>
        </p:nvGrpSpPr>
        <p:grpSpPr>
          <a:xfrm>
            <a:off x="1486191" y="5210014"/>
            <a:ext cx="3812367" cy="607458"/>
            <a:chOff x="15602870" y="10747797"/>
            <a:chExt cx="7624734" cy="1214915"/>
          </a:xfrm>
        </p:grpSpPr>
        <p:sp>
          <p:nvSpPr>
            <p:cNvPr id="69" name="Oval 97">
              <a:extLst>
                <a:ext uri="{FF2B5EF4-FFF2-40B4-BE49-F238E27FC236}">
                  <a16:creationId xmlns:a16="http://schemas.microsoft.com/office/drawing/2014/main" id="{819ED535-6CFD-4807-9D96-E704A40D6881}"/>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70" name="Group 98">
              <a:extLst>
                <a:ext uri="{FF2B5EF4-FFF2-40B4-BE49-F238E27FC236}">
                  <a16:creationId xmlns:a16="http://schemas.microsoft.com/office/drawing/2014/main" id="{57DEA7C3-6446-4837-84E3-B2B7CB24C560}"/>
                </a:ext>
              </a:extLst>
            </p:cNvPr>
            <p:cNvGrpSpPr/>
            <p:nvPr/>
          </p:nvGrpSpPr>
          <p:grpSpPr>
            <a:xfrm>
              <a:off x="15971306" y="11025054"/>
              <a:ext cx="485775" cy="660400"/>
              <a:chOff x="12746038" y="9359900"/>
              <a:chExt cx="485775" cy="660400"/>
            </a:xfrm>
            <a:solidFill>
              <a:sysClr val="window" lastClr="FFFFFF"/>
            </a:solidFill>
          </p:grpSpPr>
          <p:sp>
            <p:nvSpPr>
              <p:cNvPr id="72" name="Freeform 38">
                <a:extLst>
                  <a:ext uri="{FF2B5EF4-FFF2-40B4-BE49-F238E27FC236}">
                    <a16:creationId xmlns:a16="http://schemas.microsoft.com/office/drawing/2014/main" id="{B9996AD0-5859-4380-8763-F543D844299C}"/>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Freeform 39">
                <a:extLst>
                  <a:ext uri="{FF2B5EF4-FFF2-40B4-BE49-F238E27FC236}">
                    <a16:creationId xmlns:a16="http://schemas.microsoft.com/office/drawing/2014/main" id="{67B994EC-7942-4055-8089-D62A593F618F}"/>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Freeform 40">
                <a:extLst>
                  <a:ext uri="{FF2B5EF4-FFF2-40B4-BE49-F238E27FC236}">
                    <a16:creationId xmlns:a16="http://schemas.microsoft.com/office/drawing/2014/main" id="{701C2AF4-974A-4B6E-99B1-7CD2B7826361}"/>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Freeform 41">
                <a:extLst>
                  <a:ext uri="{FF2B5EF4-FFF2-40B4-BE49-F238E27FC236}">
                    <a16:creationId xmlns:a16="http://schemas.microsoft.com/office/drawing/2014/main" id="{651FE938-0AD5-4AE5-92DD-33077AD8C6D3}"/>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71" name="Text Placeholder 3">
              <a:extLst>
                <a:ext uri="{FF2B5EF4-FFF2-40B4-BE49-F238E27FC236}">
                  <a16:creationId xmlns:a16="http://schemas.microsoft.com/office/drawing/2014/main" id="{DA711728-D174-4A54-86EF-828B83755BB9}"/>
                </a:ext>
              </a:extLst>
            </p:cNvPr>
            <p:cNvSpPr txBox="1">
              <a:spLocks/>
            </p:cNvSpPr>
            <p:nvPr/>
          </p:nvSpPr>
          <p:spPr>
            <a:xfrm>
              <a:off x="17222030" y="1119051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licenses</a:t>
              </a:r>
            </a:p>
          </p:txBody>
        </p:sp>
      </p:grpSp>
    </p:spTree>
    <p:extLst>
      <p:ext uri="{BB962C8B-B14F-4D97-AF65-F5344CB8AC3E}">
        <p14:creationId xmlns:p14="http://schemas.microsoft.com/office/powerpoint/2010/main" val="258455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3569707-2206-4F08-9188-28C05CEA3E2B}"/>
              </a:ext>
            </a:extLst>
          </p:cNvPr>
          <p:cNvSpPr>
            <a:spLocks noGrp="1"/>
          </p:cNvSpPr>
          <p:nvPr>
            <p:ph type="title"/>
          </p:nvPr>
        </p:nvSpPr>
        <p:spPr/>
        <p:txBody>
          <a:bodyPr/>
          <a:lstStyle/>
          <a:p>
            <a:r>
              <a:rPr lang="de-DE"/>
              <a:t>System </a:t>
            </a:r>
            <a:r>
              <a:rPr lang="de-DE" err="1"/>
              <a:t>Oversight</a:t>
            </a:r>
            <a:r>
              <a:rPr lang="de-DE"/>
              <a:t> </a:t>
            </a:r>
            <a:r>
              <a:rPr lang="de-DE" err="1"/>
              <a:t>Overview</a:t>
            </a:r>
            <a:r>
              <a:rPr lang="de-DE"/>
              <a:t> </a:t>
            </a:r>
          </a:p>
        </p:txBody>
      </p:sp>
      <p:grpSp>
        <p:nvGrpSpPr>
          <p:cNvPr id="6" name="Group 69">
            <a:extLst>
              <a:ext uri="{FF2B5EF4-FFF2-40B4-BE49-F238E27FC236}">
                <a16:creationId xmlns:a16="http://schemas.microsoft.com/office/drawing/2014/main" id="{6F90C70B-3B18-45C7-8BFA-501F7DBB4B91}"/>
              </a:ext>
            </a:extLst>
          </p:cNvPr>
          <p:cNvGrpSpPr/>
          <p:nvPr/>
        </p:nvGrpSpPr>
        <p:grpSpPr>
          <a:xfrm>
            <a:off x="7414579" y="1648780"/>
            <a:ext cx="3795888" cy="607458"/>
            <a:chOff x="15588833" y="3625334"/>
            <a:chExt cx="7591775" cy="1214915"/>
          </a:xfrm>
        </p:grpSpPr>
        <p:sp>
          <p:nvSpPr>
            <p:cNvPr id="7" name="Oval 70">
              <a:extLst>
                <a:ext uri="{FF2B5EF4-FFF2-40B4-BE49-F238E27FC236}">
                  <a16:creationId xmlns:a16="http://schemas.microsoft.com/office/drawing/2014/main" id="{0F054821-19B3-4D7F-80E9-EA89C4F9C975}"/>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CDD6D4AA-E3DE-430F-9947-4C50BE9332D7}"/>
                </a:ext>
              </a:extLst>
            </p:cNvPr>
            <p:cNvSpPr txBox="1">
              <a:spLocks/>
            </p:cNvSpPr>
            <p:nvPr/>
          </p:nvSpPr>
          <p:spPr>
            <a:xfrm>
              <a:off x="17175035" y="3973926"/>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Cost management</a:t>
              </a:r>
              <a:endParaRPr kumimoji="0" lang="en-US" sz="1200" b="0" i="0" u="none" strike="noStrike" kern="0" cap="none" spc="0" normalizeH="0" baseline="0" noProof="0">
                <a:ln>
                  <a:noFill/>
                </a:ln>
                <a:solidFill>
                  <a:srgbClr val="B2B2B2">
                    <a:lumMod val="40000"/>
                    <a:lumOff val="60000"/>
                  </a:srgb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9" name="Group 72">
              <a:extLst>
                <a:ext uri="{FF2B5EF4-FFF2-40B4-BE49-F238E27FC236}">
                  <a16:creationId xmlns:a16="http://schemas.microsoft.com/office/drawing/2014/main" id="{56BBA311-082B-4670-9C14-8C0889F36BA7}"/>
                </a:ext>
              </a:extLst>
            </p:cNvPr>
            <p:cNvGrpSpPr/>
            <p:nvPr/>
          </p:nvGrpSpPr>
          <p:grpSpPr>
            <a:xfrm>
              <a:off x="15924310" y="3897035"/>
              <a:ext cx="546100" cy="671513"/>
              <a:chOff x="11245851" y="9561513"/>
              <a:chExt cx="546100" cy="671513"/>
            </a:xfrm>
            <a:solidFill>
              <a:sysClr val="window" lastClr="FFFFFF"/>
            </a:solidFill>
          </p:grpSpPr>
          <p:sp>
            <p:nvSpPr>
              <p:cNvPr id="10" name="Freeform 17">
                <a:extLst>
                  <a:ext uri="{FF2B5EF4-FFF2-40B4-BE49-F238E27FC236}">
                    <a16:creationId xmlns:a16="http://schemas.microsoft.com/office/drawing/2014/main" id="{10226FB2-C179-454B-B98C-1CBE2198B912}"/>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18">
                <a:extLst>
                  <a:ext uri="{FF2B5EF4-FFF2-40B4-BE49-F238E27FC236}">
                    <a16:creationId xmlns:a16="http://schemas.microsoft.com/office/drawing/2014/main" id="{5605D107-9CA3-48DD-BFFF-0C5B44EBA49A}"/>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Freeform 19">
                <a:extLst>
                  <a:ext uri="{FF2B5EF4-FFF2-40B4-BE49-F238E27FC236}">
                    <a16:creationId xmlns:a16="http://schemas.microsoft.com/office/drawing/2014/main" id="{A7B2A27E-7457-433F-BE9A-C245EA9CCD5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Freeform 20">
                <a:extLst>
                  <a:ext uri="{FF2B5EF4-FFF2-40B4-BE49-F238E27FC236}">
                    <a16:creationId xmlns:a16="http://schemas.microsoft.com/office/drawing/2014/main" id="{D1D851DA-9FDB-43CF-8C93-D4CC6CB140FA}"/>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4" name="Group 77">
            <a:extLst>
              <a:ext uri="{FF2B5EF4-FFF2-40B4-BE49-F238E27FC236}">
                <a16:creationId xmlns:a16="http://schemas.microsoft.com/office/drawing/2014/main" id="{BEE52CC6-C73F-4BB8-942D-829A979F2545}"/>
              </a:ext>
            </a:extLst>
          </p:cNvPr>
          <p:cNvGrpSpPr/>
          <p:nvPr/>
        </p:nvGrpSpPr>
        <p:grpSpPr>
          <a:xfrm>
            <a:off x="7421597" y="2533149"/>
            <a:ext cx="4073717" cy="607458"/>
            <a:chOff x="15602870" y="5394070"/>
            <a:chExt cx="8147434" cy="1214915"/>
          </a:xfrm>
        </p:grpSpPr>
        <p:sp>
          <p:nvSpPr>
            <p:cNvPr id="15" name="Oval 78">
              <a:extLst>
                <a:ext uri="{FF2B5EF4-FFF2-40B4-BE49-F238E27FC236}">
                  <a16:creationId xmlns:a16="http://schemas.microsoft.com/office/drawing/2014/main" id="{0B07B3BC-4A27-4A82-A0E1-CFC939A39785}"/>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6" name="Group 79">
              <a:extLst>
                <a:ext uri="{FF2B5EF4-FFF2-40B4-BE49-F238E27FC236}">
                  <a16:creationId xmlns:a16="http://schemas.microsoft.com/office/drawing/2014/main" id="{E93968A9-950F-449F-8F4E-F9165C1D7702}"/>
                </a:ext>
              </a:extLst>
            </p:cNvPr>
            <p:cNvGrpSpPr/>
            <p:nvPr/>
          </p:nvGrpSpPr>
          <p:grpSpPr>
            <a:xfrm>
              <a:off x="15891681" y="5694346"/>
              <a:ext cx="673100" cy="614363"/>
              <a:chOff x="11047413" y="6575425"/>
              <a:chExt cx="673100" cy="614363"/>
            </a:xfrm>
            <a:solidFill>
              <a:sysClr val="window" lastClr="FFFFFF"/>
            </a:solidFill>
          </p:grpSpPr>
          <p:sp>
            <p:nvSpPr>
              <p:cNvPr id="18" name="Freeform 47">
                <a:extLst>
                  <a:ext uri="{FF2B5EF4-FFF2-40B4-BE49-F238E27FC236}">
                    <a16:creationId xmlns:a16="http://schemas.microsoft.com/office/drawing/2014/main" id="{6727BF51-E7E8-4CAE-A77B-992A7EA0AB65}"/>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48">
                <a:extLst>
                  <a:ext uri="{FF2B5EF4-FFF2-40B4-BE49-F238E27FC236}">
                    <a16:creationId xmlns:a16="http://schemas.microsoft.com/office/drawing/2014/main" id="{1E6C0ECE-3C22-4263-A4CF-650298CE9D74}"/>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Freeform 49">
                <a:extLst>
                  <a:ext uri="{FF2B5EF4-FFF2-40B4-BE49-F238E27FC236}">
                    <a16:creationId xmlns:a16="http://schemas.microsoft.com/office/drawing/2014/main" id="{F514C004-276C-42A1-B0D3-3CD9F938AE7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Freeform 50">
                <a:extLst>
                  <a:ext uri="{FF2B5EF4-FFF2-40B4-BE49-F238E27FC236}">
                    <a16:creationId xmlns:a16="http://schemas.microsoft.com/office/drawing/2014/main" id="{96494105-8F59-4CCB-A3EB-C9A7E43C1DF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Text Placeholder 3">
              <a:extLst>
                <a:ext uri="{FF2B5EF4-FFF2-40B4-BE49-F238E27FC236}">
                  <a16:creationId xmlns:a16="http://schemas.microsoft.com/office/drawing/2014/main" id="{6A2F8A99-570F-46A9-A323-B6119ABEFA7A}"/>
                </a:ext>
              </a:extLst>
            </p:cNvPr>
            <p:cNvSpPr txBox="1">
              <a:spLocks/>
            </p:cNvSpPr>
            <p:nvPr/>
          </p:nvSpPr>
          <p:spPr>
            <a:xfrm>
              <a:off x="17263052" y="5733234"/>
              <a:ext cx="6487252"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Security and data protection</a:t>
              </a:r>
            </a:p>
          </p:txBody>
        </p:sp>
      </p:grpSp>
      <p:grpSp>
        <p:nvGrpSpPr>
          <p:cNvPr id="22" name="Group 85">
            <a:extLst>
              <a:ext uri="{FF2B5EF4-FFF2-40B4-BE49-F238E27FC236}">
                <a16:creationId xmlns:a16="http://schemas.microsoft.com/office/drawing/2014/main" id="{47DE96DA-EA67-46CC-B38F-BC89E6964377}"/>
              </a:ext>
            </a:extLst>
          </p:cNvPr>
          <p:cNvGrpSpPr/>
          <p:nvPr/>
        </p:nvGrpSpPr>
        <p:grpSpPr>
          <a:xfrm>
            <a:off x="7421597" y="3446666"/>
            <a:ext cx="3832878" cy="607458"/>
            <a:chOff x="15602870" y="7221105"/>
            <a:chExt cx="7665755" cy="1214915"/>
          </a:xfrm>
        </p:grpSpPr>
        <p:sp>
          <p:nvSpPr>
            <p:cNvPr id="23" name="Oval 86">
              <a:extLst>
                <a:ext uri="{FF2B5EF4-FFF2-40B4-BE49-F238E27FC236}">
                  <a16:creationId xmlns:a16="http://schemas.microsoft.com/office/drawing/2014/main" id="{571BCC17-9883-4C5A-819F-2BAA541348A0}"/>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4" name="Group 87">
              <a:extLst>
                <a:ext uri="{FF2B5EF4-FFF2-40B4-BE49-F238E27FC236}">
                  <a16:creationId xmlns:a16="http://schemas.microsoft.com/office/drawing/2014/main" id="{B58F2D47-22FA-43C0-B0F2-B21C7343E39D}"/>
                </a:ext>
              </a:extLst>
            </p:cNvPr>
            <p:cNvGrpSpPr/>
            <p:nvPr/>
          </p:nvGrpSpPr>
          <p:grpSpPr>
            <a:xfrm>
              <a:off x="15940928" y="7525366"/>
              <a:ext cx="611089" cy="613985"/>
              <a:chOff x="12606338" y="10871200"/>
              <a:chExt cx="669925" cy="673100"/>
            </a:xfrm>
            <a:solidFill>
              <a:sysClr val="window" lastClr="FFFFFF"/>
            </a:solidFill>
          </p:grpSpPr>
          <p:sp>
            <p:nvSpPr>
              <p:cNvPr id="26" name="Freeform 42">
                <a:extLst>
                  <a:ext uri="{FF2B5EF4-FFF2-40B4-BE49-F238E27FC236}">
                    <a16:creationId xmlns:a16="http://schemas.microsoft.com/office/drawing/2014/main" id="{25433DA0-A5FD-4F43-8578-B58219CA3B5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Freeform 43">
                <a:extLst>
                  <a:ext uri="{FF2B5EF4-FFF2-40B4-BE49-F238E27FC236}">
                    <a16:creationId xmlns:a16="http://schemas.microsoft.com/office/drawing/2014/main" id="{932E82CB-C329-49E5-8F40-DA20563DCE4A}"/>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Freeform 44">
                <a:extLst>
                  <a:ext uri="{FF2B5EF4-FFF2-40B4-BE49-F238E27FC236}">
                    <a16:creationId xmlns:a16="http://schemas.microsoft.com/office/drawing/2014/main" id="{1D6712B7-4419-4D75-8FCA-8A9BC79BE85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5" name="Text Placeholder 3">
              <a:extLst>
                <a:ext uri="{FF2B5EF4-FFF2-40B4-BE49-F238E27FC236}">
                  <a16:creationId xmlns:a16="http://schemas.microsoft.com/office/drawing/2014/main" id="{F6D19E14-F749-4439-956E-BD522B8387C7}"/>
                </a:ext>
              </a:extLst>
            </p:cNvPr>
            <p:cNvSpPr txBox="1">
              <a:spLocks/>
            </p:cNvSpPr>
            <p:nvPr/>
          </p:nvSpPr>
          <p:spPr>
            <a:xfrm>
              <a:off x="17263052" y="7615467"/>
              <a:ext cx="6005573"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Auditing and monitoring</a:t>
              </a:r>
            </a:p>
          </p:txBody>
        </p:sp>
      </p:grpSp>
      <p:grpSp>
        <p:nvGrpSpPr>
          <p:cNvPr id="29" name="Group 92">
            <a:extLst>
              <a:ext uri="{FF2B5EF4-FFF2-40B4-BE49-F238E27FC236}">
                <a16:creationId xmlns:a16="http://schemas.microsoft.com/office/drawing/2014/main" id="{2282A930-16CF-41D4-905E-130A5C0709DE}"/>
              </a:ext>
            </a:extLst>
          </p:cNvPr>
          <p:cNvGrpSpPr/>
          <p:nvPr/>
        </p:nvGrpSpPr>
        <p:grpSpPr>
          <a:xfrm>
            <a:off x="7421597" y="4324619"/>
            <a:ext cx="3832878" cy="607458"/>
            <a:chOff x="15602870" y="8977015"/>
            <a:chExt cx="7665756" cy="1214915"/>
          </a:xfrm>
        </p:grpSpPr>
        <p:sp>
          <p:nvSpPr>
            <p:cNvPr id="30" name="Oval 93">
              <a:extLst>
                <a:ext uri="{FF2B5EF4-FFF2-40B4-BE49-F238E27FC236}">
                  <a16:creationId xmlns:a16="http://schemas.microsoft.com/office/drawing/2014/main" id="{EC9AB4CD-B4FF-4319-994D-558BB8C369F2}"/>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1" name="Freeform 23">
              <a:extLst>
                <a:ext uri="{FF2B5EF4-FFF2-40B4-BE49-F238E27FC236}">
                  <a16:creationId xmlns:a16="http://schemas.microsoft.com/office/drawing/2014/main" id="{7116AAF9-CA03-4E6C-956D-08ED37E4CA32}"/>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3">
              <a:extLst>
                <a:ext uri="{FF2B5EF4-FFF2-40B4-BE49-F238E27FC236}">
                  <a16:creationId xmlns:a16="http://schemas.microsoft.com/office/drawing/2014/main" id="{D8386C48-A98E-4670-B3E0-A7E5299D359F}"/>
                </a:ext>
              </a:extLst>
            </p:cNvPr>
            <p:cNvSpPr txBox="1">
              <a:spLocks/>
            </p:cNvSpPr>
            <p:nvPr/>
          </p:nvSpPr>
          <p:spPr>
            <a:xfrm>
              <a:off x="17263052" y="9414181"/>
              <a:ext cx="6005574"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Planning for change</a:t>
              </a:r>
            </a:p>
          </p:txBody>
        </p:sp>
      </p:grpSp>
      <p:grpSp>
        <p:nvGrpSpPr>
          <p:cNvPr id="41" name="Group 69">
            <a:extLst>
              <a:ext uri="{FF2B5EF4-FFF2-40B4-BE49-F238E27FC236}">
                <a16:creationId xmlns:a16="http://schemas.microsoft.com/office/drawing/2014/main" id="{EFDDA750-0661-4AA3-BB22-8B3F72B4D9C3}"/>
              </a:ext>
            </a:extLst>
          </p:cNvPr>
          <p:cNvGrpSpPr/>
          <p:nvPr/>
        </p:nvGrpSpPr>
        <p:grpSpPr>
          <a:xfrm>
            <a:off x="1479173" y="1648780"/>
            <a:ext cx="3778381" cy="607458"/>
            <a:chOff x="15588833" y="3625334"/>
            <a:chExt cx="7556761" cy="1214915"/>
          </a:xfrm>
        </p:grpSpPr>
        <p:sp>
          <p:nvSpPr>
            <p:cNvPr id="42" name="Oval 70">
              <a:extLst>
                <a:ext uri="{FF2B5EF4-FFF2-40B4-BE49-F238E27FC236}">
                  <a16:creationId xmlns:a16="http://schemas.microsoft.com/office/drawing/2014/main" id="{4BF7EDE0-6541-4FA8-A0C0-87C6BBCA2DCA}"/>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3" name="Text Placeholder 3">
              <a:extLst>
                <a:ext uri="{FF2B5EF4-FFF2-40B4-BE49-F238E27FC236}">
                  <a16:creationId xmlns:a16="http://schemas.microsoft.com/office/drawing/2014/main" id="{39ED7946-852F-4C48-8E9F-30EC0F90ED91}"/>
                </a:ext>
              </a:extLst>
            </p:cNvPr>
            <p:cNvSpPr txBox="1">
              <a:spLocks/>
            </p:cNvSpPr>
            <p:nvPr/>
          </p:nvSpPr>
          <p:spPr>
            <a:xfrm>
              <a:off x="17140021" y="4160912"/>
              <a:ext cx="6005573"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Power BI Administration</a:t>
              </a:r>
              <a:endParaRPr kumimoji="0" lang="en-US" sz="1600" b="1"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4" name="Group 72">
              <a:extLst>
                <a:ext uri="{FF2B5EF4-FFF2-40B4-BE49-F238E27FC236}">
                  <a16:creationId xmlns:a16="http://schemas.microsoft.com/office/drawing/2014/main" id="{5F34D92F-648F-4C4D-9DCD-6F559DE1529C}"/>
                </a:ext>
              </a:extLst>
            </p:cNvPr>
            <p:cNvGrpSpPr/>
            <p:nvPr/>
          </p:nvGrpSpPr>
          <p:grpSpPr>
            <a:xfrm>
              <a:off x="15924310" y="3897035"/>
              <a:ext cx="546100" cy="671513"/>
              <a:chOff x="11245851" y="9561513"/>
              <a:chExt cx="546100" cy="671513"/>
            </a:xfrm>
            <a:solidFill>
              <a:sysClr val="window" lastClr="FFFFFF"/>
            </a:solidFill>
          </p:grpSpPr>
          <p:sp>
            <p:nvSpPr>
              <p:cNvPr id="45" name="Freeform 17">
                <a:extLst>
                  <a:ext uri="{FF2B5EF4-FFF2-40B4-BE49-F238E27FC236}">
                    <a16:creationId xmlns:a16="http://schemas.microsoft.com/office/drawing/2014/main" id="{EC0094E4-7D35-4343-BEBD-67B85EB7680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Freeform 18">
                <a:extLst>
                  <a:ext uri="{FF2B5EF4-FFF2-40B4-BE49-F238E27FC236}">
                    <a16:creationId xmlns:a16="http://schemas.microsoft.com/office/drawing/2014/main" id="{B0496557-0903-4845-AC3F-421C89FC0A9E}"/>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Freeform 19">
                <a:extLst>
                  <a:ext uri="{FF2B5EF4-FFF2-40B4-BE49-F238E27FC236}">
                    <a16:creationId xmlns:a16="http://schemas.microsoft.com/office/drawing/2014/main" id="{02D64EF6-C636-47BF-8942-EDC99AAD6D88}"/>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Freeform 20">
                <a:extLst>
                  <a:ext uri="{FF2B5EF4-FFF2-40B4-BE49-F238E27FC236}">
                    <a16:creationId xmlns:a16="http://schemas.microsoft.com/office/drawing/2014/main" id="{69042E4D-05AD-4149-8F2D-3F1F6597B7B1}"/>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49" name="Group 77">
            <a:extLst>
              <a:ext uri="{FF2B5EF4-FFF2-40B4-BE49-F238E27FC236}">
                <a16:creationId xmlns:a16="http://schemas.microsoft.com/office/drawing/2014/main" id="{206DED04-9D20-496B-987C-4D44956333EB}"/>
              </a:ext>
            </a:extLst>
          </p:cNvPr>
          <p:cNvGrpSpPr/>
          <p:nvPr/>
        </p:nvGrpSpPr>
        <p:grpSpPr>
          <a:xfrm>
            <a:off x="1486191" y="2533149"/>
            <a:ext cx="3792857" cy="607458"/>
            <a:chOff x="15602870" y="5394070"/>
            <a:chExt cx="7585714" cy="1214915"/>
          </a:xfrm>
        </p:grpSpPr>
        <p:sp>
          <p:nvSpPr>
            <p:cNvPr id="50" name="Oval 78">
              <a:extLst>
                <a:ext uri="{FF2B5EF4-FFF2-40B4-BE49-F238E27FC236}">
                  <a16:creationId xmlns:a16="http://schemas.microsoft.com/office/drawing/2014/main" id="{5B85078E-24B0-43F4-8131-71B46DBEFD54}"/>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1" name="Group 79">
              <a:extLst>
                <a:ext uri="{FF2B5EF4-FFF2-40B4-BE49-F238E27FC236}">
                  <a16:creationId xmlns:a16="http://schemas.microsoft.com/office/drawing/2014/main" id="{DF8DB950-E601-489D-AD82-E0217FCBD5BE}"/>
                </a:ext>
              </a:extLst>
            </p:cNvPr>
            <p:cNvGrpSpPr/>
            <p:nvPr/>
          </p:nvGrpSpPr>
          <p:grpSpPr>
            <a:xfrm>
              <a:off x="15891681" y="5694346"/>
              <a:ext cx="673100" cy="614363"/>
              <a:chOff x="11047413" y="6575425"/>
              <a:chExt cx="673100" cy="614363"/>
            </a:xfrm>
            <a:solidFill>
              <a:sysClr val="window" lastClr="FFFFFF"/>
            </a:solidFill>
          </p:grpSpPr>
          <p:sp>
            <p:nvSpPr>
              <p:cNvPr id="53" name="Freeform 47">
                <a:extLst>
                  <a:ext uri="{FF2B5EF4-FFF2-40B4-BE49-F238E27FC236}">
                    <a16:creationId xmlns:a16="http://schemas.microsoft.com/office/drawing/2014/main" id="{171488CC-200A-4E44-A2F0-D30878255E5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Freeform 48">
                <a:extLst>
                  <a:ext uri="{FF2B5EF4-FFF2-40B4-BE49-F238E27FC236}">
                    <a16:creationId xmlns:a16="http://schemas.microsoft.com/office/drawing/2014/main" id="{F8F8D6D0-2DB4-44A7-8CB0-BFB9520D9A71}"/>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Freeform 49">
                <a:extLst>
                  <a:ext uri="{FF2B5EF4-FFF2-40B4-BE49-F238E27FC236}">
                    <a16:creationId xmlns:a16="http://schemas.microsoft.com/office/drawing/2014/main" id="{BDCDA7EC-AB0E-404C-B8F8-DFF809ABB3A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Freeform 50">
                <a:extLst>
                  <a:ext uri="{FF2B5EF4-FFF2-40B4-BE49-F238E27FC236}">
                    <a16:creationId xmlns:a16="http://schemas.microsoft.com/office/drawing/2014/main" id="{D883E9F2-C01B-4E66-97BA-EB2A7CA053E8}"/>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52" name="Text Placeholder 3">
              <a:extLst>
                <a:ext uri="{FF2B5EF4-FFF2-40B4-BE49-F238E27FC236}">
                  <a16:creationId xmlns:a16="http://schemas.microsoft.com/office/drawing/2014/main" id="{EF8FDB36-4FB2-4FDE-8369-7772EB6B3F75}"/>
                </a:ext>
              </a:extLst>
            </p:cNvPr>
            <p:cNvSpPr txBox="1">
              <a:spLocks/>
            </p:cNvSpPr>
            <p:nvPr/>
          </p:nvSpPr>
          <p:spPr>
            <a:xfrm>
              <a:off x="17183010" y="5771163"/>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Service Management</a:t>
              </a:r>
            </a:p>
          </p:txBody>
        </p:sp>
      </p:grpSp>
      <p:grpSp>
        <p:nvGrpSpPr>
          <p:cNvPr id="57" name="Group 85">
            <a:extLst>
              <a:ext uri="{FF2B5EF4-FFF2-40B4-BE49-F238E27FC236}">
                <a16:creationId xmlns:a16="http://schemas.microsoft.com/office/drawing/2014/main" id="{B6888871-4C9D-47B9-94ED-6FFA2995646F}"/>
              </a:ext>
            </a:extLst>
          </p:cNvPr>
          <p:cNvGrpSpPr/>
          <p:nvPr/>
        </p:nvGrpSpPr>
        <p:grpSpPr>
          <a:xfrm>
            <a:off x="1486191" y="3446666"/>
            <a:ext cx="3832878" cy="607458"/>
            <a:chOff x="15602870" y="7221105"/>
            <a:chExt cx="7665755" cy="1214915"/>
          </a:xfrm>
        </p:grpSpPr>
        <p:sp>
          <p:nvSpPr>
            <p:cNvPr id="58" name="Oval 86">
              <a:extLst>
                <a:ext uri="{FF2B5EF4-FFF2-40B4-BE49-F238E27FC236}">
                  <a16:creationId xmlns:a16="http://schemas.microsoft.com/office/drawing/2014/main" id="{A19BDB5E-5496-4C18-8233-EE50D4205B12}"/>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59" name="Group 87">
              <a:extLst>
                <a:ext uri="{FF2B5EF4-FFF2-40B4-BE49-F238E27FC236}">
                  <a16:creationId xmlns:a16="http://schemas.microsoft.com/office/drawing/2014/main" id="{8B508166-A94D-4E2C-96DA-606E4B8B39C2}"/>
                </a:ext>
              </a:extLst>
            </p:cNvPr>
            <p:cNvGrpSpPr/>
            <p:nvPr/>
          </p:nvGrpSpPr>
          <p:grpSpPr>
            <a:xfrm>
              <a:off x="15940928" y="7525366"/>
              <a:ext cx="611089" cy="613985"/>
              <a:chOff x="12606338" y="10871200"/>
              <a:chExt cx="669925" cy="673100"/>
            </a:xfrm>
            <a:solidFill>
              <a:sysClr val="window" lastClr="FFFFFF"/>
            </a:solidFill>
          </p:grpSpPr>
          <p:sp>
            <p:nvSpPr>
              <p:cNvPr id="61" name="Freeform 42">
                <a:extLst>
                  <a:ext uri="{FF2B5EF4-FFF2-40B4-BE49-F238E27FC236}">
                    <a16:creationId xmlns:a16="http://schemas.microsoft.com/office/drawing/2014/main" id="{456A3709-BAFA-4F49-95B3-3723399A6481}"/>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Freeform 43">
                <a:extLst>
                  <a:ext uri="{FF2B5EF4-FFF2-40B4-BE49-F238E27FC236}">
                    <a16:creationId xmlns:a16="http://schemas.microsoft.com/office/drawing/2014/main" id="{C9EFB9FD-A4CA-4755-A705-52E478A2FF7C}"/>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3" name="Freeform 44">
                <a:extLst>
                  <a:ext uri="{FF2B5EF4-FFF2-40B4-BE49-F238E27FC236}">
                    <a16:creationId xmlns:a16="http://schemas.microsoft.com/office/drawing/2014/main" id="{D1279FEB-FC32-41A0-A347-86D1EE3CF1BF}"/>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0" name="Text Placeholder 3">
              <a:extLst>
                <a:ext uri="{FF2B5EF4-FFF2-40B4-BE49-F238E27FC236}">
                  <a16:creationId xmlns:a16="http://schemas.microsoft.com/office/drawing/2014/main" id="{35246524-EEF1-4735-ACDB-84A0EA0A9AAB}"/>
                </a:ext>
              </a:extLst>
            </p:cNvPr>
            <p:cNvSpPr txBox="1">
              <a:spLocks/>
            </p:cNvSpPr>
            <p:nvPr/>
          </p:nvSpPr>
          <p:spPr>
            <a:xfrm>
              <a:off x="17263052"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User machines and devices</a:t>
              </a:r>
            </a:p>
          </p:txBody>
        </p:sp>
      </p:grpSp>
      <p:grpSp>
        <p:nvGrpSpPr>
          <p:cNvPr id="64" name="Group 92">
            <a:extLst>
              <a:ext uri="{FF2B5EF4-FFF2-40B4-BE49-F238E27FC236}">
                <a16:creationId xmlns:a16="http://schemas.microsoft.com/office/drawing/2014/main" id="{C69AC8FC-9945-49D0-B71B-92E94C12A5F5}"/>
              </a:ext>
            </a:extLst>
          </p:cNvPr>
          <p:cNvGrpSpPr/>
          <p:nvPr/>
        </p:nvGrpSpPr>
        <p:grpSpPr>
          <a:xfrm>
            <a:off x="1486191" y="4324619"/>
            <a:ext cx="3792856" cy="607458"/>
            <a:chOff x="15602870" y="8977015"/>
            <a:chExt cx="7585712" cy="1214915"/>
          </a:xfrm>
        </p:grpSpPr>
        <p:sp>
          <p:nvSpPr>
            <p:cNvPr id="65" name="Oval 93">
              <a:extLst>
                <a:ext uri="{FF2B5EF4-FFF2-40B4-BE49-F238E27FC236}">
                  <a16:creationId xmlns:a16="http://schemas.microsoft.com/office/drawing/2014/main" id="{719C3E51-A70A-4CDC-8542-52704EA1CF64}"/>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6" name="Freeform 23">
              <a:extLst>
                <a:ext uri="{FF2B5EF4-FFF2-40B4-BE49-F238E27FC236}">
                  <a16:creationId xmlns:a16="http://schemas.microsoft.com/office/drawing/2014/main" id="{DF0A1F6B-1E01-454B-81B3-59A5756EFBFC}"/>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Text Placeholder 3">
              <a:extLst>
                <a:ext uri="{FF2B5EF4-FFF2-40B4-BE49-F238E27FC236}">
                  <a16:creationId xmlns:a16="http://schemas.microsoft.com/office/drawing/2014/main" id="{246BD4E9-E743-4EE1-B7D7-A2759C0D7701}"/>
                </a:ext>
              </a:extLst>
            </p:cNvPr>
            <p:cNvSpPr txBox="1">
              <a:spLocks/>
            </p:cNvSpPr>
            <p:nvPr/>
          </p:nvSpPr>
          <p:spPr>
            <a:xfrm>
              <a:off x="17183008" y="9414181"/>
              <a:ext cx="6005574"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1717"/>
                  </a:solidFill>
                  <a:effectLst/>
                  <a:uLnTx/>
                  <a:uFillTx/>
                  <a:latin typeface="Segoe UI" panose="020B0502040204020203" pitchFamily="34" charset="0"/>
                  <a:ea typeface="+mn-ea"/>
                  <a:cs typeface="+mn-cs"/>
                </a:rPr>
                <a:t>Architecture</a:t>
              </a:r>
            </a:p>
          </p:txBody>
        </p:sp>
      </p:grpSp>
      <p:grpSp>
        <p:nvGrpSpPr>
          <p:cNvPr id="68" name="Group 96">
            <a:extLst>
              <a:ext uri="{FF2B5EF4-FFF2-40B4-BE49-F238E27FC236}">
                <a16:creationId xmlns:a16="http://schemas.microsoft.com/office/drawing/2014/main" id="{D0A42029-B5D2-4D59-B206-BE35B9F931D4}"/>
              </a:ext>
            </a:extLst>
          </p:cNvPr>
          <p:cNvGrpSpPr/>
          <p:nvPr/>
        </p:nvGrpSpPr>
        <p:grpSpPr>
          <a:xfrm>
            <a:off x="1486191" y="5210014"/>
            <a:ext cx="3812367" cy="607458"/>
            <a:chOff x="15602870" y="10747797"/>
            <a:chExt cx="7624734" cy="1214915"/>
          </a:xfrm>
        </p:grpSpPr>
        <p:sp>
          <p:nvSpPr>
            <p:cNvPr id="69" name="Oval 97">
              <a:extLst>
                <a:ext uri="{FF2B5EF4-FFF2-40B4-BE49-F238E27FC236}">
                  <a16:creationId xmlns:a16="http://schemas.microsoft.com/office/drawing/2014/main" id="{819ED535-6CFD-4807-9D96-E704A40D6881}"/>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70" name="Group 98">
              <a:extLst>
                <a:ext uri="{FF2B5EF4-FFF2-40B4-BE49-F238E27FC236}">
                  <a16:creationId xmlns:a16="http://schemas.microsoft.com/office/drawing/2014/main" id="{57DEA7C3-6446-4837-84E3-B2B7CB24C560}"/>
                </a:ext>
              </a:extLst>
            </p:cNvPr>
            <p:cNvGrpSpPr/>
            <p:nvPr/>
          </p:nvGrpSpPr>
          <p:grpSpPr>
            <a:xfrm>
              <a:off x="15971306" y="11025054"/>
              <a:ext cx="485775" cy="660400"/>
              <a:chOff x="12746038" y="9359900"/>
              <a:chExt cx="485775" cy="660400"/>
            </a:xfrm>
            <a:solidFill>
              <a:sysClr val="window" lastClr="FFFFFF"/>
            </a:solidFill>
          </p:grpSpPr>
          <p:sp>
            <p:nvSpPr>
              <p:cNvPr id="72" name="Freeform 38">
                <a:extLst>
                  <a:ext uri="{FF2B5EF4-FFF2-40B4-BE49-F238E27FC236}">
                    <a16:creationId xmlns:a16="http://schemas.microsoft.com/office/drawing/2014/main" id="{B9996AD0-5859-4380-8763-F543D844299C}"/>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Freeform 39">
                <a:extLst>
                  <a:ext uri="{FF2B5EF4-FFF2-40B4-BE49-F238E27FC236}">
                    <a16:creationId xmlns:a16="http://schemas.microsoft.com/office/drawing/2014/main" id="{67B994EC-7942-4055-8089-D62A593F618F}"/>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Freeform 40">
                <a:extLst>
                  <a:ext uri="{FF2B5EF4-FFF2-40B4-BE49-F238E27FC236}">
                    <a16:creationId xmlns:a16="http://schemas.microsoft.com/office/drawing/2014/main" id="{701C2AF4-974A-4B6E-99B1-7CD2B7826361}"/>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Freeform 41">
                <a:extLst>
                  <a:ext uri="{FF2B5EF4-FFF2-40B4-BE49-F238E27FC236}">
                    <a16:creationId xmlns:a16="http://schemas.microsoft.com/office/drawing/2014/main" id="{651FE938-0AD5-4AE5-92DD-33077AD8C6D3}"/>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71" name="Text Placeholder 3">
              <a:extLst>
                <a:ext uri="{FF2B5EF4-FFF2-40B4-BE49-F238E27FC236}">
                  <a16:creationId xmlns:a16="http://schemas.microsoft.com/office/drawing/2014/main" id="{DA711728-D174-4A54-86EF-828B83755BB9}"/>
                </a:ext>
              </a:extLst>
            </p:cNvPr>
            <p:cNvSpPr txBox="1">
              <a:spLocks/>
            </p:cNvSpPr>
            <p:nvPr/>
          </p:nvSpPr>
          <p:spPr>
            <a:xfrm>
              <a:off x="17222030" y="1119051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2B2B2">
                      <a:lumMod val="40000"/>
                      <a:lumOff val="60000"/>
                    </a:srgbClr>
                  </a:solidFill>
                  <a:effectLst/>
                  <a:uLnTx/>
                  <a:uFillTx/>
                  <a:latin typeface="Segoe UI" panose="020B0502040204020203" pitchFamily="34" charset="0"/>
                  <a:ea typeface="+mn-ea"/>
                  <a:cs typeface="+mn-cs"/>
                </a:rPr>
                <a:t>User licenses</a:t>
              </a:r>
            </a:p>
          </p:txBody>
        </p:sp>
      </p:grpSp>
    </p:spTree>
    <p:extLst>
      <p:ext uri="{BB962C8B-B14F-4D97-AF65-F5344CB8AC3E}">
        <p14:creationId xmlns:p14="http://schemas.microsoft.com/office/powerpoint/2010/main" val="168703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06F44A-F685-4539-9F48-41A52CF14CC0}"/>
              </a:ext>
            </a:extLst>
          </p:cNvPr>
          <p:cNvSpPr>
            <a:spLocks noGrp="1"/>
          </p:cNvSpPr>
          <p:nvPr>
            <p:ph type="title"/>
          </p:nvPr>
        </p:nvSpPr>
        <p:spPr/>
        <p:txBody>
          <a:bodyPr/>
          <a:lstStyle/>
          <a:p>
            <a:r>
              <a:rPr lang="de-DE"/>
              <a:t>Admin </a:t>
            </a:r>
            <a:r>
              <a:rPr lang="de-DE" err="1"/>
              <a:t>Roles</a:t>
            </a:r>
            <a:r>
              <a:rPr lang="de-DE"/>
              <a:t> &amp; </a:t>
            </a:r>
            <a:r>
              <a:rPr lang="de-DE" err="1"/>
              <a:t>Responsibilities</a:t>
            </a:r>
            <a:endParaRPr lang="en-US"/>
          </a:p>
        </p:txBody>
      </p:sp>
      <p:graphicFrame>
        <p:nvGraphicFramePr>
          <p:cNvPr id="4" name="Tabelle 3">
            <a:extLst>
              <a:ext uri="{FF2B5EF4-FFF2-40B4-BE49-F238E27FC236}">
                <a16:creationId xmlns:a16="http://schemas.microsoft.com/office/drawing/2014/main" id="{6A254581-9B28-4545-A10F-A31C0E2D60DD}"/>
              </a:ext>
            </a:extLst>
          </p:cNvPr>
          <p:cNvGraphicFramePr/>
          <p:nvPr/>
        </p:nvGraphicFramePr>
        <p:xfrm>
          <a:off x="1204332" y="1471962"/>
          <a:ext cx="9489690" cy="5148537"/>
        </p:xfrm>
        <a:graphic>
          <a:graphicData uri="http://schemas.openxmlformats.org/drawingml/2006/table">
            <a:tbl>
              <a:tblPr>
                <a:tableStyleId>{5C22544A-7EE6-4342-B048-85BDC9FD1C3A}</a:tableStyleId>
              </a:tblPr>
              <a:tblGrid>
                <a:gridCol w="3163230">
                  <a:extLst>
                    <a:ext uri="{9D8B030D-6E8A-4147-A177-3AD203B41FA5}">
                      <a16:colId xmlns:a16="http://schemas.microsoft.com/office/drawing/2014/main" val="566946943"/>
                    </a:ext>
                  </a:extLst>
                </a:gridCol>
                <a:gridCol w="2111297">
                  <a:extLst>
                    <a:ext uri="{9D8B030D-6E8A-4147-A177-3AD203B41FA5}">
                      <a16:colId xmlns:a16="http://schemas.microsoft.com/office/drawing/2014/main" val="2393814016"/>
                    </a:ext>
                  </a:extLst>
                </a:gridCol>
                <a:gridCol w="4215163">
                  <a:extLst>
                    <a:ext uri="{9D8B030D-6E8A-4147-A177-3AD203B41FA5}">
                      <a16:colId xmlns:a16="http://schemas.microsoft.com/office/drawing/2014/main" val="3347253498"/>
                    </a:ext>
                  </a:extLst>
                </a:gridCol>
              </a:tblGrid>
              <a:tr h="591014">
                <a:tc>
                  <a:txBody>
                    <a:bodyPr/>
                    <a:lstStyle/>
                    <a:p>
                      <a:pPr algn="l" fontAlgn="t">
                        <a:spcBef>
                          <a:spcPts val="0"/>
                        </a:spcBef>
                        <a:spcAft>
                          <a:spcPts val="0"/>
                        </a:spcAft>
                      </a:pPr>
                      <a:r>
                        <a:rPr lang="en-US" sz="1600" b="1" u="none" strike="noStrike">
                          <a:effectLst/>
                        </a:rPr>
                        <a:t>Role</a:t>
                      </a:r>
                      <a:endParaRPr lang="en-US" sz="1600" b="1"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b="1" u="none" strike="noStrike">
                          <a:effectLst/>
                        </a:rPr>
                        <a:t>Scope</a:t>
                      </a:r>
                      <a:endParaRPr lang="en-US" sz="1600" b="1"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b="1" u="none" strike="noStrike">
                          <a:effectLst/>
                        </a:rPr>
                        <a:t>Description</a:t>
                      </a:r>
                      <a:endParaRPr lang="en-US" sz="1600" b="1"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732168891"/>
                  </a:ext>
                </a:extLst>
              </a:tr>
              <a:tr h="1393902">
                <a:tc>
                  <a:txBody>
                    <a:bodyPr/>
                    <a:lstStyle/>
                    <a:p>
                      <a:pPr algn="l" fontAlgn="t">
                        <a:spcBef>
                          <a:spcPts val="0"/>
                        </a:spcBef>
                        <a:spcAft>
                          <a:spcPts val="0"/>
                        </a:spcAft>
                      </a:pPr>
                      <a:r>
                        <a:rPr lang="en-US" sz="1600" u="none" strike="noStrike">
                          <a:effectLst/>
                        </a:rPr>
                        <a:t>Power BI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Power BI tenant</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tenant settings and other aspects of the Power BI service. All general references to administrator in this article refer to this type of administrator.</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53074065"/>
                  </a:ext>
                </a:extLst>
              </a:tr>
              <a:tr h="885545">
                <a:tc>
                  <a:txBody>
                    <a:bodyPr/>
                    <a:lstStyle/>
                    <a:p>
                      <a:pPr algn="l" fontAlgn="t">
                        <a:spcBef>
                          <a:spcPts val="0"/>
                        </a:spcBef>
                        <a:spcAft>
                          <a:spcPts val="0"/>
                        </a:spcAft>
                      </a:pPr>
                      <a:r>
                        <a:rPr lang="en-US" sz="1600" u="none" strike="noStrike">
                          <a:effectLst/>
                        </a:rPr>
                        <a:t>Power BI Premium capacity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capacity</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workspaces, workloads, and monitors the health of a Premium capacity.</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1227035093"/>
                  </a:ext>
                </a:extLst>
              </a:tr>
              <a:tr h="1511968">
                <a:tc>
                  <a:txBody>
                    <a:bodyPr/>
                    <a:lstStyle/>
                    <a:p>
                      <a:pPr algn="l" fontAlgn="t">
                        <a:spcBef>
                          <a:spcPts val="0"/>
                        </a:spcBef>
                        <a:spcAft>
                          <a:spcPts val="0"/>
                        </a:spcAft>
                      </a:pPr>
                      <a:r>
                        <a:rPr lang="en-US" sz="1600" u="none" strike="noStrike">
                          <a:effectLst/>
                        </a:rPr>
                        <a:t>Power BI gateway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gateway</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gateway data source configuration, credentials, and users assignments. May also handle gateway software updates (or collaborate with infrastructure team on updates).</a:t>
                      </a: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3259521782"/>
                  </a:ext>
                </a:extLst>
              </a:tr>
              <a:tr h="460483">
                <a:tc>
                  <a:txBody>
                    <a:bodyPr/>
                    <a:lstStyle/>
                    <a:p>
                      <a:pPr algn="l" fontAlgn="t">
                        <a:spcBef>
                          <a:spcPts val="0"/>
                        </a:spcBef>
                        <a:spcAft>
                          <a:spcPts val="0"/>
                        </a:spcAft>
                      </a:pPr>
                      <a:r>
                        <a:rPr lang="en-US" sz="1600" u="none" strike="noStrike">
                          <a:effectLst/>
                        </a:rPr>
                        <a:t>Power BI workspace administrator</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One workspace</a:t>
                      </a:r>
                      <a:endParaRPr lang="en-US" sz="1600" b="0" i="0" u="none" strike="noStrike">
                        <a:effectLst/>
                        <a:latin typeface="Arial" panose="020B0604020202020204" pitchFamily="34" charset="0"/>
                      </a:endParaRPr>
                    </a:p>
                  </a:txBody>
                  <a:tcPr marL="34588" marR="34588" marT="17294" marB="17294"/>
                </a:tc>
                <a:tc>
                  <a:txBody>
                    <a:bodyPr/>
                    <a:lstStyle/>
                    <a:p>
                      <a:pPr algn="l" fontAlgn="t">
                        <a:spcBef>
                          <a:spcPts val="0"/>
                        </a:spcBef>
                        <a:spcAft>
                          <a:spcPts val="0"/>
                        </a:spcAft>
                      </a:pPr>
                      <a:r>
                        <a:rPr lang="en-US" sz="1600" u="none" strike="noStrike">
                          <a:effectLst/>
                        </a:rPr>
                        <a:t>Manages workspace settings and access.</a:t>
                      </a:r>
                    </a:p>
                    <a:p>
                      <a:pPr algn="l" fontAlgn="t">
                        <a:spcBef>
                          <a:spcPts val="0"/>
                        </a:spcBef>
                        <a:spcAft>
                          <a:spcPts val="0"/>
                        </a:spcAft>
                      </a:pPr>
                      <a:endParaRPr lang="en-US" sz="1600" b="0" i="0" u="none" strike="noStrike">
                        <a:effectLst/>
                        <a:latin typeface="Arial" panose="020B0604020202020204" pitchFamily="34" charset="0"/>
                      </a:endParaRPr>
                    </a:p>
                    <a:p>
                      <a:pPr algn="l" fontAlgn="t">
                        <a:spcBef>
                          <a:spcPts val="0"/>
                        </a:spcBef>
                        <a:spcAft>
                          <a:spcPts val="0"/>
                        </a:spcAft>
                      </a:pPr>
                      <a:endParaRPr lang="en-US" sz="1600" b="0" i="0" u="none" strike="noStrike">
                        <a:effectLst/>
                        <a:latin typeface="Arial" panose="020B0604020202020204" pitchFamily="34" charset="0"/>
                      </a:endParaRPr>
                    </a:p>
                  </a:txBody>
                  <a:tcPr marL="34588" marR="34588" marT="17294" marB="17294"/>
                </a:tc>
                <a:extLst>
                  <a:ext uri="{0D108BD9-81ED-4DB2-BD59-A6C34878D82A}">
                    <a16:rowId xmlns:a16="http://schemas.microsoft.com/office/drawing/2014/main" val="2402706772"/>
                  </a:ext>
                </a:extLst>
              </a:tr>
            </a:tbl>
          </a:graphicData>
        </a:graphic>
      </p:graphicFrame>
    </p:spTree>
    <p:extLst>
      <p:ext uri="{BB962C8B-B14F-4D97-AF65-F5344CB8AC3E}">
        <p14:creationId xmlns:p14="http://schemas.microsoft.com/office/powerpoint/2010/main" val="48925216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FBD5EE-EFB4-4D2C-A835-7238FC6414F4}"/>
              </a:ext>
            </a:extLst>
          </p:cNvPr>
          <p:cNvSpPr>
            <a:spLocks noGrp="1"/>
          </p:cNvSpPr>
          <p:nvPr>
            <p:ph type="ctrTitle"/>
          </p:nvPr>
        </p:nvSpPr>
        <p:spPr/>
        <p:txBody>
          <a:bodyPr/>
          <a:lstStyle/>
          <a:p>
            <a:r>
              <a:rPr lang="de-DE" err="1"/>
              <a:t>PowerBI</a:t>
            </a:r>
            <a:r>
              <a:rPr lang="de-DE"/>
              <a:t> Management:</a:t>
            </a:r>
            <a:br>
              <a:rPr lang="de-DE"/>
            </a:br>
            <a:r>
              <a:rPr lang="de-DE" err="1"/>
              <a:t>What</a:t>
            </a:r>
            <a:r>
              <a:rPr lang="de-DE"/>
              <a:t> to Manage?</a:t>
            </a:r>
          </a:p>
        </p:txBody>
      </p:sp>
      <p:sp>
        <p:nvSpPr>
          <p:cNvPr id="3" name="Textplatzhalter 2">
            <a:extLst>
              <a:ext uri="{FF2B5EF4-FFF2-40B4-BE49-F238E27FC236}">
                <a16:creationId xmlns:a16="http://schemas.microsoft.com/office/drawing/2014/main" id="{5935891E-7E9F-4C65-90F1-BE51957C633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636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515891" y="1109947"/>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BI.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30848" y="2859254"/>
            <a:ext cx="4067718" cy="2357697"/>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irectory and Account management </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s and licens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reating groups and organization app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nterprise IT management, usage monitoring and admin portal</a:t>
            </a:r>
          </a:p>
        </p:txBody>
      </p:sp>
      <p:grpSp>
        <p:nvGrpSpPr>
          <p:cNvPr id="6" name="Group 5"/>
          <p:cNvGrpSpPr/>
          <p:nvPr/>
        </p:nvGrpSpPr>
        <p:grpSpPr>
          <a:xfrm>
            <a:off x="6096000" y="482083"/>
            <a:ext cx="3722149" cy="627864"/>
            <a:chOff x="1975629" y="2049462"/>
            <a:chExt cx="3722149" cy="627864"/>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5629" y="2061419"/>
              <a:ext cx="601102" cy="601102"/>
            </a:xfrm>
            <a:prstGeom prst="rect">
              <a:avLst/>
            </a:prstGeom>
          </p:spPr>
        </p:pic>
        <p:sp>
          <p:nvSpPr>
            <p:cNvPr id="8" name="TextBox 7"/>
            <p:cNvSpPr txBox="1"/>
            <p:nvPr/>
          </p:nvSpPr>
          <p:spPr>
            <a:xfrm>
              <a:off x="2545312" y="2049462"/>
              <a:ext cx="315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Azure Active Directory</a:t>
              </a:r>
            </a:p>
          </p:txBody>
        </p:sp>
      </p:grpSp>
      <p:sp>
        <p:nvSpPr>
          <p:cNvPr id="9" name="TextBox 8"/>
          <p:cNvSpPr txBox="1"/>
          <p:nvPr/>
        </p:nvSpPr>
        <p:spPr>
          <a:xfrm>
            <a:off x="6752825" y="1090883"/>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rectory Synchro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login branding</a:t>
            </a:r>
          </a:p>
        </p:txBody>
      </p:sp>
      <p:grpSp>
        <p:nvGrpSpPr>
          <p:cNvPr id="10" name="Group 9"/>
          <p:cNvGrpSpPr/>
          <p:nvPr/>
        </p:nvGrpSpPr>
        <p:grpSpPr>
          <a:xfrm>
            <a:off x="6096000" y="2231691"/>
            <a:ext cx="2295796" cy="627864"/>
            <a:chOff x="6716230" y="3226002"/>
            <a:chExt cx="2295796" cy="627864"/>
          </a:xfrm>
        </p:grpSpPr>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230" y="3270802"/>
              <a:ext cx="538264" cy="538264"/>
            </a:xfrm>
            <a:prstGeom prst="rect">
              <a:avLst/>
            </a:prstGeom>
          </p:spPr>
        </p:pic>
        <p:sp>
          <p:nvSpPr>
            <p:cNvPr id="12" name="TextBox 11"/>
            <p:cNvSpPr txBox="1"/>
            <p:nvPr/>
          </p:nvSpPr>
          <p:spPr>
            <a:xfrm>
              <a:off x="7254494" y="3226002"/>
              <a:ext cx="175753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ffice 365</a:t>
              </a:r>
            </a:p>
          </p:txBody>
        </p:sp>
      </p:grpSp>
      <p:sp>
        <p:nvSpPr>
          <p:cNvPr id="13" name="TextBox 12"/>
          <p:cNvSpPr txBox="1"/>
          <p:nvPr/>
        </p:nvSpPr>
        <p:spPr>
          <a:xfrm>
            <a:off x="6752824" y="2859555"/>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Subscri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icense Ass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p:txBody>
      </p:sp>
      <p:sp>
        <p:nvSpPr>
          <p:cNvPr id="15" name="TextBox 14"/>
          <p:cNvSpPr txBox="1"/>
          <p:nvPr/>
        </p:nvSpPr>
        <p:spPr>
          <a:xfrm>
            <a:off x="6752824" y="4563097"/>
            <a:ext cx="3202480"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Workspa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Tenant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Manage gatew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remium Capacity Managemen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2B9F14D-9986-44A2-B821-7DA5217E16D4}"/>
              </a:ext>
            </a:extLst>
          </p:cNvPr>
          <p:cNvSpPr txBox="1"/>
          <p:nvPr/>
        </p:nvSpPr>
        <p:spPr>
          <a:xfrm>
            <a:off x="6634264" y="3894581"/>
            <a:ext cx="147335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wer BI</a:t>
            </a:r>
          </a:p>
        </p:txBody>
      </p:sp>
      <p:pic>
        <p:nvPicPr>
          <p:cNvPr id="4" name="Picture 3" descr="A sign in the dark&#10;&#10;Description automatically generated">
            <a:extLst>
              <a:ext uri="{FF2B5EF4-FFF2-40B4-BE49-F238E27FC236}">
                <a16:creationId xmlns:a16="http://schemas.microsoft.com/office/drawing/2014/main" id="{084CC731-967C-484A-BA9D-858120DBE0E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8816" y="3762197"/>
            <a:ext cx="892632" cy="892632"/>
          </a:xfrm>
          <a:prstGeom prst="rect">
            <a:avLst/>
          </a:prstGeom>
        </p:spPr>
      </p:pic>
    </p:spTree>
    <p:custDataLst>
      <p:tags r:id="rId1"/>
    </p:custDataLst>
    <p:extLst>
      <p:ext uri="{BB962C8B-B14F-4D97-AF65-F5344CB8AC3E}">
        <p14:creationId xmlns:p14="http://schemas.microsoft.com/office/powerpoint/2010/main" val="97700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is responsible for creating security groups?</a:t>
            </a:r>
          </a:p>
        </p:txBody>
      </p:sp>
      <p:sp>
        <p:nvSpPr>
          <p:cNvPr id="4" name="Text Placeholder 1">
            <a:extLst>
              <a:ext uri="{FF2B5EF4-FFF2-40B4-BE49-F238E27FC236}">
                <a16:creationId xmlns:a16="http://schemas.microsoft.com/office/drawing/2014/main" id="{5F9055EE-BF72-4032-9D4A-A185D9781404}"/>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Azure Active Directory Administrator</a:t>
            </a:r>
          </a:p>
          <a:p>
            <a:pPr lvl="2"/>
            <a:r>
              <a:rPr lang="en-GB">
                <a:solidFill>
                  <a:srgbClr val="EDC30D"/>
                </a:solidFill>
              </a:rPr>
              <a:t>Support Team</a:t>
            </a:r>
            <a:endParaRPr lang="en-US">
              <a:solidFill>
                <a:srgbClr val="EDC30D"/>
              </a:solidFill>
            </a:endParaRPr>
          </a:p>
        </p:txBody>
      </p:sp>
    </p:spTree>
    <p:custDataLst>
      <p:tags r:id="rId1"/>
    </p:custDataLst>
    <p:extLst>
      <p:ext uri="{BB962C8B-B14F-4D97-AF65-F5344CB8AC3E}">
        <p14:creationId xmlns:p14="http://schemas.microsoft.com/office/powerpoint/2010/main" val="278044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514767-AB48-439E-B1E7-B447154EEF94}"/>
              </a:ext>
            </a:extLst>
          </p:cNvPr>
          <p:cNvSpPr>
            <a:spLocks noGrp="1"/>
          </p:cNvSpPr>
          <p:nvPr>
            <p:ph type="title"/>
          </p:nvPr>
        </p:nvSpPr>
        <p:spPr/>
        <p:txBody>
          <a:bodyPr/>
          <a:lstStyle/>
          <a:p>
            <a:r>
              <a:rPr lang="de-DE"/>
              <a:t>User Adoption</a:t>
            </a:r>
            <a:endParaRPr lang="en-US"/>
          </a:p>
        </p:txBody>
      </p:sp>
      <p:sp>
        <p:nvSpPr>
          <p:cNvPr id="3" name="Rectangle 1">
            <a:extLst>
              <a:ext uri="{FF2B5EF4-FFF2-40B4-BE49-F238E27FC236}">
                <a16:creationId xmlns:a16="http://schemas.microsoft.com/office/drawing/2014/main" id="{D2AE994F-7E55-4433-9AEB-A62665812A16}"/>
              </a:ext>
            </a:extLst>
          </p:cNvPr>
          <p:cNvSpPr>
            <a:spLocks/>
          </p:cNvSpPr>
          <p:nvPr/>
        </p:nvSpPr>
        <p:spPr bwMode="auto">
          <a:xfrm>
            <a:off x="5991420" y="1889593"/>
            <a:ext cx="21203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 name="Freeform 2">
            <a:extLst>
              <a:ext uri="{FF2B5EF4-FFF2-40B4-BE49-F238E27FC236}">
                <a16:creationId xmlns:a16="http://schemas.microsoft.com/office/drawing/2014/main" id="{36B8315F-F065-44F5-BB51-AE6DA024467B}"/>
              </a:ext>
            </a:extLst>
          </p:cNvPr>
          <p:cNvSpPr>
            <a:spLocks/>
          </p:cNvSpPr>
          <p:nvPr/>
        </p:nvSpPr>
        <p:spPr bwMode="auto">
          <a:xfrm>
            <a:off x="1365973" y="2465839"/>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4">
            <a:extLst>
              <a:ext uri="{FF2B5EF4-FFF2-40B4-BE49-F238E27FC236}">
                <a16:creationId xmlns:a16="http://schemas.microsoft.com/office/drawing/2014/main" id="{23654618-03D5-4422-9437-0F021A7C3255}"/>
              </a:ext>
            </a:extLst>
          </p:cNvPr>
          <p:cNvSpPr>
            <a:spLocks/>
          </p:cNvSpPr>
          <p:nvPr/>
        </p:nvSpPr>
        <p:spPr bwMode="auto">
          <a:xfrm>
            <a:off x="1352399" y="1922721"/>
            <a:ext cx="2352667"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angle 1">
            <a:extLst>
              <a:ext uri="{FF2B5EF4-FFF2-40B4-BE49-F238E27FC236}">
                <a16:creationId xmlns:a16="http://schemas.microsoft.com/office/drawing/2014/main" id="{D0AA43D5-47A2-4E11-8FFD-E7801AF05542}"/>
              </a:ext>
            </a:extLst>
          </p:cNvPr>
          <p:cNvSpPr>
            <a:spLocks/>
          </p:cNvSpPr>
          <p:nvPr/>
        </p:nvSpPr>
        <p:spPr bwMode="auto">
          <a:xfrm>
            <a:off x="1560513" y="2439493"/>
            <a:ext cx="2129207"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9" name="Freeform 2">
            <a:extLst>
              <a:ext uri="{FF2B5EF4-FFF2-40B4-BE49-F238E27FC236}">
                <a16:creationId xmlns:a16="http://schemas.microsoft.com/office/drawing/2014/main" id="{B00E0736-A722-450C-8843-25E8C5ADF9DB}"/>
              </a:ext>
            </a:extLst>
          </p:cNvPr>
          <p:cNvSpPr>
            <a:spLocks/>
          </p:cNvSpPr>
          <p:nvPr/>
        </p:nvSpPr>
        <p:spPr bwMode="auto">
          <a:xfrm>
            <a:off x="3492682" y="222088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4">
            <a:extLst>
              <a:ext uri="{FF2B5EF4-FFF2-40B4-BE49-F238E27FC236}">
                <a16:creationId xmlns:a16="http://schemas.microsoft.com/office/drawing/2014/main" id="{B159B9C5-CEA8-48E5-9F2D-3CF382ECCB25}"/>
              </a:ext>
            </a:extLst>
          </p:cNvPr>
          <p:cNvSpPr>
            <a:spLocks/>
          </p:cNvSpPr>
          <p:nvPr/>
        </p:nvSpPr>
        <p:spPr bwMode="auto">
          <a:xfrm>
            <a:off x="3492682" y="1677762"/>
            <a:ext cx="241352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Rectangle 1">
            <a:extLst>
              <a:ext uri="{FF2B5EF4-FFF2-40B4-BE49-F238E27FC236}">
                <a16:creationId xmlns:a16="http://schemas.microsoft.com/office/drawing/2014/main" id="{F595C60C-9ED6-4C14-9A1B-63842A2255AC}"/>
              </a:ext>
            </a:extLst>
          </p:cNvPr>
          <p:cNvSpPr>
            <a:spLocks/>
          </p:cNvSpPr>
          <p:nvPr/>
        </p:nvSpPr>
        <p:spPr bwMode="auto">
          <a:xfrm>
            <a:off x="3798557" y="2198181"/>
            <a:ext cx="2113094"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3" name="Freeform 2">
            <a:extLst>
              <a:ext uri="{FF2B5EF4-FFF2-40B4-BE49-F238E27FC236}">
                <a16:creationId xmlns:a16="http://schemas.microsoft.com/office/drawing/2014/main" id="{348A5613-6922-400D-9D9F-CBAB266610F8}"/>
              </a:ext>
            </a:extLst>
          </p:cNvPr>
          <p:cNvSpPr>
            <a:spLocks/>
          </p:cNvSpPr>
          <p:nvPr/>
        </p:nvSpPr>
        <p:spPr bwMode="auto">
          <a:xfrm>
            <a:off x="5708898" y="194870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tangle 4">
            <a:extLst>
              <a:ext uri="{FF2B5EF4-FFF2-40B4-BE49-F238E27FC236}">
                <a16:creationId xmlns:a16="http://schemas.microsoft.com/office/drawing/2014/main" id="{A87C470C-070C-4897-A76E-0E27F6BC506E}"/>
              </a:ext>
            </a:extLst>
          </p:cNvPr>
          <p:cNvSpPr>
            <a:spLocks/>
          </p:cNvSpPr>
          <p:nvPr/>
        </p:nvSpPr>
        <p:spPr bwMode="auto">
          <a:xfrm>
            <a:off x="5698267" y="1436555"/>
            <a:ext cx="245877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AutoShape 13">
            <a:extLst>
              <a:ext uri="{FF2B5EF4-FFF2-40B4-BE49-F238E27FC236}">
                <a16:creationId xmlns:a16="http://schemas.microsoft.com/office/drawing/2014/main" id="{239066ED-E5F4-4A34-824A-939F89D7DCC7}"/>
              </a:ext>
            </a:extLst>
          </p:cNvPr>
          <p:cNvSpPr>
            <a:spLocks/>
          </p:cNvSpPr>
          <p:nvPr/>
        </p:nvSpPr>
        <p:spPr bwMode="auto">
          <a:xfrm>
            <a:off x="7900756" y="997352"/>
            <a:ext cx="2859393"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2">
            <a:extLst>
              <a:ext uri="{FF2B5EF4-FFF2-40B4-BE49-F238E27FC236}">
                <a16:creationId xmlns:a16="http://schemas.microsoft.com/office/drawing/2014/main" id="{F6B161B1-444F-44A1-9127-E39A7D8375D7}"/>
              </a:ext>
            </a:extLst>
          </p:cNvPr>
          <p:cNvSpPr>
            <a:spLocks/>
          </p:cNvSpPr>
          <p:nvPr/>
        </p:nvSpPr>
        <p:spPr bwMode="auto">
          <a:xfrm>
            <a:off x="7910111" y="1671824"/>
            <a:ext cx="248981" cy="305136"/>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8" name="Rectangle 1">
            <a:extLst>
              <a:ext uri="{FF2B5EF4-FFF2-40B4-BE49-F238E27FC236}">
                <a16:creationId xmlns:a16="http://schemas.microsoft.com/office/drawing/2014/main" id="{C4BA7BE5-5D5A-4328-B251-9A7C3F380603}"/>
              </a:ext>
            </a:extLst>
          </p:cNvPr>
          <p:cNvSpPr>
            <a:spLocks/>
          </p:cNvSpPr>
          <p:nvPr/>
        </p:nvSpPr>
        <p:spPr bwMode="auto">
          <a:xfrm>
            <a:off x="8221907" y="1650671"/>
            <a:ext cx="2190137" cy="4994677"/>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0" name="TextBox 77">
            <a:extLst>
              <a:ext uri="{FF2B5EF4-FFF2-40B4-BE49-F238E27FC236}">
                <a16:creationId xmlns:a16="http://schemas.microsoft.com/office/drawing/2014/main" id="{1650FCCA-85FF-4E78-86E4-A773439D1FFA}"/>
              </a:ext>
            </a:extLst>
          </p:cNvPr>
          <p:cNvSpPr txBox="1"/>
          <p:nvPr/>
        </p:nvSpPr>
        <p:spPr>
          <a:xfrm>
            <a:off x="1482933" y="2002267"/>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Phase 1</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21" name="TextBox 78">
            <a:extLst>
              <a:ext uri="{FF2B5EF4-FFF2-40B4-BE49-F238E27FC236}">
                <a16:creationId xmlns:a16="http://schemas.microsoft.com/office/drawing/2014/main" id="{69E52B6D-A0D7-49C6-ACDA-58E64F23B18C}"/>
              </a:ext>
            </a:extLst>
          </p:cNvPr>
          <p:cNvSpPr txBox="1"/>
          <p:nvPr/>
        </p:nvSpPr>
        <p:spPr>
          <a:xfrm>
            <a:off x="3684073" y="1752787"/>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2</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2" name="TextBox 80">
            <a:extLst>
              <a:ext uri="{FF2B5EF4-FFF2-40B4-BE49-F238E27FC236}">
                <a16:creationId xmlns:a16="http://schemas.microsoft.com/office/drawing/2014/main" id="{EE2641FC-5250-423C-926A-BC71B2B6C6DF}"/>
              </a:ext>
            </a:extLst>
          </p:cNvPr>
          <p:cNvSpPr txBox="1"/>
          <p:nvPr/>
        </p:nvSpPr>
        <p:spPr>
          <a:xfrm>
            <a:off x="5824935" y="1525839"/>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3</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3" name="TextBox 81">
            <a:extLst>
              <a:ext uri="{FF2B5EF4-FFF2-40B4-BE49-F238E27FC236}">
                <a16:creationId xmlns:a16="http://schemas.microsoft.com/office/drawing/2014/main" id="{75363B09-D9B1-464A-ADCF-5AD82930D3FD}"/>
              </a:ext>
            </a:extLst>
          </p:cNvPr>
          <p:cNvSpPr txBox="1"/>
          <p:nvPr/>
        </p:nvSpPr>
        <p:spPr>
          <a:xfrm>
            <a:off x="8157040" y="1196058"/>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Phase 4</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26" name="TextBox 88">
            <a:extLst>
              <a:ext uri="{FF2B5EF4-FFF2-40B4-BE49-F238E27FC236}">
                <a16:creationId xmlns:a16="http://schemas.microsoft.com/office/drawing/2014/main" id="{FAEB87BB-5AE6-409E-B94F-0CA699FB8626}"/>
              </a:ext>
            </a:extLst>
          </p:cNvPr>
          <p:cNvSpPr txBox="1"/>
          <p:nvPr/>
        </p:nvSpPr>
        <p:spPr>
          <a:xfrm>
            <a:off x="2029634" y="2518133"/>
            <a:ext cx="112716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Awareness</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27" name="TextBox 89">
            <a:extLst>
              <a:ext uri="{FF2B5EF4-FFF2-40B4-BE49-F238E27FC236}">
                <a16:creationId xmlns:a16="http://schemas.microsoft.com/office/drawing/2014/main" id="{90D301C4-1D0D-44EE-B44A-557462638672}"/>
              </a:ext>
            </a:extLst>
          </p:cNvPr>
          <p:cNvSpPr txBox="1"/>
          <p:nvPr/>
        </p:nvSpPr>
        <p:spPr>
          <a:xfrm>
            <a:off x="1672496" y="2976026"/>
            <a:ext cx="199125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has heard of, or been initially exposed to, Power BI in some way.</a:t>
            </a:r>
          </a:p>
          <a:p>
            <a:pPr marR="0" lvl="0" algn="l" defTabSz="914400" rtl="0" eaLnBrk="1" fontAlgn="auto" latinLnBrk="0" hangingPunct="1">
              <a:lnSpc>
                <a:spcPct val="100000"/>
              </a:lnSpc>
              <a:spcBef>
                <a:spcPts val="0"/>
              </a:spcBef>
              <a:spcAft>
                <a:spcPts val="0"/>
              </a:spcAft>
              <a:buClrTx/>
              <a:buSzTx/>
              <a:tabLst/>
              <a:defRPr/>
            </a:pPr>
            <a:endPar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ay have access to Power BI but is not yet actively using it.</a:t>
            </a:r>
          </a:p>
        </p:txBody>
      </p:sp>
      <p:sp>
        <p:nvSpPr>
          <p:cNvPr id="28" name="TextBox 90">
            <a:extLst>
              <a:ext uri="{FF2B5EF4-FFF2-40B4-BE49-F238E27FC236}">
                <a16:creationId xmlns:a16="http://schemas.microsoft.com/office/drawing/2014/main" id="{B43F32C8-2ADA-4740-A42D-FF38158ECD0A}"/>
              </a:ext>
            </a:extLst>
          </p:cNvPr>
          <p:cNvSpPr txBox="1"/>
          <p:nvPr/>
        </p:nvSpPr>
        <p:spPr>
          <a:xfrm>
            <a:off x="4127807" y="2340821"/>
            <a:ext cx="144623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Understanding</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29" name="TextBox 93">
            <a:extLst>
              <a:ext uri="{FF2B5EF4-FFF2-40B4-BE49-F238E27FC236}">
                <a16:creationId xmlns:a16="http://schemas.microsoft.com/office/drawing/2014/main" id="{0E7C08BC-19A9-4B59-B5D2-086E2A139564}"/>
              </a:ext>
            </a:extLst>
          </p:cNvPr>
          <p:cNvSpPr txBox="1"/>
          <p:nvPr/>
        </p:nvSpPr>
        <p:spPr>
          <a:xfrm>
            <a:off x="3819299" y="2743383"/>
            <a:ext cx="2071454" cy="1518731"/>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develops understanding of the benefits of Power BI to deliver analytical value and support decision-making.</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hows interest and starts to use Power BI.</a:t>
            </a:r>
          </a:p>
        </p:txBody>
      </p:sp>
      <p:sp>
        <p:nvSpPr>
          <p:cNvPr id="30" name="TextBox 94">
            <a:extLst>
              <a:ext uri="{FF2B5EF4-FFF2-40B4-BE49-F238E27FC236}">
                <a16:creationId xmlns:a16="http://schemas.microsoft.com/office/drawing/2014/main" id="{4B604034-7F6E-4465-BA0B-866E5F6E7350}"/>
              </a:ext>
            </a:extLst>
          </p:cNvPr>
          <p:cNvSpPr txBox="1"/>
          <p:nvPr/>
        </p:nvSpPr>
        <p:spPr>
          <a:xfrm>
            <a:off x="6481576" y="2122683"/>
            <a:ext cx="11400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Momentum</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1" name="TextBox 95">
            <a:extLst>
              <a:ext uri="{FF2B5EF4-FFF2-40B4-BE49-F238E27FC236}">
                <a16:creationId xmlns:a16="http://schemas.microsoft.com/office/drawing/2014/main" id="{E7B3D5E7-D96E-442D-A0A2-0CF253550C61}"/>
              </a:ext>
            </a:extLst>
          </p:cNvPr>
          <p:cNvSpPr txBox="1"/>
          <p:nvPr/>
        </p:nvSpPr>
        <p:spPr>
          <a:xfrm>
            <a:off x="6043652" y="2459847"/>
            <a:ext cx="1964072" cy="1972830"/>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n individual actively gains Power BI skills by attending formal training, self-directed learning, or experi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Gains basic competency with the aspects of Power BI relevant to their role.</a:t>
            </a:r>
          </a:p>
        </p:txBody>
      </p:sp>
      <p:sp>
        <p:nvSpPr>
          <p:cNvPr id="32" name="TextBox 96">
            <a:extLst>
              <a:ext uri="{FF2B5EF4-FFF2-40B4-BE49-F238E27FC236}">
                <a16:creationId xmlns:a16="http://schemas.microsoft.com/office/drawing/2014/main" id="{3423229A-225A-46E7-8C18-93DF5B3A1191}"/>
              </a:ext>
            </a:extLst>
          </p:cNvPr>
          <p:cNvSpPr txBox="1"/>
          <p:nvPr/>
        </p:nvSpPr>
        <p:spPr>
          <a:xfrm>
            <a:off x="8780238" y="1824392"/>
            <a:ext cx="114967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Proficiency</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3" name="TextBox 97">
            <a:extLst>
              <a:ext uri="{FF2B5EF4-FFF2-40B4-BE49-F238E27FC236}">
                <a16:creationId xmlns:a16="http://schemas.microsoft.com/office/drawing/2014/main" id="{662C0DA5-8473-414B-83F2-CDA5233DD11C}"/>
              </a:ext>
            </a:extLst>
          </p:cNvPr>
          <p:cNvSpPr txBox="1"/>
          <p:nvPr/>
        </p:nvSpPr>
        <p:spPr>
          <a:xfrm>
            <a:off x="8214568" y="2214428"/>
            <a:ext cx="2238487" cy="4342709"/>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ctively uses Power BI on a regular ba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stands how to use Power BI in the way in which it was intended, as relevant for their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odifies their behavior and activities to align with organizational governance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llingness to support organizational processes and change efforts is growing over time, and they become an advocate for Power BI in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akes the effort to continually improve their skills and stay current with new product capabilities and features.</a:t>
            </a:r>
          </a:p>
        </p:txBody>
      </p:sp>
    </p:spTree>
    <p:extLst>
      <p:ext uri="{BB962C8B-B14F-4D97-AF65-F5344CB8AC3E}">
        <p14:creationId xmlns:p14="http://schemas.microsoft.com/office/powerpoint/2010/main" val="140001154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en should workspaces be created?</a:t>
            </a:r>
          </a:p>
        </p:txBody>
      </p:sp>
      <p:sp>
        <p:nvSpPr>
          <p:cNvPr id="4" name="Text Placeholder 1">
            <a:extLst>
              <a:ext uri="{FF2B5EF4-FFF2-40B4-BE49-F238E27FC236}">
                <a16:creationId xmlns:a16="http://schemas.microsoft.com/office/drawing/2014/main" id="{5F9055EE-BF72-4032-9D4A-A185D9781404}"/>
              </a:ext>
            </a:extLst>
          </p:cNvPr>
          <p:cNvSpPr>
            <a:spLocks noGrp="1"/>
          </p:cNvSpPr>
          <p:nvPr>
            <p:ph type="body" sz="quarter" idx="10"/>
          </p:nvPr>
        </p:nvSpPr>
        <p:spPr>
          <a:xfrm>
            <a:off x="302482" y="3178513"/>
            <a:ext cx="11587037" cy="3480144"/>
          </a:xfrm>
        </p:spPr>
        <p:txBody>
          <a:bodyPr/>
          <a:lstStyle/>
          <a:p>
            <a:endParaRPr lang="en-US">
              <a:solidFill>
                <a:srgbClr val="EDC30D"/>
              </a:solidFill>
            </a:endParaRPr>
          </a:p>
        </p:txBody>
      </p:sp>
    </p:spTree>
    <p:extLst>
      <p:ext uri="{BB962C8B-B14F-4D97-AF65-F5344CB8AC3E}">
        <p14:creationId xmlns:p14="http://schemas.microsoft.com/office/powerpoint/2010/main" val="2757754045"/>
      </p:ext>
    </p:extLst>
  </p:cSld>
  <p:clrMapOvr>
    <a:masterClrMapping/>
  </p:clrMapOvr>
  <mc:AlternateContent xmlns:mc="http://schemas.openxmlformats.org/markup-compatibility/2006" xmlns:p14="http://schemas.microsoft.com/office/powerpoint/2010/main">
    <mc:Choice Requires="p14">
      <p:transition spd="med" p14:dur="700" advTm="46667">
        <p:fade/>
      </p:transition>
    </mc:Choice>
    <mc:Fallback xmlns="">
      <p:transition spd="med" advTm="46667">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800"/>
              <a:t>App Workspaces Creation Options</a:t>
            </a:r>
            <a:endParaRPr lang="en-US" sz="48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8080" y="1270267"/>
          <a:ext cx="11655840" cy="4485632"/>
        </p:xfrm>
        <a:graphic>
          <a:graphicData uri="http://schemas.openxmlformats.org/drawingml/2006/table">
            <a:tbl>
              <a:tblPr firstRow="1" bandRow="1">
                <a:tableStyleId>{F5AB1C69-6EDB-4FF4-983F-18BD219EF322}</a:tableStyleId>
              </a:tblPr>
              <a:tblGrid>
                <a:gridCol w="2243230">
                  <a:extLst>
                    <a:ext uri="{9D8B030D-6E8A-4147-A177-3AD203B41FA5}">
                      <a16:colId xmlns:a16="http://schemas.microsoft.com/office/drawing/2014/main" val="519669272"/>
                    </a:ext>
                  </a:extLst>
                </a:gridCol>
                <a:gridCol w="3186509">
                  <a:extLst>
                    <a:ext uri="{9D8B030D-6E8A-4147-A177-3AD203B41FA5}">
                      <a16:colId xmlns:a16="http://schemas.microsoft.com/office/drawing/2014/main" val="277234858"/>
                    </a:ext>
                  </a:extLst>
                </a:gridCol>
                <a:gridCol w="3088918">
                  <a:extLst>
                    <a:ext uri="{9D8B030D-6E8A-4147-A177-3AD203B41FA5}">
                      <a16:colId xmlns:a16="http://schemas.microsoft.com/office/drawing/2014/main" val="3973767849"/>
                    </a:ext>
                  </a:extLst>
                </a:gridCol>
                <a:gridCol w="3137183">
                  <a:extLst>
                    <a:ext uri="{9D8B030D-6E8A-4147-A177-3AD203B41FA5}">
                      <a16:colId xmlns:a16="http://schemas.microsoft.com/office/drawing/2014/main" val="1870900502"/>
                    </a:ext>
                  </a:extLst>
                </a:gridCol>
              </a:tblGrid>
              <a:tr h="645152">
                <a:tc>
                  <a:txBody>
                    <a:bodyPr/>
                    <a:lstStyle/>
                    <a:p>
                      <a:r>
                        <a:rPr lang="en-GB" sz="2000"/>
                        <a:t>Option</a:t>
                      </a:r>
                      <a:endParaRPr lang="en-US" sz="2000"/>
                    </a:p>
                  </a:txBody>
                  <a:tcPr/>
                </a:tc>
                <a:tc>
                  <a:txBody>
                    <a:bodyPr/>
                    <a:lstStyle/>
                    <a:p>
                      <a:r>
                        <a:rPr lang="en-GB" sz="2000"/>
                        <a:t>Pros</a:t>
                      </a:r>
                      <a:endParaRPr lang="en-US" sz="2000"/>
                    </a:p>
                  </a:txBody>
                  <a:tcPr/>
                </a:tc>
                <a:tc>
                  <a:txBody>
                    <a:bodyPr/>
                    <a:lstStyle/>
                    <a:p>
                      <a:r>
                        <a:rPr lang="en-GB" sz="2000"/>
                        <a:t>Cons</a:t>
                      </a:r>
                      <a:endParaRPr lang="en-US" sz="2000"/>
                    </a:p>
                  </a:txBody>
                  <a:tcPr/>
                </a:tc>
                <a:tc>
                  <a:txBody>
                    <a:bodyPr/>
                    <a:lstStyle/>
                    <a:p>
                      <a:r>
                        <a:rPr lang="en-GB" sz="2000"/>
                        <a:t>Actions</a:t>
                      </a:r>
                      <a:endParaRPr lang="en-US" sz="2000"/>
                    </a:p>
                  </a:txBody>
                  <a:tcPr/>
                </a:tc>
                <a:extLst>
                  <a:ext uri="{0D108BD9-81ED-4DB2-BD59-A6C34878D82A}">
                    <a16:rowId xmlns:a16="http://schemas.microsoft.com/office/drawing/2014/main" val="168812664"/>
                  </a:ext>
                </a:extLst>
              </a:tr>
              <a:tr h="1042169">
                <a:tc>
                  <a:txBody>
                    <a:bodyPr/>
                    <a:lstStyle/>
                    <a:p>
                      <a:pPr marL="0" indent="0">
                        <a:buFont typeface="Arial" panose="020B0604020202020204" pitchFamily="34" charset="0"/>
                        <a:buNone/>
                      </a:pPr>
                      <a:r>
                        <a:rPr lang="en-GB" sz="1600">
                          <a:latin typeface="+mj-lt"/>
                        </a:rPr>
                        <a:t>Allow all users to create App Workspaces</a:t>
                      </a:r>
                    </a:p>
                    <a:p>
                      <a:pPr marL="0" indent="0">
                        <a:buFont typeface="Arial" panose="020B0604020202020204" pitchFamily="34" charset="0"/>
                        <a:buNone/>
                      </a:pPr>
                      <a:r>
                        <a:rPr lang="en-GB" sz="1600">
                          <a:latin typeface="+mj-lt"/>
                        </a:rPr>
                        <a:t>(Recommended)</a:t>
                      </a:r>
                      <a:endParaRPr lang="en-US" sz="1600">
                        <a:latin typeface="+mj-lt"/>
                      </a:endParaRPr>
                    </a:p>
                  </a:txBody>
                  <a:tcPr/>
                </a:tc>
                <a:tc>
                  <a:txBody>
                    <a:bodyPr/>
                    <a:lstStyle/>
                    <a:p>
                      <a:pPr marL="285750" lvl="0" indent="-285750">
                        <a:buFont typeface="Arial" panose="020B0604020202020204" pitchFamily="34" charset="0"/>
                        <a:buChar char="•"/>
                      </a:pPr>
                      <a:r>
                        <a:rPr lang="en-GB" sz="1600" kern="1200">
                          <a:effectLst/>
                          <a:latin typeface="+mj-lt"/>
                        </a:rPr>
                        <a:t>Can be created whenever required</a:t>
                      </a:r>
                      <a:endParaRPr lang="en-US" sz="1600" kern="1200">
                        <a:effectLst/>
                        <a:latin typeface="+mj-lt"/>
                      </a:endParaRPr>
                    </a:p>
                    <a:p>
                      <a:pPr marL="285750" lvl="0" indent="-285750">
                        <a:buFont typeface="Arial" panose="020B0604020202020204" pitchFamily="34" charset="0"/>
                        <a:buChar char="•"/>
                      </a:pP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285750" lvl="0" indent="-285750">
                        <a:buFont typeface="Arial" panose="020B0604020202020204" pitchFamily="34" charset="0"/>
                        <a:buChar char="•"/>
                      </a:pPr>
                      <a:r>
                        <a:rPr lang="en-US" sz="1600" kern="1200">
                          <a:effectLst/>
                          <a:latin typeface="+mj-lt"/>
                        </a:rPr>
                        <a:t>Can lead to lots of App workspaces</a:t>
                      </a:r>
                      <a:endParaRPr lang="en-US" sz="1600" kern="1200">
                        <a:solidFill>
                          <a:schemeClr val="dk1"/>
                        </a:solidFill>
                        <a:effectLst/>
                        <a:latin typeface="+mj-lt"/>
                        <a:ea typeface="+mn-ea"/>
                        <a:cs typeface="+mn-cs"/>
                      </a:endParaRPr>
                    </a:p>
                  </a:txBody>
                  <a:tcPr/>
                </a:tc>
                <a:tc>
                  <a:txBody>
                    <a:bodyPr/>
                    <a:lstStyle/>
                    <a:p>
                      <a:pPr marL="285750" indent="-285750">
                        <a:buFont typeface="Arial" panose="020B0604020202020204" pitchFamily="34" charset="0"/>
                        <a:buChar char="•"/>
                      </a:pPr>
                      <a:r>
                        <a:rPr lang="en-GB" sz="1600">
                          <a:latin typeface="+mj-lt"/>
                        </a:rPr>
                        <a:t>Monitor App Workspaces to identify unused workspaces and remove</a:t>
                      </a:r>
                    </a:p>
                  </a:txBody>
                  <a:tcPr/>
                </a:tc>
                <a:extLst>
                  <a:ext uri="{0D108BD9-81ED-4DB2-BD59-A6C34878D82A}">
                    <a16:rowId xmlns:a16="http://schemas.microsoft.com/office/drawing/2014/main" val="2464792612"/>
                  </a:ext>
                </a:extLst>
              </a:tr>
              <a:tr h="1637693">
                <a:tc>
                  <a:txBody>
                    <a:bodyPr/>
                    <a:lstStyle/>
                    <a:p>
                      <a:pPr marL="0" indent="0">
                        <a:buFont typeface="Arial" panose="020B0604020202020204" pitchFamily="34" charset="0"/>
                        <a:buNone/>
                      </a:pPr>
                      <a:r>
                        <a:rPr lang="en-GB" sz="1600">
                          <a:latin typeface="+mj-lt"/>
                        </a:rPr>
                        <a:t>Restrict to specific group of individuals</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Groups creation can be validated</a:t>
                      </a:r>
                      <a:endParaRPr lang="en-US" sz="1600">
                        <a:latin typeface="+mj-lt"/>
                      </a:endParaRPr>
                    </a:p>
                  </a:txBody>
                  <a:tcPr/>
                </a:tc>
                <a:tc>
                  <a:txBody>
                    <a:bodyPr/>
                    <a:lstStyle/>
                    <a:p>
                      <a:pPr marL="285750" lvl="0" indent="-285750">
                        <a:buFont typeface="Arial" panose="020B0604020202020204" pitchFamily="34" charset="0"/>
                        <a:buChar char="•"/>
                      </a:pPr>
                      <a:r>
                        <a:rPr lang="en-GB" sz="1600">
                          <a:latin typeface="+mj-lt"/>
                        </a:rPr>
                        <a:t>Delay in requesting a new workspace to be created</a:t>
                      </a:r>
                      <a:endParaRPr lang="en-US" sz="1600">
                        <a:latin typeface="+mj-lt"/>
                      </a:endParaRP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Define List of approved individuals and approvers</a:t>
                      </a:r>
                    </a:p>
                    <a:p>
                      <a:pPr marL="285750" indent="-285750">
                        <a:buFont typeface="Arial" panose="020B0604020202020204" pitchFamily="34" charset="0"/>
                        <a:buChar char="•"/>
                      </a:pPr>
                      <a:r>
                        <a:rPr lang="en-GB" sz="1600">
                          <a:latin typeface="+mj-lt"/>
                          <a:hlinkClick r:id="rId4"/>
                        </a:rPr>
                        <a:t>Restrict</a:t>
                      </a:r>
                      <a:r>
                        <a:rPr lang="en-GB" sz="1600">
                          <a:latin typeface="+mj-lt"/>
                        </a:rPr>
                        <a:t> group creation in O365 to above individuals</a:t>
                      </a:r>
                    </a:p>
                    <a:p>
                      <a:pPr marL="285750" indent="-285750">
                        <a:buFont typeface="Arial" panose="020B0604020202020204" pitchFamily="34" charset="0"/>
                        <a:buChar char="•"/>
                      </a:pPr>
                      <a:r>
                        <a:rPr lang="en-GB" sz="1600">
                          <a:latin typeface="+mj-lt"/>
                        </a:rPr>
                        <a:t>Create Group request mechanism</a:t>
                      </a:r>
                    </a:p>
                    <a:p>
                      <a:pPr marL="285750" indent="-285750">
                        <a:buFont typeface="Arial" panose="020B0604020202020204" pitchFamily="34" charset="0"/>
                        <a:buChar char="•"/>
                      </a:pPr>
                      <a:r>
                        <a:rPr lang="en-GB" sz="1600">
                          <a:latin typeface="+mj-lt"/>
                        </a:rPr>
                        <a:t>Update Tenant Setting</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Monitor App Workspaces to identify unused workspaces and remove</a:t>
                      </a: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363728252"/>
                  </a:ext>
                </a:extLst>
              </a:tr>
            </a:tbl>
          </a:graphicData>
        </a:graphic>
      </p:graphicFrame>
    </p:spTree>
    <p:custDataLst>
      <p:tags r:id="rId1"/>
    </p:custDataLst>
    <p:extLst>
      <p:ext uri="{BB962C8B-B14F-4D97-AF65-F5344CB8AC3E}">
        <p14:creationId xmlns:p14="http://schemas.microsoft.com/office/powerpoint/2010/main" val="3349654508"/>
      </p:ext>
    </p:extLst>
  </p:cSld>
  <p:clrMapOvr>
    <a:masterClrMapping/>
  </p:clrMapOvr>
  <mc:AlternateContent xmlns:mc="http://schemas.openxmlformats.org/markup-compatibility/2006" xmlns:p14="http://schemas.microsoft.com/office/powerpoint/2010/main">
    <mc:Choice Requires="p14">
      <p:transition spd="med" p14:dur="700" advTm="110854">
        <p:fade/>
      </p:transition>
    </mc:Choice>
    <mc:Fallback xmlns="">
      <p:transition spd="med" advTm="11085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000"/>
              <a:t>When to create an App Workspaces - Recommended</a:t>
            </a:r>
            <a:endParaRPr lang="en-US" sz="40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9240" y="1234374"/>
          <a:ext cx="11655839" cy="521382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2267693">
                  <a:extLst>
                    <a:ext uri="{9D8B030D-6E8A-4147-A177-3AD203B41FA5}">
                      <a16:colId xmlns:a16="http://schemas.microsoft.com/office/drawing/2014/main" val="277234858"/>
                    </a:ext>
                  </a:extLst>
                </a:gridCol>
                <a:gridCol w="5635490">
                  <a:extLst>
                    <a:ext uri="{9D8B030D-6E8A-4147-A177-3AD203B41FA5}">
                      <a16:colId xmlns:a16="http://schemas.microsoft.com/office/drawing/2014/main" val="1870900502"/>
                    </a:ext>
                  </a:extLst>
                </a:gridCol>
              </a:tblGrid>
              <a:tr h="395358">
                <a:tc>
                  <a:txBody>
                    <a:bodyPr/>
                    <a:lstStyle/>
                    <a:p>
                      <a:r>
                        <a:rPr lang="en-GB" sz="2000"/>
                        <a:t>Option</a:t>
                      </a:r>
                      <a:endParaRPr lang="en-US" sz="2000"/>
                    </a:p>
                  </a:txBody>
                  <a:tcPr/>
                </a:tc>
                <a:tc>
                  <a:txBody>
                    <a:bodyPr/>
                    <a:lstStyle/>
                    <a:p>
                      <a:r>
                        <a:rPr lang="en-GB" sz="2000"/>
                        <a:t>How Many</a:t>
                      </a:r>
                      <a:endParaRPr lang="en-US" sz="2000"/>
                    </a:p>
                  </a:txBody>
                  <a:tcPr/>
                </a:tc>
                <a:tc>
                  <a:txBody>
                    <a:bodyPr/>
                    <a:lstStyle/>
                    <a:p>
                      <a:r>
                        <a:rPr lang="en-GB" sz="2000"/>
                        <a:t>Reasoning</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en-GB" sz="1600">
                          <a:latin typeface="+mj-lt"/>
                        </a:rPr>
                        <a:t>BI Team Development</a:t>
                      </a:r>
                      <a:endParaRPr lang="en-US" sz="1600">
                        <a:latin typeface="+mj-lt"/>
                      </a:endParaRPr>
                    </a:p>
                  </a:txBody>
                  <a:tcPr/>
                </a:tc>
                <a:tc>
                  <a:txBody>
                    <a:bodyPr/>
                    <a:lstStyle/>
                    <a:p>
                      <a:pPr marL="0" lvl="0" indent="0">
                        <a:buFont typeface="Arial" panose="020B0604020202020204" pitchFamily="34" charset="0"/>
                        <a:buNone/>
                      </a:pPr>
                      <a:r>
                        <a:rPr lang="en-GB" sz="1600" kern="1200">
                          <a:effectLst/>
                          <a:latin typeface="+mj-lt"/>
                        </a:rPr>
                        <a:t>1</a:t>
                      </a: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All Reports / Dashboards can be developed in 1 location</a:t>
                      </a:r>
                    </a:p>
                    <a:p>
                      <a:pPr marL="285750" indent="-285750">
                        <a:buFont typeface="Arial" panose="020B0604020202020204" pitchFamily="34" charset="0"/>
                        <a:buChar char="•"/>
                      </a:pPr>
                      <a:r>
                        <a:rPr lang="en-GB" sz="1600">
                          <a:latin typeface="+mj-lt"/>
                        </a:rPr>
                        <a:t>Collaborative development area</a:t>
                      </a: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GB" sz="1600">
                          <a:latin typeface="+mj-lt"/>
                        </a:rPr>
                        <a:t>BI Team Test</a:t>
                      </a:r>
                      <a:endParaRPr lang="en-US" sz="1600">
                        <a:latin typeface="+mj-lt"/>
                      </a:endParaRPr>
                    </a:p>
                  </a:txBody>
                  <a:tcPr/>
                </a:tc>
                <a:tc>
                  <a:txBody>
                    <a:bodyPr/>
                    <a:lstStyle/>
                    <a:p>
                      <a:pPr marL="0" indent="0">
                        <a:buFont typeface="Arial" panose="020B0604020202020204" pitchFamily="34" charset="0"/>
                        <a:buNone/>
                      </a:pPr>
                      <a:r>
                        <a:rPr lang="en-GB" sz="1600">
                          <a:latin typeface="+mj-lt"/>
                        </a:rPr>
                        <a:t>1</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Reports / Dashboards can be developed in 1 location</a:t>
                      </a:r>
                    </a:p>
                    <a:p>
                      <a:pPr marL="285750" indent="-285750">
                        <a:buFont typeface="Arial" panose="020B0604020202020204" pitchFamily="34" charset="0"/>
                        <a:buChar char="•"/>
                      </a:pPr>
                      <a:r>
                        <a:rPr lang="en-GB" sz="1600" kern="1200">
                          <a:solidFill>
                            <a:schemeClr val="dk1"/>
                          </a:solidFill>
                          <a:latin typeface="+mj-lt"/>
                          <a:ea typeface="+mn-ea"/>
                          <a:cs typeface="+mn-cs"/>
                        </a:rPr>
                        <a:t>Collaborative development area</a:t>
                      </a:r>
                    </a:p>
                  </a:txBody>
                  <a:tcPr/>
                </a:tc>
                <a:extLst>
                  <a:ext uri="{0D108BD9-81ED-4DB2-BD59-A6C34878D82A}">
                    <a16:rowId xmlns:a16="http://schemas.microsoft.com/office/drawing/2014/main" val="2363728252"/>
                  </a:ext>
                </a:extLst>
              </a:tr>
              <a:tr h="783513">
                <a:tc>
                  <a:txBody>
                    <a:bodyPr/>
                    <a:lstStyle/>
                    <a:p>
                      <a:pPr marL="0" indent="0">
                        <a:buFont typeface="Arial" panose="020B0604020202020204" pitchFamily="34" charset="0"/>
                        <a:buNone/>
                      </a:pPr>
                      <a:r>
                        <a:rPr lang="en-GB" sz="1600">
                          <a:latin typeface="+mj-lt"/>
                        </a:rPr>
                        <a:t>BI Team QA</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Only 1 App can be created per Workspace</a:t>
                      </a:r>
                    </a:p>
                    <a:p>
                      <a:pPr marL="285750" indent="-285750">
                        <a:buFont typeface="Arial" panose="020B0604020202020204" pitchFamily="34" charset="0"/>
                        <a:buChar char="•"/>
                      </a:pPr>
                      <a:r>
                        <a:rPr lang="en-GB" sz="1600">
                          <a:latin typeface="+mj-lt"/>
                        </a:rPr>
                        <a:t>Need to test App experience</a:t>
                      </a:r>
                      <a:endParaRPr lang="en-US" sz="1600">
                        <a:latin typeface="+mj-lt"/>
                      </a:endParaRPr>
                    </a:p>
                  </a:txBody>
                  <a:tcPr/>
                </a:tc>
                <a:extLst>
                  <a:ext uri="{0D108BD9-81ED-4DB2-BD59-A6C34878D82A}">
                    <a16:rowId xmlns:a16="http://schemas.microsoft.com/office/drawing/2014/main" val="2825348448"/>
                  </a:ext>
                </a:extLst>
              </a:tr>
              <a:tr h="783513">
                <a:tc>
                  <a:txBody>
                    <a:bodyPr/>
                    <a:lstStyle/>
                    <a:p>
                      <a:pPr marL="0" indent="0">
                        <a:buFont typeface="Arial" panose="020B0604020202020204" pitchFamily="34" charset="0"/>
                        <a:buNone/>
                      </a:pPr>
                      <a:r>
                        <a:rPr lang="en-GB" sz="1600">
                          <a:latin typeface="+mj-lt"/>
                        </a:rPr>
                        <a:t>BI Team Production</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Only 1 App can be created per Workspace</a:t>
                      </a:r>
                    </a:p>
                    <a:p>
                      <a:pPr marL="285750" indent="-285750">
                        <a:buFont typeface="Arial" panose="020B0604020202020204" pitchFamily="34" charset="0"/>
                        <a:buChar char="•"/>
                      </a:pPr>
                      <a:r>
                        <a:rPr lang="en-GB" sz="1600" kern="1200">
                          <a:solidFill>
                            <a:schemeClr val="dk1"/>
                          </a:solidFill>
                          <a:latin typeface="+mj-lt"/>
                          <a:ea typeface="+mn-ea"/>
                          <a:cs typeface="+mn-cs"/>
                        </a:rPr>
                        <a:t>Need to share with different audiences</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887410271"/>
                  </a:ext>
                </a:extLst>
              </a:tr>
              <a:tr h="783513">
                <a:tc>
                  <a:txBody>
                    <a:bodyPr/>
                    <a:lstStyle/>
                    <a:p>
                      <a:pPr marL="0" indent="0">
                        <a:buFont typeface="Arial" panose="020B0604020202020204" pitchFamily="34" charset="0"/>
                        <a:buNone/>
                      </a:pPr>
                      <a:r>
                        <a:rPr lang="en-GB" sz="1600">
                          <a:latin typeface="+mj-lt"/>
                        </a:rPr>
                        <a:t>Business Self-Service Development</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department</a:t>
                      </a:r>
                      <a:endParaRPr lang="en-US" sz="1600">
                        <a:latin typeface="+mj-lt"/>
                      </a:endParaRPr>
                    </a:p>
                  </a:txBody>
                  <a:tcPr/>
                </a:tc>
                <a:tc>
                  <a:txBody>
                    <a:bodyPr/>
                    <a:lstStyle/>
                    <a:p>
                      <a:pPr marL="285750" indent="-285750">
                        <a:buFont typeface="Arial" panose="020B0604020202020204" pitchFamily="34" charset="0"/>
                        <a:buChar char="•"/>
                      </a:pPr>
                      <a:r>
                        <a:rPr lang="en-GB" sz="1600">
                          <a:latin typeface="+mj-lt"/>
                        </a:rPr>
                        <a:t>Separate reports created by different department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a:solidFill>
                            <a:schemeClr val="dk1"/>
                          </a:solidFill>
                          <a:latin typeface="+mj-lt"/>
                          <a:ea typeface="+mn-ea"/>
                          <a:cs typeface="+mn-cs"/>
                        </a:rPr>
                        <a:t>Collaborative development area</a:t>
                      </a:r>
                      <a:r>
                        <a:rPr lang="en-US" sz="1600" kern="1200">
                          <a:solidFill>
                            <a:schemeClr val="dk1"/>
                          </a:solidFill>
                          <a:latin typeface="+mj-lt"/>
                          <a:ea typeface="+mn-ea"/>
                          <a:cs typeface="+mn-cs"/>
                        </a:rPr>
                        <a:t> within a department</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952617399"/>
                  </a:ext>
                </a:extLst>
              </a:tr>
              <a:tr h="783513">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Business Self-Service Produc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1 per report category</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Only 1 App can be created per Workspace</a:t>
                      </a:r>
                    </a:p>
                    <a:p>
                      <a:pPr marL="285750" indent="-285750">
                        <a:buFont typeface="Arial" panose="020B0604020202020204" pitchFamily="34" charset="0"/>
                        <a:buChar char="•"/>
                      </a:pPr>
                      <a:r>
                        <a:rPr lang="en-GB" sz="1600" kern="1200">
                          <a:solidFill>
                            <a:schemeClr val="dk1"/>
                          </a:solidFill>
                          <a:latin typeface="+mj-lt"/>
                          <a:ea typeface="+mn-ea"/>
                          <a:cs typeface="+mn-cs"/>
                        </a:rPr>
                        <a:t>Need to share with different audiences</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023544477"/>
                  </a:ext>
                </a:extLst>
              </a:tr>
            </a:tbl>
          </a:graphicData>
        </a:graphic>
      </p:graphicFrame>
    </p:spTree>
    <p:extLst>
      <p:ext uri="{BB962C8B-B14F-4D97-AF65-F5344CB8AC3E}">
        <p14:creationId xmlns:p14="http://schemas.microsoft.com/office/powerpoint/2010/main" val="96025907"/>
      </p:ext>
    </p:extLst>
  </p:cSld>
  <p:clrMapOvr>
    <a:masterClrMapping/>
  </p:clrMapOvr>
  <mc:AlternateContent xmlns:mc="http://schemas.openxmlformats.org/markup-compatibility/2006" xmlns:p14="http://schemas.microsoft.com/office/powerpoint/2010/main">
    <mc:Choice Requires="p14">
      <p:transition spd="med" p14:dur="700" advTm="20019">
        <p:fade/>
      </p:transition>
    </mc:Choice>
    <mc:Fallback xmlns="">
      <p:transition spd="med" advTm="20019">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Considerations</a:t>
            </a:r>
            <a:r>
              <a:rPr lang="de-DE"/>
              <a:t> </a:t>
            </a:r>
            <a:r>
              <a:rPr lang="de-DE" err="1"/>
              <a:t>for</a:t>
            </a:r>
            <a:r>
              <a:rPr lang="de-DE"/>
              <a:t> System </a:t>
            </a:r>
            <a:r>
              <a:rPr lang="de-DE" err="1"/>
              <a:t>Oversight</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1548465"/>
            <a:ext cx="6573955" cy="4142673"/>
          </a:xfrm>
        </p:spPr>
        <p:txBody>
          <a:bodyPr/>
          <a:lstStyle/>
          <a:p>
            <a:pPr marL="342900" indent="-342900">
              <a:buFont typeface="Arial" panose="020B0604020202020204" pitchFamily="34" charset="0"/>
              <a:buChar char="•"/>
            </a:pPr>
            <a:r>
              <a:rPr lang="en-US" sz="2000"/>
              <a:t>Verify who is permitted to be a Power BI administrator. If possible, reduce the number of people granted this role if it's more than a few people.</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If you have people who occasionally need Power BI administrator rights, consider implementing Privileged Identity Management (PIM) in Azure Active Directory. It's designed to assign just-in-time role permissions that expire after a few hours.</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heck the status of cross-training and documentation in place for handling Power BI administration responsibilities.</a:t>
            </a:r>
          </a:p>
        </p:txBody>
      </p:sp>
    </p:spTree>
    <p:extLst>
      <p:ext uri="{BB962C8B-B14F-4D97-AF65-F5344CB8AC3E}">
        <p14:creationId xmlns:p14="http://schemas.microsoft.com/office/powerpoint/2010/main" val="376236608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499952" y="729076"/>
            <a:ext cx="401621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 BI Desktop</a:t>
            </a:r>
          </a:p>
        </p:txBody>
      </p:sp>
      <p:sp>
        <p:nvSpPr>
          <p:cNvPr id="41" name="Rectangle 40"/>
          <p:cNvSpPr/>
          <p:nvPr/>
        </p:nvSpPr>
        <p:spPr>
          <a:xfrm>
            <a:off x="314909" y="2478383"/>
            <a:ext cx="4067718" cy="1985159"/>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Segoe UI"/>
                <a:ea typeface="+mn-ea"/>
                <a:cs typeface="+mn-cs"/>
              </a:rPr>
              <a:t>Monthly Updat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ownload from PowerBI.com</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Packaged deployment from IT</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Download from Windows Stor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screenshot of a cell phone&#10;&#10;Description generated with very high confidence">
            <a:extLst>
              <a:ext uri="{FF2B5EF4-FFF2-40B4-BE49-F238E27FC236}">
                <a16:creationId xmlns:a16="http://schemas.microsoft.com/office/drawing/2014/main" id="{DE7A530D-EB61-448D-B8F6-5E2CA47AC3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6815" y="438414"/>
            <a:ext cx="3600000" cy="2619048"/>
          </a:xfrm>
          <a:prstGeom prst="rect">
            <a:avLst/>
          </a:prstGeom>
        </p:spPr>
      </p:pic>
      <p:pic>
        <p:nvPicPr>
          <p:cNvPr id="12" name="Picture 11" descr="A screenshot of a computer&#10;&#10;Description generated with very high confidence">
            <a:extLst>
              <a:ext uri="{FF2B5EF4-FFF2-40B4-BE49-F238E27FC236}">
                <a16:creationId xmlns:a16="http://schemas.microsoft.com/office/drawing/2014/main" id="{F5273842-0212-4532-ACBE-B76D94DDC8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15186" y="1762333"/>
            <a:ext cx="4761905" cy="3333334"/>
          </a:xfrm>
          <a:prstGeom prst="rect">
            <a:avLst/>
          </a:prstGeom>
        </p:spPr>
      </p:pic>
      <p:pic>
        <p:nvPicPr>
          <p:cNvPr id="9" name="Picture 8" descr="A screenshot of a cell phone&#10;&#10;Description generated with high confidence">
            <a:extLst>
              <a:ext uri="{FF2B5EF4-FFF2-40B4-BE49-F238E27FC236}">
                <a16:creationId xmlns:a16="http://schemas.microsoft.com/office/drawing/2014/main" id="{F3A920DC-04FB-4923-9D46-07E4A8EED0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5518" y="4830334"/>
            <a:ext cx="4892892" cy="1479867"/>
          </a:xfrm>
          <a:prstGeom prst="rect">
            <a:avLst/>
          </a:prstGeom>
        </p:spPr>
      </p:pic>
    </p:spTree>
    <p:extLst>
      <p:ext uri="{BB962C8B-B14F-4D97-AF65-F5344CB8AC3E}">
        <p14:creationId xmlns:p14="http://schemas.microsoft.com/office/powerpoint/2010/main" val="3239853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46867">
        <p:fade/>
      </p:transition>
    </mc:Choice>
    <mc:Fallback xmlns="">
      <p:transition spd="med" advTm="46867">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400"/>
              <a:t>How will you manage installing Power BI Desktop?</a:t>
            </a:r>
            <a:endParaRPr lang="en-US" sz="4400"/>
          </a:p>
        </p:txBody>
      </p:sp>
      <p:graphicFrame>
        <p:nvGraphicFramePr>
          <p:cNvPr id="2" name="Table 1">
            <a:extLst>
              <a:ext uri="{FF2B5EF4-FFF2-40B4-BE49-F238E27FC236}">
                <a16:creationId xmlns:a16="http://schemas.microsoft.com/office/drawing/2014/main" id="{59B4E1F0-4605-471E-AFEE-B170212BF68D}"/>
              </a:ext>
            </a:extLst>
          </p:cNvPr>
          <p:cNvGraphicFramePr>
            <a:graphicFrameLocks noGrp="1"/>
          </p:cNvGraphicFramePr>
          <p:nvPr/>
        </p:nvGraphicFramePr>
        <p:xfrm>
          <a:off x="269241" y="1247072"/>
          <a:ext cx="11655840" cy="5334000"/>
        </p:xfrm>
        <a:graphic>
          <a:graphicData uri="http://schemas.openxmlformats.org/drawingml/2006/table">
            <a:tbl>
              <a:tblPr firstRow="1" bandRow="1">
                <a:tableStyleId>{F5AB1C69-6EDB-4FF4-983F-18BD219EF322}</a:tableStyleId>
              </a:tblPr>
              <a:tblGrid>
                <a:gridCol w="2243230">
                  <a:extLst>
                    <a:ext uri="{9D8B030D-6E8A-4147-A177-3AD203B41FA5}">
                      <a16:colId xmlns:a16="http://schemas.microsoft.com/office/drawing/2014/main" val="519669272"/>
                    </a:ext>
                  </a:extLst>
                </a:gridCol>
                <a:gridCol w="3186509">
                  <a:extLst>
                    <a:ext uri="{9D8B030D-6E8A-4147-A177-3AD203B41FA5}">
                      <a16:colId xmlns:a16="http://schemas.microsoft.com/office/drawing/2014/main" val="277234858"/>
                    </a:ext>
                  </a:extLst>
                </a:gridCol>
                <a:gridCol w="3088918">
                  <a:extLst>
                    <a:ext uri="{9D8B030D-6E8A-4147-A177-3AD203B41FA5}">
                      <a16:colId xmlns:a16="http://schemas.microsoft.com/office/drawing/2014/main" val="3973767849"/>
                    </a:ext>
                  </a:extLst>
                </a:gridCol>
                <a:gridCol w="3137183">
                  <a:extLst>
                    <a:ext uri="{9D8B030D-6E8A-4147-A177-3AD203B41FA5}">
                      <a16:colId xmlns:a16="http://schemas.microsoft.com/office/drawing/2014/main" val="1870900502"/>
                    </a:ext>
                  </a:extLst>
                </a:gridCol>
              </a:tblGrid>
              <a:tr h="370840">
                <a:tc>
                  <a:txBody>
                    <a:bodyPr/>
                    <a:lstStyle/>
                    <a:p>
                      <a:r>
                        <a:rPr lang="en-GB" sz="2000"/>
                        <a:t>Option</a:t>
                      </a:r>
                      <a:endParaRPr lang="en-US" sz="2000"/>
                    </a:p>
                  </a:txBody>
                  <a:tcPr/>
                </a:tc>
                <a:tc>
                  <a:txBody>
                    <a:bodyPr/>
                    <a:lstStyle/>
                    <a:p>
                      <a:r>
                        <a:rPr lang="en-GB" sz="2000"/>
                        <a:t>Pros</a:t>
                      </a:r>
                      <a:endParaRPr lang="en-US" sz="2000"/>
                    </a:p>
                  </a:txBody>
                  <a:tcPr/>
                </a:tc>
                <a:tc>
                  <a:txBody>
                    <a:bodyPr/>
                    <a:lstStyle/>
                    <a:p>
                      <a:r>
                        <a:rPr lang="en-GB" sz="2000"/>
                        <a:t>Cons</a:t>
                      </a:r>
                      <a:endParaRPr lang="en-US" sz="2000"/>
                    </a:p>
                  </a:txBody>
                  <a:tcPr/>
                </a:tc>
                <a:tc>
                  <a:txBody>
                    <a:bodyPr/>
                    <a:lstStyle/>
                    <a:p>
                      <a:r>
                        <a:rPr lang="en-GB" sz="2000"/>
                        <a:t>Actions</a:t>
                      </a:r>
                      <a:endParaRPr lang="en-US" sz="2000"/>
                    </a:p>
                  </a:txBody>
                  <a:tcPr/>
                </a:tc>
                <a:extLst>
                  <a:ext uri="{0D108BD9-81ED-4DB2-BD59-A6C34878D82A}">
                    <a16:rowId xmlns:a16="http://schemas.microsoft.com/office/drawing/2014/main" val="168812664"/>
                  </a:ext>
                </a:extLst>
              </a:tr>
              <a:tr h="370840">
                <a:tc>
                  <a:txBody>
                    <a:bodyPr/>
                    <a:lstStyle/>
                    <a:p>
                      <a:pPr marL="0" indent="0">
                        <a:buFont typeface="Arial" panose="020B0604020202020204" pitchFamily="34" charset="0"/>
                        <a:buNone/>
                      </a:pPr>
                      <a:r>
                        <a:rPr lang="en-GB" sz="1200"/>
                        <a:t>Windows 10 Store (Recommended)</a:t>
                      </a: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Updates automatically installed</a:t>
                      </a:r>
                    </a:p>
                    <a:p>
                      <a:pPr marL="285750" lvl="0" indent="-285750">
                        <a:buFont typeface="Arial" panose="020B0604020202020204" pitchFamily="34" charset="0"/>
                        <a:buChar char="•"/>
                      </a:pPr>
                      <a:r>
                        <a:rPr lang="en-US" sz="1200" kern="1200">
                          <a:effectLst/>
                        </a:rPr>
                        <a:t>Administrative privileges are not required.</a:t>
                      </a:r>
                    </a:p>
                    <a:p>
                      <a:pPr marL="285750" lvl="0" indent="-285750">
                        <a:buFont typeface="Arial" panose="020B0604020202020204" pitchFamily="34" charset="0"/>
                        <a:buChar char="•"/>
                      </a:pPr>
                      <a:r>
                        <a:rPr lang="en-US" sz="1200" kern="1200">
                          <a:effectLst/>
                        </a:rPr>
                        <a:t>Download sizes are smaller</a:t>
                      </a:r>
                    </a:p>
                    <a:p>
                      <a:pPr marL="285750" lvl="0" indent="-285750">
                        <a:buFont typeface="Arial" panose="020B0604020202020204" pitchFamily="34" charset="0"/>
                        <a:buChar char="•"/>
                      </a:pPr>
                      <a:r>
                        <a:rPr lang="en-US" sz="1200" kern="1200">
                          <a:effectLst/>
                        </a:rPr>
                        <a:t>Can be integrated with an organization’s roll-out policies and available via Microsoft Store for Business.</a:t>
                      </a:r>
                    </a:p>
                    <a:p>
                      <a:pPr marL="285750" indent="-285750">
                        <a:buFont typeface="Arial" panose="020B0604020202020204" pitchFamily="34" charset="0"/>
                        <a:buChar char="•"/>
                      </a:pP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Less controls than System Center Configuration Manager.</a:t>
                      </a:r>
                    </a:p>
                    <a:p>
                      <a:pPr marL="285750" lvl="0" indent="-285750">
                        <a:buFont typeface="Arial" panose="020B0604020202020204" pitchFamily="34" charset="0"/>
                        <a:buChar char="•"/>
                      </a:pPr>
                      <a:r>
                        <a:rPr lang="en-US" sz="1200" kern="1200">
                          <a:effectLst/>
                        </a:rPr>
                        <a:t>Requires Windows 10.</a:t>
                      </a:r>
                      <a:endParaRPr lang="en-US" sz="1200" kern="1200">
                        <a:solidFill>
                          <a:schemeClr val="dk1"/>
                        </a:solidFill>
                        <a:effectLst/>
                        <a:latin typeface="+mj-lt"/>
                        <a:ea typeface="+mn-ea"/>
                        <a:cs typeface="+mn-cs"/>
                      </a:endParaRPr>
                    </a:p>
                  </a:txBody>
                  <a:tcPr/>
                </a:tc>
                <a:tc>
                  <a:txBody>
                    <a:bodyPr/>
                    <a:lstStyle/>
                    <a:p>
                      <a:pPr marL="285750" indent="-285750">
                        <a:buFont typeface="Arial" panose="020B0604020202020204" pitchFamily="34" charset="0"/>
                        <a:buChar char="•"/>
                      </a:pPr>
                      <a:r>
                        <a:rPr lang="en-GB" sz="1200"/>
                        <a:t>Sign up for Store for Business</a:t>
                      </a:r>
                    </a:p>
                    <a:p>
                      <a:pPr marL="285750" indent="-285750">
                        <a:buFont typeface="Arial" panose="020B0604020202020204" pitchFamily="34" charset="0"/>
                        <a:buChar char="•"/>
                      </a:pPr>
                      <a:r>
                        <a:rPr lang="en-GB" sz="1200"/>
                        <a:t>Decide on whether to distribute through the Store or a management tool</a:t>
                      </a:r>
                    </a:p>
                    <a:p>
                      <a:pPr marL="285750" indent="-285750">
                        <a:buFont typeface="Arial" panose="020B0604020202020204" pitchFamily="34" charset="0"/>
                        <a:buChar char="•"/>
                      </a:pPr>
                      <a:r>
                        <a:rPr lang="en-GB" sz="1200"/>
                        <a:t>Configure Store</a:t>
                      </a:r>
                    </a:p>
                    <a:p>
                      <a:pPr marL="285750" indent="-285750">
                        <a:buFont typeface="Arial" panose="020B0604020202020204" pitchFamily="34" charset="0"/>
                        <a:buChar char="•"/>
                      </a:pPr>
                      <a:r>
                        <a:rPr lang="en-GB" sz="1200"/>
                        <a:t>Add Power BI App and allow access to relevant individuals</a:t>
                      </a:r>
                    </a:p>
                    <a:p>
                      <a:pPr marL="285750" indent="-285750">
                        <a:buFont typeface="Arial" panose="020B0604020202020204" pitchFamily="34" charset="0"/>
                        <a:buChar char="•"/>
                      </a:pPr>
                      <a:r>
                        <a:rPr lang="en-GB" sz="1200" kern="1200">
                          <a:solidFill>
                            <a:schemeClr val="dk1"/>
                          </a:solidFill>
                          <a:latin typeface="+mn-lt"/>
                          <a:ea typeface="+mn-ea"/>
                          <a:cs typeface="+mn-cs"/>
                        </a:rPr>
                        <a:t>Users install Power BI Desktop from Microsoft Store.</a:t>
                      </a:r>
                    </a:p>
                  </a:txBody>
                  <a:tcPr/>
                </a:tc>
                <a:extLst>
                  <a:ext uri="{0D108BD9-81ED-4DB2-BD59-A6C34878D82A}">
                    <a16:rowId xmlns:a16="http://schemas.microsoft.com/office/drawing/2014/main" val="2464792612"/>
                  </a:ext>
                </a:extLst>
              </a:tr>
              <a:tr h="370840">
                <a:tc>
                  <a:txBody>
                    <a:bodyPr/>
                    <a:lstStyle/>
                    <a:p>
                      <a:pPr marL="0" indent="0">
                        <a:buFont typeface="Arial" panose="020B0604020202020204" pitchFamily="34" charset="0"/>
                        <a:buNone/>
                      </a:pPr>
                      <a:r>
                        <a:rPr lang="en-GB" sz="1200"/>
                        <a:t>Manually download and install</a:t>
                      </a:r>
                      <a:endParaRPr lang="en-US" sz="1200">
                        <a:latin typeface="+mj-lt"/>
                      </a:endParaRP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effectLst/>
                        </a:rPr>
                        <a:t>Timing controlled by the owner of the PC.</a:t>
                      </a:r>
                    </a:p>
                    <a:p>
                      <a:pPr marL="285750" indent="-285750">
                        <a:buFont typeface="Arial" panose="020B0604020202020204" pitchFamily="34" charset="0"/>
                        <a:buChar char="•"/>
                      </a:pPr>
                      <a:endParaRPr lang="en-US" sz="1200">
                        <a:latin typeface="+mj-lt"/>
                      </a:endParaRPr>
                    </a:p>
                  </a:txBody>
                  <a:tcPr/>
                </a:tc>
                <a:tc>
                  <a:txBody>
                    <a:bodyPr/>
                    <a:lstStyle/>
                    <a:p>
                      <a:pPr marL="285750" lvl="0" indent="-285750">
                        <a:buFont typeface="Arial" panose="020B0604020202020204" pitchFamily="34" charset="0"/>
                        <a:buChar char="•"/>
                      </a:pPr>
                      <a:r>
                        <a:rPr lang="en-US" sz="1200" kern="1200">
                          <a:effectLst/>
                        </a:rPr>
                        <a:t>Requires administrative rights</a:t>
                      </a:r>
                    </a:p>
                    <a:p>
                      <a:pPr marL="285750" lvl="0" indent="-285750">
                        <a:buFont typeface="Arial" panose="020B0604020202020204" pitchFamily="34" charset="0"/>
                        <a:buChar char="•"/>
                      </a:pPr>
                      <a:r>
                        <a:rPr lang="en-US" sz="1200" kern="1200">
                          <a:effectLst/>
                        </a:rPr>
                        <a:t>User machines may be out of sync, leading to compatibility issues.</a:t>
                      </a:r>
                    </a:p>
                    <a:p>
                      <a:pPr marL="285750" indent="-285750">
                        <a:buFont typeface="Arial" panose="020B0604020202020204" pitchFamily="34" charset="0"/>
                        <a:buChar char="•"/>
                      </a:pPr>
                      <a:r>
                        <a:rPr lang="en-US" sz="1200" kern="1200">
                          <a:effectLst/>
                        </a:rPr>
                        <a:t>Every update requires action by the owner of the PC. </a:t>
                      </a:r>
                      <a:endParaRPr lang="en-US" sz="1200">
                        <a:latin typeface="+mj-lt"/>
                      </a:endParaRPr>
                    </a:p>
                  </a:txBody>
                  <a:tcPr/>
                </a:tc>
                <a:tc>
                  <a:txBody>
                    <a:bodyPr/>
                    <a:lstStyle/>
                    <a:p>
                      <a:pPr marL="285750" indent="-285750">
                        <a:buFont typeface="Arial" panose="020B0604020202020204" pitchFamily="34" charset="0"/>
                        <a:buChar char="•"/>
                      </a:pPr>
                      <a:r>
                        <a:rPr lang="en-GB" sz="1200"/>
                        <a:t>Make sure all relevant users are Admins</a:t>
                      </a:r>
                      <a:endParaRPr lang="en-US" sz="1200">
                        <a:latin typeface="+mj-lt"/>
                      </a:endParaRPr>
                    </a:p>
                  </a:txBody>
                  <a:tcPr/>
                </a:tc>
                <a:extLst>
                  <a:ext uri="{0D108BD9-81ED-4DB2-BD59-A6C34878D82A}">
                    <a16:rowId xmlns:a16="http://schemas.microsoft.com/office/drawing/2014/main" val="2363728252"/>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effectLst/>
                        </a:rPr>
                        <a:t>Organizational IT deployment tools such as Microsoft System Center Configuration Manager</a:t>
                      </a:r>
                    </a:p>
                    <a:p>
                      <a:pPr marL="0" indent="0">
                        <a:buFont typeface="Arial" panose="020B0604020202020204" pitchFamily="34" charset="0"/>
                        <a:buNone/>
                      </a:pPr>
                      <a:endParaRPr lang="en-US" sz="1200" b="0">
                        <a:latin typeface="+mj-lt"/>
                      </a:endParaRPr>
                    </a:p>
                  </a:txBody>
                  <a:tcPr/>
                </a:tc>
                <a:tc>
                  <a:txBody>
                    <a:bodyPr/>
                    <a:lstStyle/>
                    <a:p>
                      <a:pPr marL="285750" lvl="0" indent="-285750">
                        <a:buFont typeface="Arial" panose="020B0604020202020204" pitchFamily="34" charset="0"/>
                        <a:buChar char="•"/>
                      </a:pPr>
                      <a:r>
                        <a:rPr lang="en-US" sz="1200" kern="1200">
                          <a:effectLst/>
                        </a:rPr>
                        <a:t>The process is managed and handled by the organizational IT dept.</a:t>
                      </a:r>
                      <a:endParaRPr lang="en-US" sz="1200">
                        <a:latin typeface="+mj-lt"/>
                      </a:endParaRPr>
                    </a:p>
                  </a:txBody>
                  <a:tcPr/>
                </a:tc>
                <a:tc>
                  <a:txBody>
                    <a:bodyPr/>
                    <a:lstStyle/>
                    <a:p>
                      <a:pPr marL="285750" indent="-285750">
                        <a:buFont typeface="Arial" panose="020B0604020202020204" pitchFamily="34" charset="0"/>
                        <a:buChar char="•"/>
                      </a:pPr>
                      <a:r>
                        <a:rPr lang="en-US" sz="1200" kern="1200">
                          <a:effectLst/>
                        </a:rPr>
                        <a:t>More complex.</a:t>
                      </a:r>
                      <a:endParaRPr lang="en-US" sz="1200">
                        <a:latin typeface="+mj-lt"/>
                      </a:endParaRPr>
                    </a:p>
                  </a:txBody>
                  <a:tcPr/>
                </a:tc>
                <a:tc>
                  <a:txBody>
                    <a:bodyPr/>
                    <a:lstStyle/>
                    <a:p>
                      <a:pPr marL="285750" lvl="0" indent="-285750" algn="l" defTabSz="914367" rtl="0" eaLnBrk="1" latinLnBrk="0" hangingPunct="1">
                        <a:buFont typeface="Arial" panose="020B0604020202020204" pitchFamily="34" charset="0"/>
                        <a:buChar char="•"/>
                      </a:pPr>
                      <a:r>
                        <a:rPr lang="en-GB" sz="1200" kern="1200"/>
                        <a:t>Create package</a:t>
                      </a:r>
                      <a:endParaRPr lang="en-US" sz="1200" kern="1200"/>
                    </a:p>
                    <a:p>
                      <a:pPr marL="285750" lvl="0" indent="-285750" algn="l" defTabSz="914367" rtl="0" eaLnBrk="1" latinLnBrk="0" hangingPunct="1">
                        <a:buFont typeface="Arial" panose="020B0604020202020204" pitchFamily="34" charset="0"/>
                        <a:buChar char="•"/>
                      </a:pPr>
                      <a:r>
                        <a:rPr lang="en-GB" sz="1200" kern="1200"/>
                        <a:t>Agree frequency for package updates</a:t>
                      </a:r>
                      <a:endParaRPr lang="en-US" sz="1200">
                        <a:latin typeface="+mj-lt"/>
                      </a:endParaRPr>
                    </a:p>
                  </a:txBody>
                  <a:tcPr/>
                </a:tc>
                <a:extLst>
                  <a:ext uri="{0D108BD9-81ED-4DB2-BD59-A6C34878D82A}">
                    <a16:rowId xmlns:a16="http://schemas.microsoft.com/office/drawing/2014/main" val="88434173"/>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Install Power BI on a Virtual Machine</a:t>
                      </a:r>
                    </a:p>
                    <a:p>
                      <a:pPr marL="0" indent="0">
                        <a:buFont typeface="Arial" panose="020B0604020202020204" pitchFamily="34" charset="0"/>
                        <a:buNone/>
                      </a:pPr>
                      <a:endParaRPr lang="en-US" sz="1200" b="0">
                        <a:latin typeface="+mj-lt"/>
                      </a:endParaRPr>
                    </a:p>
                  </a:txBody>
                  <a:tcPr/>
                </a:tc>
                <a:tc>
                  <a:txBody>
                    <a:bodyPr/>
                    <a:lstStyle/>
                    <a:p>
                      <a:pPr marL="171450" lvl="0" indent="-171450">
                        <a:buFont typeface="Arial" panose="020B0604020202020204" pitchFamily="34" charset="0"/>
                        <a:buChar char="•"/>
                      </a:pPr>
                      <a:r>
                        <a:rPr lang="en-US" sz="1200" kern="1200">
                          <a:effectLst/>
                        </a:rPr>
                        <a:t>The process is managed and handled by the organizational IT dept.</a:t>
                      </a:r>
                    </a:p>
                    <a:p>
                      <a:pPr marL="171450" lvl="0" indent="-171450">
                        <a:buFont typeface="Arial" panose="020B0604020202020204" pitchFamily="34" charset="0"/>
                        <a:buChar char="•"/>
                      </a:pPr>
                      <a:r>
                        <a:rPr lang="en-GB" sz="1200" kern="1200">
                          <a:effectLst/>
                        </a:rPr>
                        <a:t>C</a:t>
                      </a:r>
                      <a:r>
                        <a:rPr lang="en-US" sz="1200" kern="1200">
                          <a:effectLst/>
                        </a:rPr>
                        <a:t>an easily update</a:t>
                      </a:r>
                    </a:p>
                    <a:p>
                      <a:pPr marL="171450" lvl="0" indent="-171450">
                        <a:buFont typeface="Arial" panose="020B0604020202020204" pitchFamily="34" charset="0"/>
                        <a:buChar char="•"/>
                      </a:pPr>
                      <a:r>
                        <a:rPr lang="en-GB" sz="1200" kern="1200">
                          <a:effectLst/>
                        </a:rPr>
                        <a:t>C</a:t>
                      </a:r>
                      <a:r>
                        <a:rPr lang="en-US" sz="1200" kern="1200">
                          <a:effectLst/>
                        </a:rPr>
                        <a:t>an install additional items, e.g. drivers, R / Python, if required</a:t>
                      </a:r>
                    </a:p>
                    <a:p>
                      <a:pPr marL="171450" lvl="0" indent="-171450">
                        <a:buFont typeface="Arial" panose="020B0604020202020204" pitchFamily="34" charset="0"/>
                        <a:buChar char="•"/>
                      </a:pPr>
                      <a:r>
                        <a:rPr lang="en-US" sz="1200" kern="1200">
                          <a:effectLst/>
                        </a:rPr>
                        <a:t>Offers the most control.</a:t>
                      </a:r>
                    </a:p>
                    <a:p>
                      <a:pPr marL="285750" indent="-285750">
                        <a:buFont typeface="Arial" panose="020B0604020202020204" pitchFamily="34" charset="0"/>
                        <a:buChar char="•"/>
                      </a:pPr>
                      <a:endParaRPr lang="en-US" sz="1200">
                        <a:latin typeface="+mj-lt"/>
                      </a:endParaRPr>
                    </a:p>
                  </a:txBody>
                  <a:tcPr/>
                </a:tc>
                <a:tc>
                  <a:txBody>
                    <a:bodyPr/>
                    <a:lstStyle/>
                    <a:p>
                      <a:pPr marL="285750" indent="-285750">
                        <a:buFont typeface="Arial" panose="020B0604020202020204" pitchFamily="34" charset="0"/>
                        <a:buChar char="•"/>
                      </a:pPr>
                      <a:r>
                        <a:rPr lang="en-GB" sz="1200"/>
                        <a:t>Need to provision, monitor and manage a Virtual Machine</a:t>
                      </a:r>
                    </a:p>
                    <a:p>
                      <a:pPr marL="285750" indent="-285750">
                        <a:buFont typeface="Arial" panose="020B0604020202020204" pitchFamily="34" charset="0"/>
                        <a:buChar char="•"/>
                      </a:pPr>
                      <a:endParaRPr lang="en-US" sz="1200">
                        <a:latin typeface="+mj-lt"/>
                      </a:endParaRPr>
                    </a:p>
                  </a:txBody>
                  <a:tcPr/>
                </a:tc>
                <a:tc>
                  <a:txBody>
                    <a:bodyPr/>
                    <a:lstStyle/>
                    <a:p>
                      <a:pPr marL="285750" indent="-285750">
                        <a:buFont typeface="Arial" panose="020B0604020202020204" pitchFamily="34" charset="0"/>
                        <a:buChar char="•"/>
                      </a:pPr>
                      <a:r>
                        <a:rPr lang="en-GB" sz="1200"/>
                        <a:t>Request Virtual Machine</a:t>
                      </a:r>
                    </a:p>
                    <a:p>
                      <a:pPr marL="285750" indent="-285750">
                        <a:buFont typeface="Arial" panose="020B0604020202020204" pitchFamily="34" charset="0"/>
                        <a:buChar char="•"/>
                      </a:pPr>
                      <a:r>
                        <a:rPr lang="en-GB" sz="1200"/>
                        <a:t>Build image for Virtual Machine, which includes required software and spec</a:t>
                      </a:r>
                    </a:p>
                    <a:p>
                      <a:pPr marL="285750" indent="-285750">
                        <a:buFont typeface="Arial" panose="020B0604020202020204" pitchFamily="34" charset="0"/>
                        <a:buChar char="•"/>
                      </a:pPr>
                      <a:r>
                        <a:rPr lang="en-GB" sz="1200"/>
                        <a:t>Make user an admin to allow them to install new updates</a:t>
                      </a:r>
                      <a:endParaRPr lang="en-US" sz="1200">
                        <a:latin typeface="+mj-lt"/>
                      </a:endParaRPr>
                    </a:p>
                  </a:txBody>
                  <a:tcPr/>
                </a:tc>
                <a:extLst>
                  <a:ext uri="{0D108BD9-81ED-4DB2-BD59-A6C34878D82A}">
                    <a16:rowId xmlns:a16="http://schemas.microsoft.com/office/drawing/2014/main" val="3836562004"/>
                  </a:ext>
                </a:extLst>
              </a:tr>
            </a:tbl>
          </a:graphicData>
        </a:graphic>
      </p:graphicFrame>
    </p:spTree>
    <p:extLst>
      <p:ext uri="{BB962C8B-B14F-4D97-AF65-F5344CB8AC3E}">
        <p14:creationId xmlns:p14="http://schemas.microsoft.com/office/powerpoint/2010/main" val="2903098308"/>
      </p:ext>
    </p:extLst>
  </p:cSld>
  <p:clrMapOvr>
    <a:masterClrMapping/>
  </p:clrMapOvr>
  <mc:AlternateContent xmlns:mc="http://schemas.openxmlformats.org/markup-compatibility/2006" xmlns:p14="http://schemas.microsoft.com/office/powerpoint/2010/main">
    <mc:Choice Requires="p14">
      <p:transition spd="med" p14:dur="700" advTm="18079">
        <p:fade/>
      </p:transition>
    </mc:Choice>
    <mc:Fallback xmlns="">
      <p:transition spd="med" advTm="18079">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users install drivers on their machines (if required)?</a:t>
            </a:r>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Options</a:t>
            </a:r>
          </a:p>
          <a:p>
            <a:pPr lvl="2"/>
            <a:r>
              <a:rPr lang="en-GB">
                <a:solidFill>
                  <a:srgbClr val="EDC30D"/>
                </a:solidFill>
              </a:rPr>
              <a:t>Manually Download and Install</a:t>
            </a:r>
          </a:p>
          <a:p>
            <a:pPr lvl="2"/>
            <a:r>
              <a:rPr lang="en-US">
                <a:solidFill>
                  <a:srgbClr val="EDC30D"/>
                </a:solidFill>
              </a:rPr>
              <a:t>Organizational IT deployment</a:t>
            </a:r>
          </a:p>
        </p:txBody>
      </p:sp>
    </p:spTree>
    <p:custDataLst>
      <p:tags r:id="rId2"/>
    </p:custDataLst>
    <p:extLst>
      <p:ext uri="{BB962C8B-B14F-4D97-AF65-F5344CB8AC3E}">
        <p14:creationId xmlns:p14="http://schemas.microsoft.com/office/powerpoint/2010/main" val="1439975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6088">
        <p:fade/>
      </p:transition>
    </mc:Choice>
    <mc:Fallback xmlns="">
      <p:transition spd="med" advTm="26088">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5620223" y="758432"/>
            <a:ext cx="3853747"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Enterprise Mobile Device Management</a:t>
            </a:r>
            <a:b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nd app access control</a:t>
            </a:r>
          </a:p>
        </p:txBody>
      </p:sp>
      <p:sp>
        <p:nvSpPr>
          <p:cNvPr id="40" name="Rectangle 39"/>
          <p:cNvSpPr/>
          <p:nvPr/>
        </p:nvSpPr>
        <p:spPr>
          <a:xfrm>
            <a:off x="499952" y="729076"/>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Mobile 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14909" y="2478383"/>
            <a:ext cx="4067718" cy="1865254"/>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Integrated </a:t>
            </a:r>
            <a:r>
              <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rPr>
              <a:t>InTune</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mobile application management (MAM) capabiliti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Better control access to the data</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revent data leakage</a:t>
            </a:r>
          </a:p>
        </p:txBody>
      </p:sp>
      <p:pic>
        <p:nvPicPr>
          <p:cNvPr id="2" name="Picture 1"/>
          <p:cNvPicPr>
            <a:picLocks noChangeAspect="1"/>
          </p:cNvPicPr>
          <p:nvPr/>
        </p:nvPicPr>
        <p:blipFill>
          <a:blip r:embed="rId4"/>
          <a:stretch>
            <a:fillRect/>
          </a:stretch>
        </p:blipFill>
        <p:spPr>
          <a:xfrm>
            <a:off x="7329059" y="1586391"/>
            <a:ext cx="2590476" cy="3476190"/>
          </a:xfrm>
          <a:prstGeom prst="rect">
            <a:avLst/>
          </a:prstGeom>
        </p:spPr>
      </p:pic>
      <p:pic>
        <p:nvPicPr>
          <p:cNvPr id="5" name="Picture 4"/>
          <p:cNvPicPr>
            <a:picLocks noChangeAspect="1"/>
          </p:cNvPicPr>
          <p:nvPr/>
        </p:nvPicPr>
        <p:blipFill>
          <a:blip r:embed="rId5"/>
          <a:stretch>
            <a:fillRect/>
          </a:stretch>
        </p:blipFill>
        <p:spPr>
          <a:xfrm>
            <a:off x="9908270" y="788502"/>
            <a:ext cx="1885714" cy="3428571"/>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11864" t="20892" r="2692" b="14004"/>
          <a:stretch/>
        </p:blipFill>
        <p:spPr>
          <a:xfrm>
            <a:off x="5311588" y="3419183"/>
            <a:ext cx="7010720" cy="2891018"/>
          </a:xfrm>
          <a:prstGeom prst="rect">
            <a:avLst/>
          </a:prstGeom>
        </p:spPr>
      </p:pic>
    </p:spTree>
    <p:extLst>
      <p:ext uri="{BB962C8B-B14F-4D97-AF65-F5344CB8AC3E}">
        <p14:creationId xmlns:p14="http://schemas.microsoft.com/office/powerpoint/2010/main" val="3586455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49473">
        <p:fade/>
      </p:transition>
    </mc:Choice>
    <mc:Fallback xmlns="">
      <p:transition spd="med" advTm="49473">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manage mobile devices?</a:t>
            </a:r>
            <a:endParaRPr lang="en-US"/>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lstStyle/>
          <a:p>
            <a:r>
              <a:rPr lang="en-GB"/>
              <a:t>Options</a:t>
            </a:r>
          </a:p>
          <a:p>
            <a:pPr lvl="2"/>
            <a:r>
              <a:rPr lang="en-GB">
                <a:solidFill>
                  <a:srgbClr val="EDC30D"/>
                </a:solidFill>
              </a:rPr>
              <a:t>Microsoft Intune</a:t>
            </a:r>
          </a:p>
          <a:p>
            <a:pPr lvl="2"/>
            <a:r>
              <a:rPr lang="en-GB">
                <a:solidFill>
                  <a:srgbClr val="EDC30D"/>
                </a:solidFill>
              </a:rPr>
              <a:t>Other Mobile Application Management Tool</a:t>
            </a:r>
          </a:p>
          <a:p>
            <a:pPr lvl="2"/>
            <a:r>
              <a:rPr lang="en-GB">
                <a:solidFill>
                  <a:srgbClr val="EDC30D"/>
                </a:solidFill>
              </a:rPr>
              <a:t>None</a:t>
            </a:r>
          </a:p>
        </p:txBody>
      </p:sp>
    </p:spTree>
    <p:custDataLst>
      <p:tags r:id="rId1"/>
    </p:custDataLst>
    <p:extLst>
      <p:ext uri="{BB962C8B-B14F-4D97-AF65-F5344CB8AC3E}">
        <p14:creationId xmlns:p14="http://schemas.microsoft.com/office/powerpoint/2010/main" val="4060547655"/>
      </p:ext>
    </p:extLst>
  </p:cSld>
  <p:clrMapOvr>
    <a:masterClrMapping/>
  </p:clrMapOvr>
  <mc:AlternateContent xmlns:mc="http://schemas.openxmlformats.org/markup-compatibility/2006" xmlns:p14="http://schemas.microsoft.com/office/powerpoint/2010/main">
    <mc:Choice Requires="p14">
      <p:transition spd="med" p14:dur="700" advTm="33782">
        <p:fade/>
      </p:transition>
    </mc:Choice>
    <mc:Fallback xmlns="">
      <p:transition spd="med" advTm="33782">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Power BI Mobile?</a:t>
            </a:r>
          </a:p>
        </p:txBody>
      </p:sp>
    </p:spTree>
    <p:custDataLst>
      <p:tags r:id="rId1"/>
    </p:custDataLst>
    <p:extLst>
      <p:ext uri="{BB962C8B-B14F-4D97-AF65-F5344CB8AC3E}">
        <p14:creationId xmlns:p14="http://schemas.microsoft.com/office/powerpoint/2010/main" val="4040585265"/>
      </p:ext>
    </p:extLst>
  </p:cSld>
  <p:clrMapOvr>
    <a:masterClrMapping/>
  </p:clrMapOvr>
  <mc:AlternateContent xmlns:mc="http://schemas.openxmlformats.org/markup-compatibility/2006" xmlns:p14="http://schemas.microsoft.com/office/powerpoint/2010/main">
    <mc:Choice Requires="p14">
      <p:transition spd="med" p14:dur="700" advTm="10016">
        <p:fade/>
      </p:transition>
    </mc:Choice>
    <mc:Fallback xmlns="">
      <p:transition spd="med" advTm="10016">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828D87-D72F-4FEF-9882-4ED430D82ECE}"/>
              </a:ext>
            </a:extLst>
          </p:cNvPr>
          <p:cNvSpPr>
            <a:spLocks noGrp="1"/>
          </p:cNvSpPr>
          <p:nvPr>
            <p:ph type="title"/>
          </p:nvPr>
        </p:nvSpPr>
        <p:spPr/>
        <p:txBody>
          <a:bodyPr/>
          <a:lstStyle/>
          <a:p>
            <a:r>
              <a:rPr lang="de-DE"/>
              <a:t>Solution Adoption</a:t>
            </a:r>
            <a:endParaRPr lang="en-US"/>
          </a:p>
        </p:txBody>
      </p:sp>
      <p:sp>
        <p:nvSpPr>
          <p:cNvPr id="4" name="Rectangle 1">
            <a:extLst>
              <a:ext uri="{FF2B5EF4-FFF2-40B4-BE49-F238E27FC236}">
                <a16:creationId xmlns:a16="http://schemas.microsoft.com/office/drawing/2014/main" id="{1FB47A66-4018-4354-9867-0B364D7EE826}"/>
              </a:ext>
            </a:extLst>
          </p:cNvPr>
          <p:cNvSpPr>
            <a:spLocks/>
          </p:cNvSpPr>
          <p:nvPr/>
        </p:nvSpPr>
        <p:spPr bwMode="auto">
          <a:xfrm>
            <a:off x="5991420" y="1889593"/>
            <a:ext cx="2120370" cy="47331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6" name="Freeform 2">
            <a:extLst>
              <a:ext uri="{FF2B5EF4-FFF2-40B4-BE49-F238E27FC236}">
                <a16:creationId xmlns:a16="http://schemas.microsoft.com/office/drawing/2014/main" id="{7EA12B41-1D62-42F8-ADE5-FC1B16FDA7BD}"/>
              </a:ext>
            </a:extLst>
          </p:cNvPr>
          <p:cNvSpPr>
            <a:spLocks/>
          </p:cNvSpPr>
          <p:nvPr/>
        </p:nvSpPr>
        <p:spPr bwMode="auto">
          <a:xfrm>
            <a:off x="1365973" y="2465839"/>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CC9900"/>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angle 4">
            <a:extLst>
              <a:ext uri="{FF2B5EF4-FFF2-40B4-BE49-F238E27FC236}">
                <a16:creationId xmlns:a16="http://schemas.microsoft.com/office/drawing/2014/main" id="{83684169-8172-4548-8BB3-4A45EB7C786A}"/>
              </a:ext>
            </a:extLst>
          </p:cNvPr>
          <p:cNvSpPr>
            <a:spLocks/>
          </p:cNvSpPr>
          <p:nvPr/>
        </p:nvSpPr>
        <p:spPr bwMode="auto">
          <a:xfrm>
            <a:off x="1352399" y="1922721"/>
            <a:ext cx="2352667" cy="543118"/>
          </a:xfrm>
          <a:prstGeom prst="rect">
            <a:avLst/>
          </a:prstGeom>
          <a:solidFill>
            <a:srgbClr val="F2C81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1">
            <a:extLst>
              <a:ext uri="{FF2B5EF4-FFF2-40B4-BE49-F238E27FC236}">
                <a16:creationId xmlns:a16="http://schemas.microsoft.com/office/drawing/2014/main" id="{025AAA10-9BEE-42F4-B71D-6DF5782B2024}"/>
              </a:ext>
            </a:extLst>
          </p:cNvPr>
          <p:cNvSpPr>
            <a:spLocks/>
          </p:cNvSpPr>
          <p:nvPr/>
        </p:nvSpPr>
        <p:spPr bwMode="auto">
          <a:xfrm>
            <a:off x="1570673" y="2439493"/>
            <a:ext cx="2129207" cy="4183208"/>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2" name="Freeform 2">
            <a:extLst>
              <a:ext uri="{FF2B5EF4-FFF2-40B4-BE49-F238E27FC236}">
                <a16:creationId xmlns:a16="http://schemas.microsoft.com/office/drawing/2014/main" id="{4D191EC6-BD7C-4591-9951-83058B6BB596}"/>
              </a:ext>
            </a:extLst>
          </p:cNvPr>
          <p:cNvSpPr>
            <a:spLocks/>
          </p:cNvSpPr>
          <p:nvPr/>
        </p:nvSpPr>
        <p:spPr bwMode="auto">
          <a:xfrm>
            <a:off x="3492682" y="222088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Rectangle 4">
            <a:extLst>
              <a:ext uri="{FF2B5EF4-FFF2-40B4-BE49-F238E27FC236}">
                <a16:creationId xmlns:a16="http://schemas.microsoft.com/office/drawing/2014/main" id="{083DA6A6-91A2-43EB-9CD2-05D2C7BB35FB}"/>
              </a:ext>
            </a:extLst>
          </p:cNvPr>
          <p:cNvSpPr>
            <a:spLocks/>
          </p:cNvSpPr>
          <p:nvPr/>
        </p:nvSpPr>
        <p:spPr bwMode="auto">
          <a:xfrm>
            <a:off x="3492682" y="1677762"/>
            <a:ext cx="2413523" cy="543118"/>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Rectangle 1">
            <a:extLst>
              <a:ext uri="{FF2B5EF4-FFF2-40B4-BE49-F238E27FC236}">
                <a16:creationId xmlns:a16="http://schemas.microsoft.com/office/drawing/2014/main" id="{B7FAF47A-8B3E-489E-AC46-1350BC049783}"/>
              </a:ext>
            </a:extLst>
          </p:cNvPr>
          <p:cNvSpPr>
            <a:spLocks/>
          </p:cNvSpPr>
          <p:nvPr/>
        </p:nvSpPr>
        <p:spPr bwMode="auto">
          <a:xfrm>
            <a:off x="3798557" y="2198181"/>
            <a:ext cx="2113094" cy="4424520"/>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18" name="Freeform 2">
            <a:extLst>
              <a:ext uri="{FF2B5EF4-FFF2-40B4-BE49-F238E27FC236}">
                <a16:creationId xmlns:a16="http://schemas.microsoft.com/office/drawing/2014/main" id="{2BB47D84-B40F-4956-8D74-63C9444D5A9E}"/>
              </a:ext>
            </a:extLst>
          </p:cNvPr>
          <p:cNvSpPr>
            <a:spLocks/>
          </p:cNvSpPr>
          <p:nvPr/>
        </p:nvSpPr>
        <p:spPr bwMode="auto">
          <a:xfrm>
            <a:off x="5708898" y="1948700"/>
            <a:ext cx="215333" cy="249481"/>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50000"/>
            </a:schemeClr>
          </a:solidFill>
          <a:ln>
            <a:noFill/>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Rectangle 4">
            <a:extLst>
              <a:ext uri="{FF2B5EF4-FFF2-40B4-BE49-F238E27FC236}">
                <a16:creationId xmlns:a16="http://schemas.microsoft.com/office/drawing/2014/main" id="{5041B88F-832F-4A08-BB27-B79C0C076D60}"/>
              </a:ext>
            </a:extLst>
          </p:cNvPr>
          <p:cNvSpPr>
            <a:spLocks/>
          </p:cNvSpPr>
          <p:nvPr/>
        </p:nvSpPr>
        <p:spPr bwMode="auto">
          <a:xfrm>
            <a:off x="5698267" y="1436555"/>
            <a:ext cx="2458773" cy="543118"/>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AutoShape 13">
            <a:extLst>
              <a:ext uri="{FF2B5EF4-FFF2-40B4-BE49-F238E27FC236}">
                <a16:creationId xmlns:a16="http://schemas.microsoft.com/office/drawing/2014/main" id="{5F9C3A55-4CC6-4818-9C2F-C224A46312DC}"/>
              </a:ext>
            </a:extLst>
          </p:cNvPr>
          <p:cNvSpPr>
            <a:spLocks/>
          </p:cNvSpPr>
          <p:nvPr/>
        </p:nvSpPr>
        <p:spPr bwMode="auto">
          <a:xfrm>
            <a:off x="7900756" y="997352"/>
            <a:ext cx="2859393" cy="7749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2">
            <a:extLst>
              <a:ext uri="{FF2B5EF4-FFF2-40B4-BE49-F238E27FC236}">
                <a16:creationId xmlns:a16="http://schemas.microsoft.com/office/drawing/2014/main" id="{EE702F2F-8EBE-4F8A-BB49-737C893C541D}"/>
              </a:ext>
            </a:extLst>
          </p:cNvPr>
          <p:cNvSpPr>
            <a:spLocks/>
          </p:cNvSpPr>
          <p:nvPr/>
        </p:nvSpPr>
        <p:spPr bwMode="auto">
          <a:xfrm>
            <a:off x="7910111" y="1671824"/>
            <a:ext cx="248981" cy="305136"/>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rgbClr val="404040"/>
          </a:solidFill>
          <a:ln w="12700">
            <a:solidFill>
              <a:schemeClr val="accent6"/>
            </a:solidFill>
            <a:miter lim="800000"/>
            <a:headEnd/>
            <a:tailEnd/>
          </a:ln>
          <a:extLst>
            <a:ext uri="{91240B29-F687-4f45-9708-019B960494DF}">
              <a14:hiddenLine xmlns=""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6" name="Rectangle 1">
            <a:extLst>
              <a:ext uri="{FF2B5EF4-FFF2-40B4-BE49-F238E27FC236}">
                <a16:creationId xmlns:a16="http://schemas.microsoft.com/office/drawing/2014/main" id="{7EB4900B-11FA-4AF2-8D36-CB9D4B8EF221}"/>
              </a:ext>
            </a:extLst>
          </p:cNvPr>
          <p:cNvSpPr>
            <a:spLocks/>
          </p:cNvSpPr>
          <p:nvPr/>
        </p:nvSpPr>
        <p:spPr bwMode="auto">
          <a:xfrm>
            <a:off x="8221907" y="1650671"/>
            <a:ext cx="2190137" cy="4994677"/>
          </a:xfrm>
          <a:prstGeom prst="rect">
            <a:avLst/>
          </a:prstGeom>
          <a:solidFill>
            <a:schemeClr val="bg1">
              <a:lumMod val="95000"/>
            </a:schemeClr>
          </a:solidFill>
          <a:ln w="12700">
            <a:solidFill>
              <a:schemeClr val="bg1">
                <a:lumMod val="85000"/>
              </a:schemeClr>
            </a:solid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C5C5C"/>
              </a:solidFill>
              <a:effectLst/>
              <a:uLnTx/>
              <a:uFillTx/>
              <a:latin typeface="Arial" panose="020B0604020202020204"/>
              <a:ea typeface="+mn-ea"/>
              <a:cs typeface="+mn-cs"/>
            </a:endParaRPr>
          </a:p>
        </p:txBody>
      </p:sp>
      <p:sp>
        <p:nvSpPr>
          <p:cNvPr id="28" name="TextBox 77">
            <a:extLst>
              <a:ext uri="{FF2B5EF4-FFF2-40B4-BE49-F238E27FC236}">
                <a16:creationId xmlns:a16="http://schemas.microsoft.com/office/drawing/2014/main" id="{9D5AA2BD-9590-4B6B-9E9D-074297D1E12F}"/>
              </a:ext>
            </a:extLst>
          </p:cNvPr>
          <p:cNvSpPr txBox="1"/>
          <p:nvPr/>
        </p:nvSpPr>
        <p:spPr>
          <a:xfrm>
            <a:off x="1482933" y="2002267"/>
            <a:ext cx="22176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Lato Regular"/>
              </a:rPr>
              <a:t>Stage 1</a:t>
            </a:r>
            <a:endParaRPr kumimoji="0" lang="id-ID" sz="1600" b="1" i="0" u="none" strike="noStrike" kern="1200" cap="none" spc="0" normalizeH="0" baseline="0" noProof="0">
              <a:ln>
                <a:noFill/>
              </a:ln>
              <a:solidFill>
                <a:prstClr val="black"/>
              </a:solidFill>
              <a:effectLst/>
              <a:uLnTx/>
              <a:uFillTx/>
              <a:latin typeface="Arial" panose="020B0604020202020204"/>
              <a:ea typeface="+mn-ea"/>
              <a:cs typeface="Lato Regular"/>
            </a:endParaRPr>
          </a:p>
        </p:txBody>
      </p:sp>
      <p:sp>
        <p:nvSpPr>
          <p:cNvPr id="30" name="TextBox 78">
            <a:extLst>
              <a:ext uri="{FF2B5EF4-FFF2-40B4-BE49-F238E27FC236}">
                <a16:creationId xmlns:a16="http://schemas.microsoft.com/office/drawing/2014/main" id="{6973B3EB-C5CA-48D1-B76C-D61712B11D56}"/>
              </a:ext>
            </a:extLst>
          </p:cNvPr>
          <p:cNvSpPr txBox="1"/>
          <p:nvPr/>
        </p:nvSpPr>
        <p:spPr>
          <a:xfrm>
            <a:off x="3684073" y="1752787"/>
            <a:ext cx="22066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2</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2" name="TextBox 80">
            <a:extLst>
              <a:ext uri="{FF2B5EF4-FFF2-40B4-BE49-F238E27FC236}">
                <a16:creationId xmlns:a16="http://schemas.microsoft.com/office/drawing/2014/main" id="{055A56B6-73B3-4EC3-91EC-C70DEF5F70C6}"/>
              </a:ext>
            </a:extLst>
          </p:cNvPr>
          <p:cNvSpPr txBox="1"/>
          <p:nvPr/>
        </p:nvSpPr>
        <p:spPr>
          <a:xfrm>
            <a:off x="5824935" y="1525839"/>
            <a:ext cx="223574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3</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4" name="TextBox 81">
            <a:extLst>
              <a:ext uri="{FF2B5EF4-FFF2-40B4-BE49-F238E27FC236}">
                <a16:creationId xmlns:a16="http://schemas.microsoft.com/office/drawing/2014/main" id="{56E499E3-B35A-4DE8-90B1-804999E32FFF}"/>
              </a:ext>
            </a:extLst>
          </p:cNvPr>
          <p:cNvSpPr txBox="1"/>
          <p:nvPr/>
        </p:nvSpPr>
        <p:spPr>
          <a:xfrm>
            <a:off x="8157040" y="1196058"/>
            <a:ext cx="22447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Lato Regular"/>
              </a:rPr>
              <a:t>Stage 4</a:t>
            </a:r>
            <a:endParaRPr kumimoji="0" lang="id-ID" sz="1600" b="1" i="0" u="none" strike="noStrike" kern="1200" cap="none" spc="0" normalizeH="0" baseline="0" noProof="0">
              <a:ln>
                <a:noFill/>
              </a:ln>
              <a:solidFill>
                <a:srgbClr val="FFFFFF"/>
              </a:solidFill>
              <a:effectLst/>
              <a:uLnTx/>
              <a:uFillTx/>
              <a:latin typeface="Arial" panose="020B0604020202020204"/>
              <a:ea typeface="+mn-ea"/>
              <a:cs typeface="Lato Regular"/>
            </a:endParaRPr>
          </a:p>
        </p:txBody>
      </p:sp>
      <p:sp>
        <p:nvSpPr>
          <p:cNvPr id="36" name="TextBox 88">
            <a:extLst>
              <a:ext uri="{FF2B5EF4-FFF2-40B4-BE49-F238E27FC236}">
                <a16:creationId xmlns:a16="http://schemas.microsoft.com/office/drawing/2014/main" id="{5248B9ED-6CD1-4F8D-9641-D5943F41F586}"/>
              </a:ext>
            </a:extLst>
          </p:cNvPr>
          <p:cNvSpPr txBox="1"/>
          <p:nvPr/>
        </p:nvSpPr>
        <p:spPr>
          <a:xfrm>
            <a:off x="2062263" y="2518133"/>
            <a:ext cx="116891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Exploration</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38" name="TextBox 89">
            <a:extLst>
              <a:ext uri="{FF2B5EF4-FFF2-40B4-BE49-F238E27FC236}">
                <a16:creationId xmlns:a16="http://schemas.microsoft.com/office/drawing/2014/main" id="{DFB4768B-0F2B-4F38-8939-924417B109DD}"/>
              </a:ext>
            </a:extLst>
          </p:cNvPr>
          <p:cNvSpPr txBox="1"/>
          <p:nvPr/>
        </p:nvSpPr>
        <p:spPr>
          <a:xfrm>
            <a:off x="1692816" y="2874426"/>
            <a:ext cx="1890347" cy="2268223"/>
          </a:xfrm>
          <a:prstGeom prst="rect">
            <a:avLst/>
          </a:prstGeom>
          <a:solidFill>
            <a:schemeClr val="bg1">
              <a:lumMod val="95000"/>
            </a:schemeClr>
          </a:solidFill>
          <a:ln w="12700">
            <a:noFill/>
            <a:miter lim="800000"/>
            <a:headEnd/>
            <a:tailEnd/>
          </a:ln>
        </p:spPr>
        <p:txBody>
          <a:bodyPr lIns="0" tIns="0" rIns="0" bIns="0"/>
          <a:lstStyle>
            <a:defPPr>
              <a:defRPr lang="en-US"/>
            </a:defPPr>
            <a:lvl1pPr>
              <a:defRPr sz="700">
                <a:solidFill>
                  <a:schemeClr val="tx2"/>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loration and experimentation are the main approaches to testing out new ideas. Exploration of new ideas can occur through informal self-service BI, or through a formal POC, which is purposely narrow in scope. The goal is to confirm requirements, validate assumptions, address unknowns, and mitigate ri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small group of users test the POC solution and provide useful feedb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ll exploration—and initial feedback—could occur within Power BI Desktop or Excel. Use of the Power BI service is limited.</a:t>
            </a:r>
          </a:p>
        </p:txBody>
      </p:sp>
      <p:sp>
        <p:nvSpPr>
          <p:cNvPr id="40" name="TextBox 90">
            <a:extLst>
              <a:ext uri="{FF2B5EF4-FFF2-40B4-BE49-F238E27FC236}">
                <a16:creationId xmlns:a16="http://schemas.microsoft.com/office/drawing/2014/main" id="{A451A782-E06B-405C-B1C5-C6DE08A18ED8}"/>
              </a:ext>
            </a:extLst>
          </p:cNvPr>
          <p:cNvSpPr txBox="1"/>
          <p:nvPr/>
        </p:nvSpPr>
        <p:spPr>
          <a:xfrm>
            <a:off x="4308931" y="2340821"/>
            <a:ext cx="10871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Functional</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42" name="TextBox 93">
            <a:extLst>
              <a:ext uri="{FF2B5EF4-FFF2-40B4-BE49-F238E27FC236}">
                <a16:creationId xmlns:a16="http://schemas.microsoft.com/office/drawing/2014/main" id="{CDA5B338-9233-4A6D-BA20-0013FD5F55D2}"/>
              </a:ext>
            </a:extLst>
          </p:cNvPr>
          <p:cNvSpPr txBox="1"/>
          <p:nvPr/>
        </p:nvSpPr>
        <p:spPr>
          <a:xfrm>
            <a:off x="3819299" y="2712903"/>
            <a:ext cx="2071454" cy="3473882"/>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is functional and meets the basic set of user requirements. There are likely plans to iterate on improvements and enhancement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is deployed to the Power BI servi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ll necessary supporting components are in place, such as gateways to support scheduled refresh.</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s are aware of the solution and show interest in using it. Potentially, it may be a limited preview release, and may not yet be ready to promote to a production workspace.</a:t>
            </a:r>
          </a:p>
        </p:txBody>
      </p:sp>
      <p:sp>
        <p:nvSpPr>
          <p:cNvPr id="44" name="TextBox 94">
            <a:extLst>
              <a:ext uri="{FF2B5EF4-FFF2-40B4-BE49-F238E27FC236}">
                <a16:creationId xmlns:a16="http://schemas.microsoft.com/office/drawing/2014/main" id="{0DB629A0-E47B-4848-8318-5D3D2B269F50}"/>
              </a:ext>
            </a:extLst>
          </p:cNvPr>
          <p:cNvSpPr txBox="1"/>
          <p:nvPr/>
        </p:nvSpPr>
        <p:spPr>
          <a:xfrm>
            <a:off x="6595285" y="2111190"/>
            <a:ext cx="91056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Valuable</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46" name="TextBox 95">
            <a:extLst>
              <a:ext uri="{FF2B5EF4-FFF2-40B4-BE49-F238E27FC236}">
                <a16:creationId xmlns:a16="http://schemas.microsoft.com/office/drawing/2014/main" id="{225417FE-72DA-4269-8BB7-3D2959D58766}"/>
              </a:ext>
            </a:extLst>
          </p:cNvPr>
          <p:cNvSpPr txBox="1"/>
          <p:nvPr/>
        </p:nvSpPr>
        <p:spPr>
          <a:xfrm>
            <a:off x="6043652" y="2470007"/>
            <a:ext cx="1964072" cy="3834878"/>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arget users find the solution is valuable and experience tangible benef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olution is promoted to a production worksp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idations and testing to ensure data quality, accurate presentation, accessibility, and acceptable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age metrics for the solution are actively monito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er feedback loops to facilitate suggestions and improvements that can contribute to future rele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Ownership and subject matter experts for the content is clear.</a:t>
            </a:r>
          </a:p>
        </p:txBody>
      </p:sp>
      <p:sp>
        <p:nvSpPr>
          <p:cNvPr id="48" name="TextBox 96">
            <a:extLst>
              <a:ext uri="{FF2B5EF4-FFF2-40B4-BE49-F238E27FC236}">
                <a16:creationId xmlns:a16="http://schemas.microsoft.com/office/drawing/2014/main" id="{523ADA63-9D6C-4B5B-A714-FFDEA23B15DC}"/>
              </a:ext>
            </a:extLst>
          </p:cNvPr>
          <p:cNvSpPr txBox="1"/>
          <p:nvPr/>
        </p:nvSpPr>
        <p:spPr>
          <a:xfrm>
            <a:off x="8870008" y="1824392"/>
            <a:ext cx="9701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Lato Regular"/>
              </a:rPr>
              <a:t>Essential</a:t>
            </a:r>
            <a:endParaRPr kumimoji="0" lang="id-ID" sz="1400" b="1" i="0" u="none" strike="noStrike" kern="1200" cap="none" spc="0" normalizeH="0" baseline="0" noProof="0">
              <a:ln>
                <a:noFill/>
              </a:ln>
              <a:solidFill>
                <a:srgbClr val="000000"/>
              </a:solidFill>
              <a:effectLst/>
              <a:uLnTx/>
              <a:uFillTx/>
              <a:latin typeface="Arial" panose="020B0604020202020204"/>
              <a:ea typeface="+mn-ea"/>
              <a:cs typeface="Lato Regular"/>
            </a:endParaRPr>
          </a:p>
        </p:txBody>
      </p:sp>
      <p:sp>
        <p:nvSpPr>
          <p:cNvPr id="50" name="TextBox 97">
            <a:extLst>
              <a:ext uri="{FF2B5EF4-FFF2-40B4-BE49-F238E27FC236}">
                <a16:creationId xmlns:a16="http://schemas.microsoft.com/office/drawing/2014/main" id="{50BE3EDA-ABD9-4784-A83F-58AC8C66FD27}"/>
              </a:ext>
            </a:extLst>
          </p:cNvPr>
          <p:cNvSpPr txBox="1"/>
          <p:nvPr/>
        </p:nvSpPr>
        <p:spPr>
          <a:xfrm>
            <a:off x="8214568" y="2183948"/>
            <a:ext cx="2238487" cy="4004155"/>
          </a:xfrm>
          <a:prstGeom prst="rect">
            <a:avLst/>
          </a:prstGeom>
          <a:noFill/>
        </p:spPr>
        <p:txBody>
          <a:bodyPr wrap="square" lIns="109710" tIns="54855" rIns="109710" bIns="54855"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arget users actively and routinely use the solution, and it's considered essential for decision-making purpo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hange management and release management is carefully controlled due to the impact of chan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 subset of users regularly provide feedback to ensure the solution continues to meet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ectations for the success of the solution are clear and are measu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xpectations for support of the solution are clear, especially if there are service level agre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The solution aligns with organizational governance guidelines and practices.</a:t>
            </a:r>
          </a:p>
        </p:txBody>
      </p:sp>
    </p:spTree>
    <p:extLst>
      <p:ext uri="{BB962C8B-B14F-4D97-AF65-F5344CB8AC3E}">
        <p14:creationId xmlns:p14="http://schemas.microsoft.com/office/powerpoint/2010/main" val="323875769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1080" y="0"/>
            <a:ext cx="736092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p:cNvSpPr/>
          <p:nvPr/>
        </p:nvSpPr>
        <p:spPr>
          <a:xfrm>
            <a:off x="515891" y="1109947"/>
            <a:ext cx="3882675"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PowerBI.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EDC30D"/>
                </a:solidFill>
                <a:effectLst/>
                <a:uLnTx/>
                <a:uFillTx/>
                <a:latin typeface="Segoe UI Light"/>
                <a:ea typeface="+mn-ea"/>
                <a:cs typeface="+mn-cs"/>
              </a:rPr>
              <a:t>Administration</a:t>
            </a:r>
          </a:p>
        </p:txBody>
      </p:sp>
      <p:sp>
        <p:nvSpPr>
          <p:cNvPr id="41" name="Rectangle 40"/>
          <p:cNvSpPr/>
          <p:nvPr/>
        </p:nvSpPr>
        <p:spPr>
          <a:xfrm>
            <a:off x="330848" y="2859254"/>
            <a:ext cx="4067718" cy="2357697"/>
          </a:xfrm>
          <a:prstGeom prst="rect">
            <a:avLst/>
          </a:prstGeom>
        </p:spPr>
        <p:txBody>
          <a:bodyPr wrap="square">
            <a:spAutoFit/>
          </a:bodyPr>
          <a:lstStyle/>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Directory and Account management </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s and license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reating groups and organization apps</a:t>
            </a:r>
          </a:p>
          <a:p>
            <a:pPr marL="53965" marR="0" lvl="0" indent="0" algn="l" defTabSz="931776" rtl="0" eaLnBrk="1" fontAlgn="base" latinLnBrk="0" hangingPunct="1">
              <a:lnSpc>
                <a:spcPct val="150000"/>
              </a:lnSpc>
              <a:spcBef>
                <a:spcPts val="0"/>
              </a:spcBef>
              <a:spcAft>
                <a:spcPts val="600"/>
              </a:spcAft>
              <a:buClr>
                <a:srgbClr val="FFFFFF"/>
              </a:buClr>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nterprise IT management, usage monitoring and admin portal</a:t>
            </a:r>
          </a:p>
        </p:txBody>
      </p:sp>
      <p:grpSp>
        <p:nvGrpSpPr>
          <p:cNvPr id="6" name="Group 5"/>
          <p:cNvGrpSpPr/>
          <p:nvPr/>
        </p:nvGrpSpPr>
        <p:grpSpPr>
          <a:xfrm>
            <a:off x="6096000" y="482083"/>
            <a:ext cx="3722149" cy="627864"/>
            <a:chOff x="1975629" y="2049462"/>
            <a:chExt cx="3722149" cy="627864"/>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5629" y="2061419"/>
              <a:ext cx="601102" cy="601102"/>
            </a:xfrm>
            <a:prstGeom prst="rect">
              <a:avLst/>
            </a:prstGeom>
          </p:spPr>
        </p:pic>
        <p:sp>
          <p:nvSpPr>
            <p:cNvPr id="8" name="TextBox 7"/>
            <p:cNvSpPr txBox="1"/>
            <p:nvPr/>
          </p:nvSpPr>
          <p:spPr>
            <a:xfrm>
              <a:off x="2545312" y="2049462"/>
              <a:ext cx="315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Azure Active Directory</a:t>
              </a:r>
            </a:p>
          </p:txBody>
        </p:sp>
      </p:grpSp>
      <p:sp>
        <p:nvSpPr>
          <p:cNvPr id="9" name="TextBox 8"/>
          <p:cNvSpPr txBox="1"/>
          <p:nvPr/>
        </p:nvSpPr>
        <p:spPr>
          <a:xfrm>
            <a:off x="6752825" y="1090883"/>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rectory Synchro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login branding</a:t>
            </a:r>
          </a:p>
        </p:txBody>
      </p:sp>
      <p:grpSp>
        <p:nvGrpSpPr>
          <p:cNvPr id="10" name="Group 9"/>
          <p:cNvGrpSpPr/>
          <p:nvPr/>
        </p:nvGrpSpPr>
        <p:grpSpPr>
          <a:xfrm>
            <a:off x="6096000" y="2231691"/>
            <a:ext cx="2295796" cy="627864"/>
            <a:chOff x="6716230" y="3226002"/>
            <a:chExt cx="2295796" cy="627864"/>
          </a:xfrm>
        </p:grpSpPr>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230" y="3270802"/>
              <a:ext cx="538264" cy="538264"/>
            </a:xfrm>
            <a:prstGeom prst="rect">
              <a:avLst/>
            </a:prstGeom>
          </p:spPr>
        </p:pic>
        <p:sp>
          <p:nvSpPr>
            <p:cNvPr id="12" name="TextBox 11"/>
            <p:cNvSpPr txBox="1"/>
            <p:nvPr/>
          </p:nvSpPr>
          <p:spPr>
            <a:xfrm>
              <a:off x="7254494" y="3226002"/>
              <a:ext cx="175753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ffice 365</a:t>
              </a:r>
            </a:p>
          </p:txBody>
        </p:sp>
      </p:grpSp>
      <p:sp>
        <p:nvSpPr>
          <p:cNvPr id="13" name="TextBox 12"/>
          <p:cNvSpPr txBox="1"/>
          <p:nvPr/>
        </p:nvSpPr>
        <p:spPr>
          <a:xfrm>
            <a:off x="6752824" y="2859555"/>
            <a:ext cx="3141053"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Subscri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icense Ass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nage Domains and Accounts</a:t>
            </a:r>
          </a:p>
        </p:txBody>
      </p:sp>
      <p:sp>
        <p:nvSpPr>
          <p:cNvPr id="15" name="TextBox 14"/>
          <p:cNvSpPr txBox="1"/>
          <p:nvPr/>
        </p:nvSpPr>
        <p:spPr>
          <a:xfrm>
            <a:off x="6752824" y="4563097"/>
            <a:ext cx="3202480"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Workspa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reate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Tenant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Manage gatew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remium Capacity Managemen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2B9F14D-9986-44A2-B821-7DA5217E16D4}"/>
              </a:ext>
            </a:extLst>
          </p:cNvPr>
          <p:cNvSpPr txBox="1"/>
          <p:nvPr/>
        </p:nvSpPr>
        <p:spPr>
          <a:xfrm>
            <a:off x="6634264" y="3894581"/>
            <a:ext cx="147335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wer BI</a:t>
            </a:r>
          </a:p>
        </p:txBody>
      </p:sp>
      <p:pic>
        <p:nvPicPr>
          <p:cNvPr id="4" name="Picture 3" descr="A sign in the dark&#10;&#10;Description automatically generated">
            <a:extLst>
              <a:ext uri="{FF2B5EF4-FFF2-40B4-BE49-F238E27FC236}">
                <a16:creationId xmlns:a16="http://schemas.microsoft.com/office/drawing/2014/main" id="{084CC731-967C-484A-BA9D-858120DBE0E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8816" y="3762197"/>
            <a:ext cx="892632" cy="892632"/>
          </a:xfrm>
          <a:prstGeom prst="rect">
            <a:avLst/>
          </a:prstGeom>
        </p:spPr>
      </p:pic>
    </p:spTree>
    <p:custDataLst>
      <p:tags r:id="rId1"/>
    </p:custDataLst>
    <p:extLst>
      <p:ext uri="{BB962C8B-B14F-4D97-AF65-F5344CB8AC3E}">
        <p14:creationId xmlns:p14="http://schemas.microsoft.com/office/powerpoint/2010/main" val="3624743082"/>
      </p:ext>
    </p:extLst>
  </p:cSld>
  <p:clrMapOvr>
    <a:masterClrMapping/>
  </p:clrMapOvr>
  <mc:AlternateContent xmlns:mc="http://schemas.openxmlformats.org/markup-compatibility/2006" xmlns:p14="http://schemas.microsoft.com/office/powerpoint/2010/main">
    <mc:Choice Requires="p14">
      <p:transition spd="med" p14:dur="700" advTm="42257">
        <p:fade/>
      </p:transition>
    </mc:Choice>
    <mc:Fallback xmlns="">
      <p:transition spd="med" advTm="42257">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Do you want to manage mobile devices?</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130635"/>
          </a:xfrm>
        </p:spPr>
        <p:txBody>
          <a:bodyPr/>
          <a:lstStyle/>
          <a:p>
            <a:pPr marL="342900" indent="-342900">
              <a:buFont typeface="Arial" panose="020B0604020202020204" pitchFamily="34" charset="0"/>
              <a:buChar char="•"/>
            </a:pPr>
            <a:r>
              <a:rPr lang="en-GB" sz="2400">
                <a:solidFill>
                  <a:srgbClr val="EDC30D"/>
                </a:solidFill>
              </a:rPr>
              <a:t>Microsoft Intune</a:t>
            </a:r>
          </a:p>
          <a:p>
            <a:pPr marL="846900" lvl="2" indent="-342900">
              <a:buFont typeface="Arial" panose="020B0604020202020204" pitchFamily="34" charset="0"/>
              <a:buChar char="•"/>
            </a:pPr>
            <a:r>
              <a:rPr lang="en-GB">
                <a:solidFill>
                  <a:srgbClr val="EDC30D"/>
                </a:solidFill>
                <a:latin typeface="+mj-lt"/>
                <a:hlinkClick r:id="rId3">
                  <a:extLst>
                    <a:ext uri="{A12FA001-AC4F-418D-AE19-62706E023703}">
                      <ahyp:hlinkClr xmlns:ahyp="http://schemas.microsoft.com/office/drawing/2018/hyperlinkcolor" val="tx"/>
                    </a:ext>
                  </a:extLst>
                </a:hlinkClick>
              </a:rPr>
              <a:t>Set up</a:t>
            </a:r>
            <a:r>
              <a:rPr lang="en-GB">
                <a:solidFill>
                  <a:srgbClr val="EDC30D"/>
                </a:solidFill>
                <a:latin typeface="+mj-lt"/>
              </a:rPr>
              <a:t> Intune</a:t>
            </a:r>
          </a:p>
          <a:p>
            <a:pPr marL="846900" lvl="2" indent="-342900">
              <a:buFont typeface="Arial" panose="020B0604020202020204" pitchFamily="34" charset="0"/>
              <a:buChar char="•"/>
            </a:pPr>
            <a:r>
              <a:rPr lang="en-GB">
                <a:solidFill>
                  <a:srgbClr val="EDC30D"/>
                </a:solidFill>
                <a:latin typeface="+mj-lt"/>
              </a:rPr>
              <a:t>Configure Power BI for use with </a:t>
            </a:r>
            <a:r>
              <a:rPr lang="en-GB">
                <a:solidFill>
                  <a:srgbClr val="EDC30D"/>
                </a:solidFill>
                <a:latin typeface="+mj-lt"/>
                <a:hlinkClick r:id="rId4">
                  <a:extLst>
                    <a:ext uri="{A12FA001-AC4F-418D-AE19-62706E023703}">
                      <ahyp:hlinkClr xmlns:ahyp="http://schemas.microsoft.com/office/drawing/2018/hyperlinkcolor" val="tx"/>
                    </a:ext>
                  </a:extLst>
                </a:hlinkClick>
              </a:rPr>
              <a:t>Intune</a:t>
            </a:r>
            <a:endParaRPr lang="en-GB">
              <a:solidFill>
                <a:srgbClr val="EDC30D"/>
              </a:solidFill>
              <a:latin typeface="+mj-lt"/>
            </a:endParaRPr>
          </a:p>
          <a:p>
            <a:pPr marL="1062900" lvl="3" indent="-342900">
              <a:buFont typeface="Arial" panose="020B0604020202020204" pitchFamily="34" charset="0"/>
              <a:buChar char="•"/>
            </a:pPr>
            <a:r>
              <a:rPr lang="en-GB">
                <a:solidFill>
                  <a:srgbClr val="EDC30D"/>
                </a:solidFill>
                <a:latin typeface="+mj-lt"/>
              </a:rPr>
              <a:t>Get URL for iOS and/or Android application</a:t>
            </a:r>
          </a:p>
          <a:p>
            <a:pPr marL="1062900" lvl="3" indent="-342900">
              <a:buFont typeface="Arial" panose="020B0604020202020204" pitchFamily="34" charset="0"/>
              <a:buChar char="•"/>
            </a:pPr>
            <a:r>
              <a:rPr lang="en-GB">
                <a:solidFill>
                  <a:srgbClr val="EDC30D"/>
                </a:solidFill>
                <a:latin typeface="+mj-lt"/>
              </a:rPr>
              <a:t>Create Mobile Application Management policy</a:t>
            </a:r>
          </a:p>
          <a:p>
            <a:pPr marL="1062900" lvl="3" indent="-342900">
              <a:buFont typeface="Arial" panose="020B0604020202020204" pitchFamily="34" charset="0"/>
              <a:buChar char="•"/>
            </a:pPr>
            <a:r>
              <a:rPr lang="en-GB">
                <a:solidFill>
                  <a:srgbClr val="EDC30D"/>
                </a:solidFill>
                <a:latin typeface="+mj-lt"/>
              </a:rPr>
              <a:t>Create the application</a:t>
            </a:r>
          </a:p>
          <a:p>
            <a:pPr marL="1062900" lvl="3" indent="-342900">
              <a:buFont typeface="Arial" panose="020B0604020202020204" pitchFamily="34" charset="0"/>
              <a:buChar char="•"/>
            </a:pPr>
            <a:r>
              <a:rPr lang="en-GB">
                <a:solidFill>
                  <a:srgbClr val="EDC30D"/>
                </a:solidFill>
                <a:latin typeface="+mj-lt"/>
              </a:rPr>
              <a:t>Deploy the application</a:t>
            </a:r>
          </a:p>
          <a:p>
            <a:pPr marL="1062900" lvl="3" indent="-342900">
              <a:buFont typeface="Arial" panose="020B0604020202020204" pitchFamily="34" charset="0"/>
              <a:buChar char="•"/>
            </a:pPr>
            <a:r>
              <a:rPr lang="en-GB">
                <a:solidFill>
                  <a:srgbClr val="EDC30D"/>
                </a:solidFill>
                <a:latin typeface="+mj-lt"/>
              </a:rPr>
              <a:t>Install the application on appropriate devices</a:t>
            </a:r>
          </a:p>
          <a:p>
            <a:pPr marL="342900" lvl="1" indent="-342900">
              <a:buFont typeface="Arial" panose="020B0604020202020204" pitchFamily="34" charset="0"/>
              <a:buChar char="•"/>
            </a:pPr>
            <a:r>
              <a:rPr lang="en-GB">
                <a:solidFill>
                  <a:srgbClr val="EDC30D"/>
                </a:solidFill>
                <a:latin typeface="+mj-lt"/>
              </a:rPr>
              <a:t>Other Mobile Application Management Tool</a:t>
            </a:r>
          </a:p>
          <a:p>
            <a:pPr marL="846900" lvl="2" indent="-342900">
              <a:buFont typeface="Arial" panose="020B0604020202020204" pitchFamily="34" charset="0"/>
              <a:buChar char="•"/>
            </a:pPr>
            <a:r>
              <a:rPr lang="en-US">
                <a:solidFill>
                  <a:srgbClr val="EDC30D"/>
                </a:solidFill>
                <a:latin typeface="+mj-lt"/>
              </a:rPr>
              <a:t>Confirm tool can be used to administer Power BI Mobile</a:t>
            </a:r>
          </a:p>
          <a:p>
            <a:pPr marL="846900" lvl="2" indent="-342900">
              <a:buFont typeface="Arial" panose="020B0604020202020204" pitchFamily="34" charset="0"/>
              <a:buChar char="•"/>
            </a:pPr>
            <a:r>
              <a:rPr lang="en-US">
                <a:solidFill>
                  <a:srgbClr val="EDC30D"/>
                </a:solidFill>
                <a:latin typeface="+mj-lt"/>
              </a:rPr>
              <a:t>Configure Power BI Mobile</a:t>
            </a:r>
          </a:p>
          <a:p>
            <a:pPr marL="846900" lvl="2" indent="-342900">
              <a:buFont typeface="Arial" panose="020B0604020202020204" pitchFamily="34" charset="0"/>
              <a:buChar char="•"/>
            </a:pPr>
            <a:r>
              <a:rPr lang="en-US">
                <a:solidFill>
                  <a:srgbClr val="EDC30D"/>
                </a:solidFill>
                <a:latin typeface="+mj-lt"/>
              </a:rPr>
              <a:t>Install the application on appropriate devices</a:t>
            </a:r>
          </a:p>
          <a:p>
            <a:pPr marL="342900" lvl="1" indent="-342900">
              <a:buFont typeface="Arial" panose="020B0604020202020204" pitchFamily="34" charset="0"/>
              <a:buChar char="•"/>
            </a:pPr>
            <a:r>
              <a:rPr lang="en-GB">
                <a:solidFill>
                  <a:srgbClr val="EDC30D"/>
                </a:solidFill>
                <a:latin typeface="+mj-lt"/>
              </a:rPr>
              <a:t>No</a:t>
            </a:r>
          </a:p>
          <a:p>
            <a:pPr marL="846900" lvl="2" indent="-342900">
              <a:buFont typeface="Arial" panose="020B0604020202020204" pitchFamily="34" charset="0"/>
              <a:buChar char="•"/>
            </a:pPr>
            <a:r>
              <a:rPr lang="en-GB">
                <a:solidFill>
                  <a:srgbClr val="EDC30D"/>
                </a:solidFill>
                <a:latin typeface="+mj-lt"/>
              </a:rPr>
              <a:t>No action required</a:t>
            </a:r>
            <a:endParaRPr lang="en-US" sz="2400">
              <a:solidFill>
                <a:srgbClr val="EDC30D"/>
              </a:solidFill>
            </a:endParaRPr>
          </a:p>
        </p:txBody>
      </p:sp>
    </p:spTree>
    <p:extLst>
      <p:ext uri="{BB962C8B-B14F-4D97-AF65-F5344CB8AC3E}">
        <p14:creationId xmlns:p14="http://schemas.microsoft.com/office/powerpoint/2010/main" val="318845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47E0D0-FB8F-465C-B593-D40137ACFF42}"/>
              </a:ext>
            </a:extLst>
          </p:cNvPr>
          <p:cNvSpPr>
            <a:spLocks noGrp="1"/>
          </p:cNvSpPr>
          <p:nvPr>
            <p:ph type="ctrTitle"/>
          </p:nvPr>
        </p:nvSpPr>
        <p:spPr/>
        <p:txBody>
          <a:bodyPr/>
          <a:lstStyle/>
          <a:p>
            <a:r>
              <a:rPr lang="de-DE"/>
              <a:t>Service Management:</a:t>
            </a:r>
            <a:br>
              <a:rPr lang="de-DE"/>
            </a:br>
            <a:r>
              <a:rPr lang="de-DE" err="1"/>
              <a:t>How</a:t>
            </a:r>
            <a:r>
              <a:rPr lang="de-DE"/>
              <a:t> </a:t>
            </a:r>
            <a:r>
              <a:rPr lang="de-DE" err="1"/>
              <a:t>to</a:t>
            </a:r>
            <a:r>
              <a:rPr lang="de-DE"/>
              <a:t> Manage Power BI?</a:t>
            </a:r>
          </a:p>
        </p:txBody>
      </p:sp>
      <p:sp>
        <p:nvSpPr>
          <p:cNvPr id="3" name="Textplatzhalter 2">
            <a:extLst>
              <a:ext uri="{FF2B5EF4-FFF2-40B4-BE49-F238E27FC236}">
                <a16:creationId xmlns:a16="http://schemas.microsoft.com/office/drawing/2014/main" id="{49783850-354F-4D16-9DED-D20BB7246A3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77185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dmin Portal</a:t>
            </a:r>
          </a:p>
        </p:txBody>
      </p:sp>
      <p:pic>
        <p:nvPicPr>
          <p:cNvPr id="6" name="Picture 5"/>
          <p:cNvPicPr>
            <a:picLocks noChangeAspect="1"/>
          </p:cNvPicPr>
          <p:nvPr/>
        </p:nvPicPr>
        <p:blipFill>
          <a:blip r:embed="rId3"/>
          <a:stretch>
            <a:fillRect/>
          </a:stretch>
        </p:blipFill>
        <p:spPr>
          <a:xfrm>
            <a:off x="7561385" y="1235250"/>
            <a:ext cx="2386819" cy="3954282"/>
          </a:xfrm>
          <a:prstGeom prst="rect">
            <a:avLst/>
          </a:prstGeom>
        </p:spPr>
      </p:pic>
      <p:sp>
        <p:nvSpPr>
          <p:cNvPr id="9" name="Title 2"/>
          <p:cNvSpPr txBox="1">
            <a:spLocks/>
          </p:cNvSpPr>
          <p:nvPr/>
        </p:nvSpPr>
        <p:spPr>
          <a:xfrm>
            <a:off x="165098" y="3808880"/>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ower BI Admin or Global Admin O365 Role</a:t>
            </a:r>
          </a:p>
        </p:txBody>
      </p:sp>
    </p:spTree>
    <p:extLst>
      <p:ext uri="{BB962C8B-B14F-4D97-AF65-F5344CB8AC3E}">
        <p14:creationId xmlns:p14="http://schemas.microsoft.com/office/powerpoint/2010/main" val="73271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099" y="1467517"/>
            <a:ext cx="5066323" cy="2358572"/>
          </a:xfrm>
        </p:spPr>
        <p:txBody>
          <a:bodyPr/>
          <a:lstStyle/>
          <a:p>
            <a:r>
              <a:rPr lang="en-GB"/>
              <a:t>Tenant Settings</a:t>
            </a:r>
          </a:p>
        </p:txBody>
      </p:sp>
      <p:sp>
        <p:nvSpPr>
          <p:cNvPr id="27" name="Text Placeholder 26">
            <a:extLst>
              <a:ext uri="{FF2B5EF4-FFF2-40B4-BE49-F238E27FC236}">
                <a16:creationId xmlns:a16="http://schemas.microsoft.com/office/drawing/2014/main" id="{BC133BBA-CE47-49E3-ABF9-6CE203E792F1}"/>
              </a:ext>
            </a:extLst>
          </p:cNvPr>
          <p:cNvSpPr>
            <a:spLocks noGrp="1"/>
          </p:cNvSpPr>
          <p:nvPr>
            <p:ph type="body" sz="quarter" idx="10"/>
          </p:nvPr>
        </p:nvSpPr>
        <p:spPr>
          <a:xfrm>
            <a:off x="6906685" y="391531"/>
            <a:ext cx="4980404" cy="2114425"/>
          </a:xfrm>
        </p:spPr>
        <p:txBody>
          <a:bodyPr/>
          <a:lstStyle/>
          <a:p>
            <a:pPr>
              <a:lnSpc>
                <a:spcPct val="250000"/>
              </a:lnSpc>
            </a:pPr>
            <a:r>
              <a:rPr lang="en-GB" sz="1800"/>
              <a:t>Export and Sharing Settings</a:t>
            </a:r>
          </a:p>
          <a:p>
            <a:pPr>
              <a:lnSpc>
                <a:spcPct val="250000"/>
              </a:lnSpc>
            </a:pPr>
            <a:r>
              <a:rPr lang="en-GB" sz="1800"/>
              <a:t>Content Pack and App Settings</a:t>
            </a:r>
          </a:p>
          <a:p>
            <a:pPr>
              <a:lnSpc>
                <a:spcPct val="250000"/>
              </a:lnSpc>
            </a:pPr>
            <a:r>
              <a:rPr lang="en-GB" sz="1800"/>
              <a:t>Integration Settings</a:t>
            </a:r>
          </a:p>
          <a:p>
            <a:pPr>
              <a:lnSpc>
                <a:spcPct val="250000"/>
              </a:lnSpc>
            </a:pPr>
            <a:r>
              <a:rPr lang="en-GB" sz="1800"/>
              <a:t>Custom Visual Settings</a:t>
            </a:r>
          </a:p>
          <a:p>
            <a:pPr>
              <a:lnSpc>
                <a:spcPct val="250000"/>
              </a:lnSpc>
            </a:pPr>
            <a:r>
              <a:rPr lang="en-GB" sz="1800"/>
              <a:t>R Visual Settings</a:t>
            </a:r>
          </a:p>
          <a:p>
            <a:pPr>
              <a:lnSpc>
                <a:spcPct val="250000"/>
              </a:lnSpc>
            </a:pPr>
            <a:r>
              <a:rPr lang="en-GB" sz="1800"/>
              <a:t>Audit and Usage Settings</a:t>
            </a:r>
          </a:p>
          <a:p>
            <a:pPr>
              <a:lnSpc>
                <a:spcPct val="250000"/>
              </a:lnSpc>
            </a:pPr>
            <a:r>
              <a:rPr lang="en-GB" sz="1800"/>
              <a:t>Dashboard Settings</a:t>
            </a:r>
          </a:p>
          <a:p>
            <a:pPr>
              <a:lnSpc>
                <a:spcPct val="250000"/>
              </a:lnSpc>
            </a:pPr>
            <a:r>
              <a:rPr lang="en-GB" sz="1800"/>
              <a:t>Developer Settings</a:t>
            </a:r>
            <a:endParaRPr lang="en-US" sz="1800"/>
          </a:p>
        </p:txBody>
      </p:sp>
      <p:pic>
        <p:nvPicPr>
          <p:cNvPr id="22" name="Picture 21">
            <a:extLst>
              <a:ext uri="{FF2B5EF4-FFF2-40B4-BE49-F238E27FC236}">
                <a16:creationId xmlns:a16="http://schemas.microsoft.com/office/drawing/2014/main" id="{83747952-D36F-47EF-A805-A3163B6797AA}"/>
              </a:ext>
            </a:extLst>
          </p:cNvPr>
          <p:cNvPicPr>
            <a:picLocks noChangeAspect="1"/>
          </p:cNvPicPr>
          <p:nvPr/>
        </p:nvPicPr>
        <p:blipFill>
          <a:blip r:embed="rId3"/>
          <a:stretch>
            <a:fillRect/>
          </a:stretch>
        </p:blipFill>
        <p:spPr>
          <a:xfrm>
            <a:off x="1553818" y="3175628"/>
            <a:ext cx="2288884" cy="2995029"/>
          </a:xfrm>
          <a:prstGeom prst="rect">
            <a:avLst/>
          </a:prstGeom>
        </p:spPr>
      </p:pic>
      <p:pic>
        <p:nvPicPr>
          <p:cNvPr id="29" name="Graphic 28" descr="Upward trend">
            <a:extLst>
              <a:ext uri="{FF2B5EF4-FFF2-40B4-BE49-F238E27FC236}">
                <a16:creationId xmlns:a16="http://schemas.microsoft.com/office/drawing/2014/main" id="{764CCD28-4AA0-483F-A208-7F463BEEBC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8115" y="3623879"/>
            <a:ext cx="584880" cy="584880"/>
          </a:xfrm>
          <a:prstGeom prst="rect">
            <a:avLst/>
          </a:prstGeom>
        </p:spPr>
      </p:pic>
      <p:pic>
        <p:nvPicPr>
          <p:cNvPr id="31" name="Graphic 30" descr="Puzzle">
            <a:extLst>
              <a:ext uri="{FF2B5EF4-FFF2-40B4-BE49-F238E27FC236}">
                <a16:creationId xmlns:a16="http://schemas.microsoft.com/office/drawing/2014/main" id="{28FB6674-80F8-4E1D-A247-B5E9BE3359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48115" y="2192684"/>
            <a:ext cx="584880" cy="584880"/>
          </a:xfrm>
          <a:prstGeom prst="rect">
            <a:avLst/>
          </a:prstGeom>
        </p:spPr>
      </p:pic>
      <p:pic>
        <p:nvPicPr>
          <p:cNvPr id="33" name="Graphic 32" descr="Paint">
            <a:extLst>
              <a:ext uri="{FF2B5EF4-FFF2-40B4-BE49-F238E27FC236}">
                <a16:creationId xmlns:a16="http://schemas.microsoft.com/office/drawing/2014/main" id="{58D41A40-B6FE-408B-9A26-951377CE4B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8115" y="2883188"/>
            <a:ext cx="584880" cy="584880"/>
          </a:xfrm>
          <a:prstGeom prst="rect">
            <a:avLst/>
          </a:prstGeom>
        </p:spPr>
      </p:pic>
      <p:pic>
        <p:nvPicPr>
          <p:cNvPr id="35" name="Graphic 34" descr="Table">
            <a:extLst>
              <a:ext uri="{FF2B5EF4-FFF2-40B4-BE49-F238E27FC236}">
                <a16:creationId xmlns:a16="http://schemas.microsoft.com/office/drawing/2014/main" id="{45A68198-9E8A-42BE-B265-2745B2552C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8115" y="4364570"/>
            <a:ext cx="584880" cy="584880"/>
          </a:xfrm>
          <a:prstGeom prst="rect">
            <a:avLst/>
          </a:prstGeom>
        </p:spPr>
      </p:pic>
      <p:pic>
        <p:nvPicPr>
          <p:cNvPr id="37" name="Graphic 36" descr="Bar chart">
            <a:extLst>
              <a:ext uri="{FF2B5EF4-FFF2-40B4-BE49-F238E27FC236}">
                <a16:creationId xmlns:a16="http://schemas.microsoft.com/office/drawing/2014/main" id="{85B77EF5-053D-4309-B3EA-85F10B60F5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48115" y="5105261"/>
            <a:ext cx="584880" cy="584880"/>
          </a:xfrm>
          <a:prstGeom prst="rect">
            <a:avLst/>
          </a:prstGeom>
        </p:spPr>
      </p:pic>
      <p:pic>
        <p:nvPicPr>
          <p:cNvPr id="39" name="Graphic 38" descr="Books">
            <a:extLst>
              <a:ext uri="{FF2B5EF4-FFF2-40B4-BE49-F238E27FC236}">
                <a16:creationId xmlns:a16="http://schemas.microsoft.com/office/drawing/2014/main" id="{1F4C1878-9DE0-48F0-888F-A876036A9EF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48115" y="1433957"/>
            <a:ext cx="584880" cy="584880"/>
          </a:xfrm>
          <a:prstGeom prst="rect">
            <a:avLst/>
          </a:prstGeom>
        </p:spPr>
      </p:pic>
      <p:pic>
        <p:nvPicPr>
          <p:cNvPr id="41" name="Graphic 40" descr="Gears">
            <a:extLst>
              <a:ext uri="{FF2B5EF4-FFF2-40B4-BE49-F238E27FC236}">
                <a16:creationId xmlns:a16="http://schemas.microsoft.com/office/drawing/2014/main" id="{7CE054A1-6BD0-4BCC-B694-28DDD9011A6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48115" y="5845952"/>
            <a:ext cx="584880" cy="584880"/>
          </a:xfrm>
          <a:prstGeom prst="rect">
            <a:avLst/>
          </a:prstGeom>
        </p:spPr>
      </p:pic>
      <p:pic>
        <p:nvPicPr>
          <p:cNvPr id="43" name="Graphic 42" descr="Handshake">
            <a:extLst>
              <a:ext uri="{FF2B5EF4-FFF2-40B4-BE49-F238E27FC236}">
                <a16:creationId xmlns:a16="http://schemas.microsoft.com/office/drawing/2014/main" id="{627FEB55-67B9-4BD4-8DDA-B2ABA39AF6C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848115" y="693266"/>
            <a:ext cx="584880" cy="584880"/>
          </a:xfrm>
          <a:prstGeom prst="rect">
            <a:avLst/>
          </a:prstGeom>
        </p:spPr>
      </p:pic>
    </p:spTree>
    <p:extLst>
      <p:ext uri="{BB962C8B-B14F-4D97-AF65-F5344CB8AC3E}">
        <p14:creationId xmlns:p14="http://schemas.microsoft.com/office/powerpoint/2010/main" val="72812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ranular Tenant Settings</a:t>
            </a:r>
          </a:p>
        </p:txBody>
      </p:sp>
      <p:pic>
        <p:nvPicPr>
          <p:cNvPr id="5" name="Picture 4" descr="A screenshot of a cell phone&#10;&#10;Description generated with very high confidence">
            <a:extLst>
              <a:ext uri="{FF2B5EF4-FFF2-40B4-BE49-F238E27FC236}">
                <a16:creationId xmlns:a16="http://schemas.microsoft.com/office/drawing/2014/main" id="{E3F13ED7-0AC1-4732-A98E-2A0FA94194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4828" y="1670982"/>
            <a:ext cx="3828571" cy="1628571"/>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71643C0-9D4E-497F-9E4D-8A466B77EA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828" y="3670197"/>
            <a:ext cx="3828571" cy="2314286"/>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284A2D49-B825-4167-8AEF-9F79C2AE7F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84247" y="1731575"/>
            <a:ext cx="3828571" cy="279047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B16183D6-719E-4F22-9FB5-0F52D85242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9380" y="3299553"/>
            <a:ext cx="3828571" cy="2723809"/>
          </a:xfrm>
          <a:prstGeom prst="rect">
            <a:avLst/>
          </a:prstGeom>
        </p:spPr>
      </p:pic>
    </p:spTree>
    <p:custDataLst>
      <p:tags r:id="rId1"/>
    </p:custDataLst>
    <p:extLst>
      <p:ext uri="{BB962C8B-B14F-4D97-AF65-F5344CB8AC3E}">
        <p14:creationId xmlns:p14="http://schemas.microsoft.com/office/powerpoint/2010/main" val="184218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D88465D-2552-4ADA-B636-DF5C4C91162F}"/>
              </a:ext>
            </a:extLst>
          </p:cNvPr>
          <p:cNvPicPr>
            <a:picLocks noChangeAspect="1"/>
          </p:cNvPicPr>
          <p:nvPr/>
        </p:nvPicPr>
        <p:blipFill>
          <a:blip r:embed="rId3"/>
          <a:stretch>
            <a:fillRect/>
          </a:stretch>
        </p:blipFill>
        <p:spPr>
          <a:xfrm>
            <a:off x="178362" y="3643534"/>
            <a:ext cx="4573150" cy="2048903"/>
          </a:xfrm>
          <a:prstGeom prst="rect">
            <a:avLst/>
          </a:prstGeom>
        </p:spPr>
      </p:pic>
      <p:pic>
        <p:nvPicPr>
          <p:cNvPr id="12" name="Graphic 11" descr="Open Book">
            <a:extLst>
              <a:ext uri="{FF2B5EF4-FFF2-40B4-BE49-F238E27FC236}">
                <a16:creationId xmlns:a16="http://schemas.microsoft.com/office/drawing/2014/main" id="{E45AB706-EDEF-4AAA-BE65-22299B122B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6219" y="469321"/>
            <a:ext cx="914400" cy="914400"/>
          </a:xfrm>
          <a:prstGeom prst="rect">
            <a:avLst/>
          </a:prstGeom>
        </p:spPr>
      </p:pic>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Help and Support Settings</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6" name="TextBox 15">
            <a:extLst>
              <a:ext uri="{FF2B5EF4-FFF2-40B4-BE49-F238E27FC236}">
                <a16:creationId xmlns:a16="http://schemas.microsoft.com/office/drawing/2014/main" id="{8376E9D8-C6D1-466D-AB8F-A7C396F3DD29}"/>
              </a:ext>
            </a:extLst>
          </p:cNvPr>
          <p:cNvSpPr txBox="1"/>
          <p:nvPr/>
        </p:nvSpPr>
        <p:spPr>
          <a:xfrm>
            <a:off x="0" y="5901487"/>
            <a:ext cx="268246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689128" y="118455"/>
            <a:ext cx="4980404" cy="610615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Learn</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mmunit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Get Help</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Licensing</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ail Notifications</a:t>
            </a:r>
          </a:p>
        </p:txBody>
      </p:sp>
      <p:pic>
        <p:nvPicPr>
          <p:cNvPr id="3" name="Graphic 2" descr="Group">
            <a:extLst>
              <a:ext uri="{FF2B5EF4-FFF2-40B4-BE49-F238E27FC236}">
                <a16:creationId xmlns:a16="http://schemas.microsoft.com/office/drawing/2014/main" id="{C3763271-87ED-49EA-857B-B5BB646FF4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6219" y="1635901"/>
            <a:ext cx="914400" cy="914400"/>
          </a:xfrm>
          <a:prstGeom prst="rect">
            <a:avLst/>
          </a:prstGeom>
        </p:spPr>
      </p:pic>
      <p:pic>
        <p:nvPicPr>
          <p:cNvPr id="5" name="Graphic 4" descr="Questions">
            <a:extLst>
              <a:ext uri="{FF2B5EF4-FFF2-40B4-BE49-F238E27FC236}">
                <a16:creationId xmlns:a16="http://schemas.microsoft.com/office/drawing/2014/main" id="{979E2EB6-421F-4B64-A51A-9A83853286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6219" y="2802481"/>
            <a:ext cx="914400" cy="914400"/>
          </a:xfrm>
          <a:prstGeom prst="rect">
            <a:avLst/>
          </a:prstGeom>
        </p:spPr>
      </p:pic>
      <p:pic>
        <p:nvPicPr>
          <p:cNvPr id="9" name="Graphic 8" descr="Envelope">
            <a:extLst>
              <a:ext uri="{FF2B5EF4-FFF2-40B4-BE49-F238E27FC236}">
                <a16:creationId xmlns:a16="http://schemas.microsoft.com/office/drawing/2014/main" id="{8C706E9B-C922-4FDC-B9DF-730956D999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6219" y="5310214"/>
            <a:ext cx="914400" cy="914400"/>
          </a:xfrm>
          <a:prstGeom prst="rect">
            <a:avLst/>
          </a:prstGeom>
        </p:spPr>
      </p:pic>
      <p:pic>
        <p:nvPicPr>
          <p:cNvPr id="11" name="Graphic 10" descr="Contract">
            <a:extLst>
              <a:ext uri="{FF2B5EF4-FFF2-40B4-BE49-F238E27FC236}">
                <a16:creationId xmlns:a16="http://schemas.microsoft.com/office/drawing/2014/main" id="{8E3FC186-1434-4742-8F9B-E75629913E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6219" y="4065710"/>
            <a:ext cx="914400" cy="914400"/>
          </a:xfrm>
          <a:prstGeom prst="rect">
            <a:avLst/>
          </a:prstGeom>
        </p:spPr>
      </p:pic>
    </p:spTree>
    <p:extLst>
      <p:ext uri="{BB962C8B-B14F-4D97-AF65-F5344CB8AC3E}">
        <p14:creationId xmlns:p14="http://schemas.microsoft.com/office/powerpoint/2010/main" val="2037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Workspace Settings</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6" name="TextBox 15">
            <a:extLst>
              <a:ext uri="{FF2B5EF4-FFF2-40B4-BE49-F238E27FC236}">
                <a16:creationId xmlns:a16="http://schemas.microsoft.com/office/drawing/2014/main" id="{8376E9D8-C6D1-466D-AB8F-A7C396F3DD29}"/>
              </a:ext>
            </a:extLst>
          </p:cNvPr>
          <p:cNvSpPr txBox="1"/>
          <p:nvPr/>
        </p:nvSpPr>
        <p:spPr>
          <a:xfrm>
            <a:off x="0"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710069" y="1294934"/>
            <a:ext cx="4980404" cy="341926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eate</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sets</a:t>
            </a:r>
          </a:p>
        </p:txBody>
      </p:sp>
      <p:pic>
        <p:nvPicPr>
          <p:cNvPr id="2050" name="Picture 2" descr="New workspace experience">
            <a:extLst>
              <a:ext uri="{FF2B5EF4-FFF2-40B4-BE49-F238E27FC236}">
                <a16:creationId xmlns:a16="http://schemas.microsoft.com/office/drawing/2014/main" id="{53F015B9-3B35-4C21-951C-1BA713B1FE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361" y="3596519"/>
            <a:ext cx="4150537" cy="209591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1572C69-786C-49ED-81F9-48045F7C2354}"/>
              </a:ext>
            </a:extLst>
          </p:cNvPr>
          <p:cNvSpPr/>
          <p:nvPr/>
        </p:nvSpPr>
        <p:spPr bwMode="auto">
          <a:xfrm>
            <a:off x="3957747" y="3650620"/>
            <a:ext cx="316800" cy="3210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descr="Add">
            <a:extLst>
              <a:ext uri="{FF2B5EF4-FFF2-40B4-BE49-F238E27FC236}">
                <a16:creationId xmlns:a16="http://schemas.microsoft.com/office/drawing/2014/main" id="{64837109-1490-4C11-854E-5FEC75CBEF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998171"/>
            <a:ext cx="914400" cy="914400"/>
          </a:xfrm>
          <a:prstGeom prst="rect">
            <a:avLst/>
          </a:prstGeom>
        </p:spPr>
      </p:pic>
      <p:pic>
        <p:nvPicPr>
          <p:cNvPr id="10" name="Graphic 9" descr="Table">
            <a:extLst>
              <a:ext uri="{FF2B5EF4-FFF2-40B4-BE49-F238E27FC236}">
                <a16:creationId xmlns:a16="http://schemas.microsoft.com/office/drawing/2014/main" id="{13F20841-4FC4-4D5B-9FA6-5AF5B25CF6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3811163"/>
            <a:ext cx="914400" cy="914400"/>
          </a:xfrm>
          <a:prstGeom prst="rect">
            <a:avLst/>
          </a:prstGeom>
        </p:spPr>
      </p:pic>
    </p:spTree>
    <p:extLst>
      <p:ext uri="{BB962C8B-B14F-4D97-AF65-F5344CB8AC3E}">
        <p14:creationId xmlns:p14="http://schemas.microsoft.com/office/powerpoint/2010/main" val="14609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8376E9D8-C6D1-466D-AB8F-A7C396F3DD29}"/>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3" name="TextBox 22">
            <a:extLst>
              <a:ext uri="{FF2B5EF4-FFF2-40B4-BE49-F238E27FC236}">
                <a16:creationId xmlns:a16="http://schemas.microsoft.com/office/drawing/2014/main" id="{F7CF2598-5EF0-4389-A280-CC5991325C51}"/>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21" name="Title 2">
            <a:extLst>
              <a:ext uri="{FF2B5EF4-FFF2-40B4-BE49-F238E27FC236}">
                <a16:creationId xmlns:a16="http://schemas.microsoft.com/office/drawing/2014/main" id="{ED301C98-1A38-405F-83DA-56A2930D9E89}"/>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14" name="Title 2">
            <a:extLst>
              <a:ext uri="{FF2B5EF4-FFF2-40B4-BE49-F238E27FC236}">
                <a16:creationId xmlns:a16="http://schemas.microsoft.com/office/drawing/2014/main" id="{70E6F131-B660-4E4E-A6AA-4A75A51DF1F3}"/>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pic>
        <p:nvPicPr>
          <p:cNvPr id="20" name="Picture 19">
            <a:extLst>
              <a:ext uri="{FF2B5EF4-FFF2-40B4-BE49-F238E27FC236}">
                <a16:creationId xmlns:a16="http://schemas.microsoft.com/office/drawing/2014/main" id="{A38DB569-F556-426B-B2B7-723692BB5732}"/>
              </a:ext>
            </a:extLst>
          </p:cNvPr>
          <p:cNvPicPr>
            <a:picLocks noChangeAspect="1"/>
          </p:cNvPicPr>
          <p:nvPr/>
        </p:nvPicPr>
        <p:blipFill>
          <a:blip r:embed="rId4"/>
          <a:stretch>
            <a:fillRect/>
          </a:stretch>
        </p:blipFill>
        <p:spPr>
          <a:xfrm>
            <a:off x="175781" y="3643534"/>
            <a:ext cx="3809025" cy="2042061"/>
          </a:xfrm>
          <a:prstGeom prst="rect">
            <a:avLst/>
          </a:prstGeom>
        </p:spPr>
      </p:pic>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xporting and Sharing</a:t>
            </a:r>
          </a:p>
        </p:txBody>
      </p:sp>
      <p:sp>
        <p:nvSpPr>
          <p:cNvPr id="7" name="Text Placeholder 3">
            <a:extLst>
              <a:ext uri="{FF2B5EF4-FFF2-40B4-BE49-F238E27FC236}">
                <a16:creationId xmlns:a16="http://schemas.microsoft.com/office/drawing/2014/main" id="{D33F9A3F-DC0E-48FD-9B7A-2DE4C06C74D0}"/>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PowerPoint / PDF</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int</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ail Subscription</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ication</a:t>
            </a:r>
          </a:p>
        </p:txBody>
      </p:sp>
      <p:pic>
        <p:nvPicPr>
          <p:cNvPr id="3" name="Graphic 2" descr="Fax">
            <a:extLst>
              <a:ext uri="{FF2B5EF4-FFF2-40B4-BE49-F238E27FC236}">
                <a16:creationId xmlns:a16="http://schemas.microsoft.com/office/drawing/2014/main" id="{26ACCD26-3C34-4240-B242-AA9ACC3938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330524"/>
            <a:ext cx="914400" cy="914400"/>
          </a:xfrm>
          <a:prstGeom prst="rect">
            <a:avLst/>
          </a:prstGeom>
        </p:spPr>
      </p:pic>
      <p:pic>
        <p:nvPicPr>
          <p:cNvPr id="5" name="Graphic 4" descr="Presentation with pie chart">
            <a:extLst>
              <a:ext uri="{FF2B5EF4-FFF2-40B4-BE49-F238E27FC236}">
                <a16:creationId xmlns:a16="http://schemas.microsoft.com/office/drawing/2014/main" id="{B56A1FF4-4F8F-4516-A709-9EBF6D2ECB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9918" y="910884"/>
            <a:ext cx="914400" cy="914400"/>
          </a:xfrm>
          <a:prstGeom prst="rect">
            <a:avLst/>
          </a:prstGeom>
        </p:spPr>
      </p:pic>
      <p:pic>
        <p:nvPicPr>
          <p:cNvPr id="9" name="Graphic 8" descr="Open envelope">
            <a:extLst>
              <a:ext uri="{FF2B5EF4-FFF2-40B4-BE49-F238E27FC236}">
                <a16:creationId xmlns:a16="http://schemas.microsoft.com/office/drawing/2014/main" id="{6CF6DDF8-08B7-4D72-9D0B-2AEB9AC92A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847886"/>
            <a:ext cx="914400" cy="914400"/>
          </a:xfrm>
          <a:prstGeom prst="rect">
            <a:avLst/>
          </a:prstGeom>
        </p:spPr>
      </p:pic>
      <p:pic>
        <p:nvPicPr>
          <p:cNvPr id="22" name="Graphic 21" descr="Diploma">
            <a:extLst>
              <a:ext uri="{FF2B5EF4-FFF2-40B4-BE49-F238E27FC236}">
                <a16:creationId xmlns:a16="http://schemas.microsoft.com/office/drawing/2014/main" id="{95F41BE9-7895-4AE9-A224-918FC3E901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5301019"/>
            <a:ext cx="914400" cy="914400"/>
          </a:xfrm>
          <a:prstGeom prst="rect">
            <a:avLst/>
          </a:prstGeom>
        </p:spPr>
      </p:pic>
    </p:spTree>
    <p:custDataLst>
      <p:tags r:id="rId1"/>
    </p:custDataLst>
    <p:extLst>
      <p:ext uri="{BB962C8B-B14F-4D97-AF65-F5344CB8AC3E}">
        <p14:creationId xmlns:p14="http://schemas.microsoft.com/office/powerpoint/2010/main" val="409861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xit"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2"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1" grpId="0" animBg="1"/>
      <p:bldP spid="14" grpId="0" animBg="1"/>
      <p:bldP spid="14" grpId="1" animBg="1"/>
      <p:bldP spid="14" grpId="2"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FBA9A110-A740-4FA5-8B24-8362DBF793F4}"/>
              </a:ext>
            </a:extLst>
          </p:cNvPr>
          <p:cNvSpPr txBox="1">
            <a:spLocks/>
          </p:cNvSpPr>
          <p:nvPr/>
        </p:nvSpPr>
        <p:spPr>
          <a:xfrm>
            <a:off x="93783" y="645998"/>
            <a:ext cx="4889697"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xporting and Sharing</a:t>
            </a:r>
          </a:p>
        </p:txBody>
      </p:sp>
      <p:pic>
        <p:nvPicPr>
          <p:cNvPr id="10" name="Picture 9">
            <a:extLst>
              <a:ext uri="{FF2B5EF4-FFF2-40B4-BE49-F238E27FC236}">
                <a16:creationId xmlns:a16="http://schemas.microsoft.com/office/drawing/2014/main" id="{20DC986C-4621-4C00-A138-A427E37143C7}"/>
              </a:ext>
            </a:extLst>
          </p:cNvPr>
          <p:cNvPicPr>
            <a:picLocks noChangeAspect="1"/>
          </p:cNvPicPr>
          <p:nvPr/>
        </p:nvPicPr>
        <p:blipFill rotWithShape="1">
          <a:blip r:embed="rId4"/>
          <a:srcRect r="629"/>
          <a:stretch/>
        </p:blipFill>
        <p:spPr>
          <a:xfrm>
            <a:off x="175781" y="3643534"/>
            <a:ext cx="3682800" cy="2048904"/>
          </a:xfrm>
          <a:prstGeom prst="rect">
            <a:avLst/>
          </a:prstGeom>
        </p:spPr>
      </p:pic>
      <p:pic>
        <p:nvPicPr>
          <p:cNvPr id="11" name="Graphic 10" descr="Share">
            <a:extLst>
              <a:ext uri="{FF2B5EF4-FFF2-40B4-BE49-F238E27FC236}">
                <a16:creationId xmlns:a16="http://schemas.microsoft.com/office/drawing/2014/main" id="{1D711F5E-AE01-471E-8876-996BE1BFB6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846406"/>
            <a:ext cx="914400" cy="914400"/>
          </a:xfrm>
          <a:prstGeom prst="rect">
            <a:avLst/>
          </a:prstGeom>
        </p:spPr>
      </p:pic>
      <p:pic>
        <p:nvPicPr>
          <p:cNvPr id="12" name="Graphic 11" descr="Earth Globe Americas">
            <a:extLst>
              <a:ext uri="{FF2B5EF4-FFF2-40B4-BE49-F238E27FC236}">
                <a16:creationId xmlns:a16="http://schemas.microsoft.com/office/drawing/2014/main" id="{AFE45FDB-3A2F-44E9-96C3-F50FC3043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896610"/>
            <a:ext cx="914400" cy="914400"/>
          </a:xfrm>
          <a:prstGeom prst="rect">
            <a:avLst/>
          </a:prstGeom>
        </p:spPr>
      </p:pic>
      <p:pic>
        <p:nvPicPr>
          <p:cNvPr id="15" name="Graphic 14" descr="Download">
            <a:extLst>
              <a:ext uri="{FF2B5EF4-FFF2-40B4-BE49-F238E27FC236}">
                <a16:creationId xmlns:a16="http://schemas.microsoft.com/office/drawing/2014/main" id="{1CA2D78A-2091-4430-B787-172766D79D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9918" y="5301019"/>
            <a:ext cx="914400" cy="914400"/>
          </a:xfrm>
          <a:prstGeom prst="rect">
            <a:avLst/>
          </a:prstGeom>
        </p:spPr>
      </p:pic>
      <p:sp>
        <p:nvSpPr>
          <p:cNvPr id="17" name="Text Placeholder 3">
            <a:extLst>
              <a:ext uri="{FF2B5EF4-FFF2-40B4-BE49-F238E27FC236}">
                <a16:creationId xmlns:a16="http://schemas.microsoft.com/office/drawing/2014/main" id="{38667F39-FF9C-4AC6-86DC-06050C98F437}"/>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 can Edit</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sh to Web</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Data</a:t>
            </a:r>
          </a:p>
        </p:txBody>
      </p:sp>
      <p:pic>
        <p:nvPicPr>
          <p:cNvPr id="4" name="Graphic 3" descr="Pencil">
            <a:extLst>
              <a:ext uri="{FF2B5EF4-FFF2-40B4-BE49-F238E27FC236}">
                <a16:creationId xmlns:a16="http://schemas.microsoft.com/office/drawing/2014/main" id="{BA1E374D-96BD-43E4-95C1-15C4200EC2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2371508"/>
            <a:ext cx="914400" cy="914400"/>
          </a:xfrm>
          <a:prstGeom prst="rect">
            <a:avLst/>
          </a:prstGeom>
        </p:spPr>
      </p:pic>
      <p:sp>
        <p:nvSpPr>
          <p:cNvPr id="19" name="Title 2">
            <a:extLst>
              <a:ext uri="{FF2B5EF4-FFF2-40B4-BE49-F238E27FC236}">
                <a16:creationId xmlns:a16="http://schemas.microsoft.com/office/drawing/2014/main" id="{B6217F0B-B2FF-4F74-B103-C9218C0E1A02}"/>
              </a:ext>
            </a:extLst>
          </p:cNvPr>
          <p:cNvSpPr txBox="1">
            <a:spLocks/>
          </p:cNvSpPr>
          <p:nvPr/>
        </p:nvSpPr>
        <p:spPr>
          <a:xfrm>
            <a:off x="93783" y="2455371"/>
            <a:ext cx="2740159"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20" name="TextBox 19">
            <a:extLst>
              <a:ext uri="{FF2B5EF4-FFF2-40B4-BE49-F238E27FC236}">
                <a16:creationId xmlns:a16="http://schemas.microsoft.com/office/drawing/2014/main" id="{B47DFC83-9D41-42CF-AB9B-998DBC30DA7C}"/>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1" name="TextBox 20">
            <a:extLst>
              <a:ext uri="{FF2B5EF4-FFF2-40B4-BE49-F238E27FC236}">
                <a16:creationId xmlns:a16="http://schemas.microsoft.com/office/drawing/2014/main" id="{A1056918-4139-4C09-8B28-96FC6B1D8972}"/>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Tree>
    <p:custDataLst>
      <p:tags r:id="rId1"/>
    </p:custDataLst>
    <p:extLst>
      <p:ext uri="{BB962C8B-B14F-4D97-AF65-F5344CB8AC3E}">
        <p14:creationId xmlns:p14="http://schemas.microsoft.com/office/powerpoint/2010/main" val="104609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21"/>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ntroduction</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8922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1468459" y="153868"/>
            <a:ext cx="10408581" cy="2954655"/>
          </a:xfrm>
        </p:spPr>
        <p:txBody>
          <a:bodyPr/>
          <a:lstStyle/>
          <a:p>
            <a:r>
              <a:rPr lang="de-DE" sz="19200"/>
              <a:t> </a:t>
            </a:r>
            <a:r>
              <a:rPr lang="de-DE" sz="5400"/>
              <a:t> Data Culture</a:t>
            </a:r>
          </a:p>
        </p:txBody>
      </p:sp>
      <p:sp>
        <p:nvSpPr>
          <p:cNvPr id="3" name="Textfeld 2">
            <a:extLst>
              <a:ext uri="{FF2B5EF4-FFF2-40B4-BE49-F238E27FC236}">
                <a16:creationId xmlns:a16="http://schemas.microsoft.com/office/drawing/2014/main" id="{E838B62C-81F7-434A-A8F3-AE1F1F42FAF1}"/>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srgbClr val="000000"/>
                </a:solidFill>
                <a:effectLst/>
                <a:uLnTx/>
                <a:uFillTx/>
                <a:latin typeface="Segoe UI"/>
                <a:ea typeface="+mn-ea"/>
                <a:cs typeface="+mn-cs"/>
              </a:rPr>
              <a:t>1</a:t>
            </a:r>
            <a:endParaRPr kumimoji="0" lang="en-US" sz="20000" b="0" i="0" u="none" strike="noStrike" kern="1200" cap="none" spc="0" normalizeH="0" baseline="0" noProof="0" err="1">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2251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3FB3200-795A-4275-9B1A-4A475DDAD39B}"/>
              </a:ext>
            </a:extLst>
          </p:cNvPr>
          <p:cNvPicPr>
            <a:picLocks noChangeAspect="1"/>
          </p:cNvPicPr>
          <p:nvPr/>
        </p:nvPicPr>
        <p:blipFill>
          <a:blip r:embed="rId4"/>
          <a:stretch>
            <a:fillRect/>
          </a:stretch>
        </p:blipFill>
        <p:spPr>
          <a:xfrm>
            <a:off x="178362" y="3661440"/>
            <a:ext cx="3724446" cy="1810011"/>
          </a:xfrm>
          <a:prstGeom prst="rect">
            <a:avLst/>
          </a:prstGeom>
        </p:spPr>
      </p:pic>
      <p:sp>
        <p:nvSpPr>
          <p:cNvPr id="16" name="Title 6">
            <a:extLst>
              <a:ext uri="{FF2B5EF4-FFF2-40B4-BE49-F238E27FC236}">
                <a16:creationId xmlns:a16="http://schemas.microsoft.com/office/drawing/2014/main" id="{62EA7388-4E91-41EA-AD84-94270CAA7D00}"/>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ntent Pack and Apps</a:t>
            </a:r>
          </a:p>
        </p:txBody>
      </p:sp>
      <p:sp>
        <p:nvSpPr>
          <p:cNvPr id="17" name="Title 2">
            <a:extLst>
              <a:ext uri="{FF2B5EF4-FFF2-40B4-BE49-F238E27FC236}">
                <a16:creationId xmlns:a16="http://schemas.microsoft.com/office/drawing/2014/main" id="{B8585B0F-1E6B-4E86-AF26-51E6519AFE2E}"/>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9" name="Text Placeholder 3">
            <a:extLst>
              <a:ext uri="{FF2B5EF4-FFF2-40B4-BE49-F238E27FC236}">
                <a16:creationId xmlns:a16="http://schemas.microsoft.com/office/drawing/2014/main" id="{58F5A8C3-647C-4140-861B-D0B587E53C01}"/>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ntire Organisation</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mplate Ap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sh Apps</a:t>
            </a:r>
          </a:p>
        </p:txBody>
      </p:sp>
      <p:sp>
        <p:nvSpPr>
          <p:cNvPr id="11" name="TextBox 10">
            <a:extLst>
              <a:ext uri="{FF2B5EF4-FFF2-40B4-BE49-F238E27FC236}">
                <a16:creationId xmlns:a16="http://schemas.microsoft.com/office/drawing/2014/main" id="{C6606D51-3E0A-4860-A541-395F32863DD1}"/>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2" name="TextBox 11">
            <a:extLst>
              <a:ext uri="{FF2B5EF4-FFF2-40B4-BE49-F238E27FC236}">
                <a16:creationId xmlns:a16="http://schemas.microsoft.com/office/drawing/2014/main" id="{C7E7C910-C16C-4A56-B172-CAF2AA5B101D}"/>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3" name="Graphic 2" descr="Cheers">
            <a:extLst>
              <a:ext uri="{FF2B5EF4-FFF2-40B4-BE49-F238E27FC236}">
                <a16:creationId xmlns:a16="http://schemas.microsoft.com/office/drawing/2014/main" id="{4B899325-028B-403A-8C90-41BB2FF7D52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57400"/>
            <a:ext cx="914400" cy="914400"/>
          </a:xfrm>
          <a:prstGeom prst="rect">
            <a:avLst/>
          </a:prstGeom>
        </p:spPr>
      </p:pic>
      <p:pic>
        <p:nvPicPr>
          <p:cNvPr id="5" name="Graphic 4" descr="Arrow Slight curve">
            <a:extLst>
              <a:ext uri="{FF2B5EF4-FFF2-40B4-BE49-F238E27FC236}">
                <a16:creationId xmlns:a16="http://schemas.microsoft.com/office/drawing/2014/main" id="{2725E45E-B1B9-4F97-B88E-0F7A31341F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686200"/>
            <a:ext cx="914400" cy="914400"/>
          </a:xfrm>
          <a:prstGeom prst="rect">
            <a:avLst/>
          </a:prstGeom>
        </p:spPr>
      </p:pic>
      <p:pic>
        <p:nvPicPr>
          <p:cNvPr id="10" name="Graphic 9" descr="Puzzle pieces">
            <a:extLst>
              <a:ext uri="{FF2B5EF4-FFF2-40B4-BE49-F238E27FC236}">
                <a16:creationId xmlns:a16="http://schemas.microsoft.com/office/drawing/2014/main" id="{FE769018-1B3F-4289-9AC4-0F0148FE05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2869509"/>
            <a:ext cx="914400" cy="914400"/>
          </a:xfrm>
          <a:prstGeom prst="rect">
            <a:avLst/>
          </a:prstGeom>
        </p:spPr>
      </p:pic>
    </p:spTree>
    <p:custDataLst>
      <p:tags r:id="rId1"/>
    </p:custDataLst>
    <p:extLst>
      <p:ext uri="{BB962C8B-B14F-4D97-AF65-F5344CB8AC3E}">
        <p14:creationId xmlns:p14="http://schemas.microsoft.com/office/powerpoint/2010/main" val="396679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EF6151-7532-48FF-9689-630C168281A7}"/>
              </a:ext>
            </a:extLst>
          </p:cNvPr>
          <p:cNvPicPr>
            <a:picLocks noChangeAspect="1"/>
          </p:cNvPicPr>
          <p:nvPr/>
        </p:nvPicPr>
        <p:blipFill>
          <a:blip r:embed="rId4"/>
          <a:stretch>
            <a:fillRect/>
          </a:stretch>
        </p:blipFill>
        <p:spPr>
          <a:xfrm>
            <a:off x="178363" y="3661440"/>
            <a:ext cx="3724446" cy="2293931"/>
          </a:xfrm>
          <a:prstGeom prst="rect">
            <a:avLst/>
          </a:prstGeom>
        </p:spPr>
      </p:pic>
      <p:sp>
        <p:nvSpPr>
          <p:cNvPr id="10" name="Title 6">
            <a:extLst>
              <a:ext uri="{FF2B5EF4-FFF2-40B4-BE49-F238E27FC236}">
                <a16:creationId xmlns:a16="http://schemas.microsoft.com/office/drawing/2014/main" id="{5C73D42A-8E9A-4244-AC95-F89F3A6BA3C9}"/>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gration</a:t>
            </a:r>
          </a:p>
        </p:txBody>
      </p:sp>
      <p:sp>
        <p:nvSpPr>
          <p:cNvPr id="11" name="Title 2">
            <a:extLst>
              <a:ext uri="{FF2B5EF4-FFF2-40B4-BE49-F238E27FC236}">
                <a16:creationId xmlns:a16="http://schemas.microsoft.com/office/drawing/2014/main" id="{FE74DC69-6C29-4978-8BF2-23AFB2E1D894}"/>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2" name="TextBox 11">
            <a:extLst>
              <a:ext uri="{FF2B5EF4-FFF2-40B4-BE49-F238E27FC236}">
                <a16:creationId xmlns:a16="http://schemas.microsoft.com/office/drawing/2014/main" id="{E60EEA3B-D6F4-4308-9A36-E89CDB512240}"/>
              </a:ext>
            </a:extLst>
          </p:cNvPr>
          <p:cNvSpPr txBox="1"/>
          <p:nvPr/>
        </p:nvSpPr>
        <p:spPr>
          <a:xfrm>
            <a:off x="-18561"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pic>
        <p:nvPicPr>
          <p:cNvPr id="7" name="Graphic 6" descr="Table">
            <a:extLst>
              <a:ext uri="{FF2B5EF4-FFF2-40B4-BE49-F238E27FC236}">
                <a16:creationId xmlns:a16="http://schemas.microsoft.com/office/drawing/2014/main" id="{CEA13E37-27A3-4317-8313-445558252E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141709"/>
            <a:ext cx="914400" cy="914400"/>
          </a:xfrm>
          <a:prstGeom prst="rect">
            <a:avLst/>
          </a:prstGeom>
        </p:spPr>
      </p:pic>
      <p:sp>
        <p:nvSpPr>
          <p:cNvPr id="13" name="Text Placeholder 3">
            <a:extLst>
              <a:ext uri="{FF2B5EF4-FFF2-40B4-BE49-F238E27FC236}">
                <a16:creationId xmlns:a16="http://schemas.microsoft.com/office/drawing/2014/main" id="{973D65CB-73C3-4298-9BAE-837A5C9781D0}"/>
              </a:ext>
            </a:extLst>
          </p:cNvPr>
          <p:cNvSpPr txBox="1">
            <a:spLocks/>
          </p:cNvSpPr>
          <p:nvPr/>
        </p:nvSpPr>
        <p:spPr>
          <a:xfrm>
            <a:off x="6703088" y="917355"/>
            <a:ext cx="4980404" cy="4638065"/>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err="1">
                <a:ln>
                  <a:noFill/>
                </a:ln>
                <a:solidFill>
                  <a:prstClr val="black"/>
                </a:solidFill>
                <a:effectLst/>
                <a:uLnTx/>
                <a:uFillTx/>
                <a:latin typeface="Segoe UI Light"/>
                <a:ea typeface="+mn-ea"/>
                <a:cs typeface="+mn-cs"/>
              </a:rPr>
              <a:t>Analyze</a:t>
            </a:r>
            <a:r>
              <a:rPr kumimoji="0" lang="en-GB" sz="3600" b="0" i="0" u="none" strike="noStrike" kern="1200" cap="none" spc="0" normalizeH="0" baseline="0" noProof="0">
                <a:ln>
                  <a:noFill/>
                </a:ln>
                <a:solidFill>
                  <a:prstClr val="black"/>
                </a:solidFill>
                <a:effectLst/>
                <a:uLnTx/>
                <a:uFillTx/>
                <a:latin typeface="Segoe UI Light"/>
                <a:ea typeface="+mn-ea"/>
                <a:cs typeface="+mn-cs"/>
              </a:rPr>
              <a:t> in Excel with On-Premises Dataset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err="1">
                <a:ln>
                  <a:noFill/>
                </a:ln>
                <a:solidFill>
                  <a:prstClr val="black"/>
                </a:solidFill>
                <a:effectLst/>
                <a:uLnTx/>
                <a:uFillTx/>
                <a:latin typeface="Segoe UI Light"/>
                <a:ea typeface="+mn-ea"/>
                <a:cs typeface="+mn-cs"/>
              </a:rPr>
              <a:t>ArcGiS</a:t>
            </a:r>
            <a:r>
              <a:rPr kumimoji="0" lang="en-GB" sz="3600" b="0" i="0" u="none" strike="noStrike" kern="1200" cap="none" spc="0" normalizeH="0" baseline="0" noProof="0">
                <a:ln>
                  <a:noFill/>
                </a:ln>
                <a:solidFill>
                  <a:prstClr val="black"/>
                </a:solidFill>
                <a:effectLst/>
                <a:uLnTx/>
                <a:uFillTx/>
                <a:latin typeface="Segoe UI Light"/>
                <a:ea typeface="+mn-ea"/>
                <a:cs typeface="+mn-cs"/>
              </a:rPr>
              <a:t> Ma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Global Search</a:t>
            </a:r>
          </a:p>
        </p:txBody>
      </p:sp>
      <p:pic>
        <p:nvPicPr>
          <p:cNvPr id="3" name="Graphic 2" descr="Map with pin">
            <a:extLst>
              <a:ext uri="{FF2B5EF4-FFF2-40B4-BE49-F238E27FC236}">
                <a16:creationId xmlns:a16="http://schemas.microsoft.com/office/drawing/2014/main" id="{5533A3B7-A2D8-4269-A9D0-49ACCBFE61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891364"/>
            <a:ext cx="914400" cy="914400"/>
          </a:xfrm>
          <a:prstGeom prst="rect">
            <a:avLst/>
          </a:prstGeom>
        </p:spPr>
      </p:pic>
      <p:pic>
        <p:nvPicPr>
          <p:cNvPr id="5" name="Graphic 4" descr="Magnifying glass">
            <a:extLst>
              <a:ext uri="{FF2B5EF4-FFF2-40B4-BE49-F238E27FC236}">
                <a16:creationId xmlns:a16="http://schemas.microsoft.com/office/drawing/2014/main" id="{750E9BAA-A26D-4A56-8CA4-3BF817907A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641020"/>
            <a:ext cx="914400" cy="914400"/>
          </a:xfrm>
          <a:prstGeom prst="rect">
            <a:avLst/>
          </a:prstGeom>
        </p:spPr>
      </p:pic>
    </p:spTree>
    <p:custDataLst>
      <p:tags r:id="rId1"/>
    </p:custDataLst>
    <p:extLst>
      <p:ext uri="{BB962C8B-B14F-4D97-AF65-F5344CB8AC3E}">
        <p14:creationId xmlns:p14="http://schemas.microsoft.com/office/powerpoint/2010/main" val="3053825717"/>
      </p:ext>
    </p:extLst>
  </p:cSld>
  <p:clrMapOvr>
    <a:masterClrMapping/>
  </p:clrMapOvr>
  <mc:AlternateContent xmlns:mc="http://schemas.openxmlformats.org/markup-compatibility/2006" xmlns:p14="http://schemas.microsoft.com/office/powerpoint/2010/main">
    <mc:Choice Requires="p14">
      <p:transition spd="med" p14:dur="700" advTm="132430">
        <p:fade/>
      </p:transition>
    </mc:Choice>
    <mc:Fallback xmlns="">
      <p:transition spd="med" advTm="13243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235900E8-3E6B-4758-8788-C70B06AFE42C}"/>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2" name="Title 6">
            <a:extLst>
              <a:ext uri="{FF2B5EF4-FFF2-40B4-BE49-F238E27FC236}">
                <a16:creationId xmlns:a16="http://schemas.microsoft.com/office/drawing/2014/main" id="{EECC72F5-E12A-4F8B-9095-E252973FA8EC}"/>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ustom Visuals</a:t>
            </a:r>
          </a:p>
        </p:txBody>
      </p:sp>
      <p:pic>
        <p:nvPicPr>
          <p:cNvPr id="10246" name="Picture 6" descr="https://docs.microsoft.com/en-us/power-bi/media/power-bi-custom-visuals/power-bi-visual-org-03.png">
            <a:extLst>
              <a:ext uri="{FF2B5EF4-FFF2-40B4-BE49-F238E27FC236}">
                <a16:creationId xmlns:a16="http://schemas.microsoft.com/office/drawing/2014/main" id="{A673EB8F-98F3-4686-96EA-24F35B6C2DB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3874" y="3645803"/>
            <a:ext cx="2418196" cy="1954897"/>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https://docs.microsoft.com/en-us/power-bi/media/power-bi-custom-visuals/power-bi-visual-org-02.png">
            <a:extLst>
              <a:ext uri="{FF2B5EF4-FFF2-40B4-BE49-F238E27FC236}">
                <a16:creationId xmlns:a16="http://schemas.microsoft.com/office/drawing/2014/main" id="{5B7683C8-6C3B-42F0-A2F0-1DE8241B9B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3756" y="3645803"/>
            <a:ext cx="2490864" cy="175443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Ribbon">
            <a:extLst>
              <a:ext uri="{FF2B5EF4-FFF2-40B4-BE49-F238E27FC236}">
                <a16:creationId xmlns:a16="http://schemas.microsoft.com/office/drawing/2014/main" id="{74B0FEB3-2E83-4DA9-B40D-D201101DB5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303853"/>
            <a:ext cx="914400" cy="914400"/>
          </a:xfrm>
          <a:prstGeom prst="rect">
            <a:avLst/>
          </a:prstGeom>
        </p:spPr>
      </p:pic>
      <p:pic>
        <p:nvPicPr>
          <p:cNvPr id="21" name="Graphic 20" descr="Gauge">
            <a:extLst>
              <a:ext uri="{FF2B5EF4-FFF2-40B4-BE49-F238E27FC236}">
                <a16:creationId xmlns:a16="http://schemas.microsoft.com/office/drawing/2014/main" id="{9C3ECBB6-3633-4AA7-9B54-C791248EDF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798455"/>
            <a:ext cx="914400" cy="914400"/>
          </a:xfrm>
          <a:prstGeom prst="rect">
            <a:avLst/>
          </a:prstGeom>
        </p:spPr>
      </p:pic>
      <p:sp>
        <p:nvSpPr>
          <p:cNvPr id="15" name="Title 2">
            <a:extLst>
              <a:ext uri="{FF2B5EF4-FFF2-40B4-BE49-F238E27FC236}">
                <a16:creationId xmlns:a16="http://schemas.microsoft.com/office/drawing/2014/main" id="{F464BBA6-C57E-42D5-A617-B4A115015702}"/>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18" name="TextBox 17">
            <a:extLst>
              <a:ext uri="{FF2B5EF4-FFF2-40B4-BE49-F238E27FC236}">
                <a16:creationId xmlns:a16="http://schemas.microsoft.com/office/drawing/2014/main" id="{096F336E-45D5-431A-ADD1-03F8A7B4FB4C}"/>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20" name="TextBox 19">
            <a:extLst>
              <a:ext uri="{FF2B5EF4-FFF2-40B4-BE49-F238E27FC236}">
                <a16:creationId xmlns:a16="http://schemas.microsoft.com/office/drawing/2014/main" id="{87E74059-1BA7-4A62-BF71-09FCE8D75200}"/>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6" name="Graphic 5" descr="Building">
            <a:extLst>
              <a:ext uri="{FF2B5EF4-FFF2-40B4-BE49-F238E27FC236}">
                <a16:creationId xmlns:a16="http://schemas.microsoft.com/office/drawing/2014/main" id="{79EFCF40-A097-407E-872D-BFAAF52797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3809251"/>
            <a:ext cx="914400" cy="914400"/>
          </a:xfrm>
          <a:prstGeom prst="rect">
            <a:avLst/>
          </a:prstGeom>
        </p:spPr>
      </p:pic>
      <p:sp>
        <p:nvSpPr>
          <p:cNvPr id="23" name="Text Placeholder 3">
            <a:extLst>
              <a:ext uri="{FF2B5EF4-FFF2-40B4-BE49-F238E27FC236}">
                <a16:creationId xmlns:a16="http://schemas.microsoft.com/office/drawing/2014/main" id="{65D6ADDC-070E-4490-9186-3E8CAC2D19BB}"/>
              </a:ext>
            </a:extLst>
          </p:cNvPr>
          <p:cNvSpPr txBox="1">
            <a:spLocks/>
          </p:cNvSpPr>
          <p:nvPr/>
        </p:nvSpPr>
        <p:spPr>
          <a:xfrm>
            <a:off x="6704345" y="307550"/>
            <a:ext cx="5324510" cy="592610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ustom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ied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rganisational Visuals</a:t>
            </a:r>
          </a:p>
          <a:p>
            <a:pPr marL="0" marR="0" lvl="0" indent="0" algn="l" defTabSz="914367" rtl="0" eaLnBrk="1" fontAlgn="auto" latinLnBrk="0" hangingPunct="1">
              <a:lnSpc>
                <a:spcPct val="2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 Visuals</a:t>
            </a:r>
          </a:p>
        </p:txBody>
      </p:sp>
      <p:sp>
        <p:nvSpPr>
          <p:cNvPr id="8" name="TextBox 7">
            <a:extLst>
              <a:ext uri="{FF2B5EF4-FFF2-40B4-BE49-F238E27FC236}">
                <a16:creationId xmlns:a16="http://schemas.microsoft.com/office/drawing/2014/main" id="{F6E47818-1A05-4A79-9448-BF1542188C36}"/>
              </a:ext>
            </a:extLst>
          </p:cNvPr>
          <p:cNvSpPr txBox="1"/>
          <p:nvPr/>
        </p:nvSpPr>
        <p:spPr>
          <a:xfrm>
            <a:off x="5718909" y="5324564"/>
            <a:ext cx="606576" cy="909095"/>
          </a:xfrm>
          <a:prstGeom prst="rect">
            <a:avLst/>
          </a:prstGeom>
          <a:solidFill>
            <a:schemeClr val="bg1"/>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4400" b="0" i="0" u="none" strike="noStrike" kern="1200" cap="none" spc="0" normalizeH="0" baseline="0" noProof="0">
                <a:ln>
                  <a:noFill/>
                </a:ln>
                <a:gradFill>
                  <a:gsLst>
                    <a:gs pos="2917">
                      <a:prstClr val="black"/>
                    </a:gs>
                    <a:gs pos="30000">
                      <a:prstClr val="black"/>
                    </a:gs>
                  </a:gsLst>
                  <a:lin ang="5400000" scaled="0"/>
                </a:gradFill>
                <a:effectLst/>
                <a:uLnTx/>
                <a:uFillTx/>
                <a:latin typeface="Castellar" panose="020A0402060406010301" pitchFamily="18" charset="0"/>
                <a:ea typeface="+mn-ea"/>
                <a:cs typeface="+mn-cs"/>
              </a:rPr>
              <a:t>R</a:t>
            </a:r>
            <a:endParaRPr kumimoji="0" lang="en-GB" sz="2400" b="0" i="0" u="none" strike="noStrike" kern="1200" cap="none" spc="0" normalizeH="0" baseline="0" noProof="0">
              <a:ln>
                <a:noFill/>
              </a:ln>
              <a:gradFill>
                <a:gsLst>
                  <a:gs pos="2917">
                    <a:prstClr val="black"/>
                  </a:gs>
                  <a:gs pos="30000">
                    <a:prstClr val="black"/>
                  </a:gs>
                </a:gsLst>
                <a:lin ang="5400000" scaled="0"/>
              </a:gradFill>
              <a:effectLst/>
              <a:uLnTx/>
              <a:uFillTx/>
              <a:latin typeface="Castellar" panose="020A0402060406010301" pitchFamily="18" charset="0"/>
              <a:ea typeface="+mn-ea"/>
              <a:cs typeface="+mn-cs"/>
            </a:endParaRPr>
          </a:p>
        </p:txBody>
      </p:sp>
    </p:spTree>
    <p:custDataLst>
      <p:tags r:id="rId1"/>
    </p:custDataLst>
    <p:extLst>
      <p:ext uri="{BB962C8B-B14F-4D97-AF65-F5344CB8AC3E}">
        <p14:creationId xmlns:p14="http://schemas.microsoft.com/office/powerpoint/2010/main" val="2170939979"/>
      </p:ext>
    </p:extLst>
  </p:cSld>
  <p:clrMapOvr>
    <a:masterClrMapping/>
  </p:clrMapOvr>
  <mc:AlternateContent xmlns:mc="http://schemas.openxmlformats.org/markup-compatibility/2006" xmlns:p14="http://schemas.microsoft.com/office/powerpoint/2010/main">
    <mc:Choice Requires="p14">
      <p:transition spd="med" p14:dur="700" advTm="165075">
        <p:fade/>
      </p:transition>
    </mc:Choice>
    <mc:Fallback xmlns="">
      <p:transition spd="med" advTm="16507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2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0" grpId="1" animBg="1"/>
      <p:bldP spid="8" grpId="0" animBg="1"/>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B4F1A2E0-D3AC-4775-9C0C-B0592C9BF341}"/>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9" name="Title 6">
            <a:extLst>
              <a:ext uri="{FF2B5EF4-FFF2-40B4-BE49-F238E27FC236}">
                <a16:creationId xmlns:a16="http://schemas.microsoft.com/office/drawing/2014/main" id="{8B1E6764-2E55-410B-8CED-E4A4726AB493}"/>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udit and Usage</a:t>
            </a:r>
          </a:p>
        </p:txBody>
      </p:sp>
      <p:sp>
        <p:nvSpPr>
          <p:cNvPr id="11" name="TextBox 10">
            <a:extLst>
              <a:ext uri="{FF2B5EF4-FFF2-40B4-BE49-F238E27FC236}">
                <a16:creationId xmlns:a16="http://schemas.microsoft.com/office/drawing/2014/main" id="{99268C11-79C5-41AF-B47B-FEA0A3DD7B4E}"/>
              </a:ext>
            </a:extLst>
          </p:cNvPr>
          <p:cNvSpPr txBox="1"/>
          <p:nvPr/>
        </p:nvSpPr>
        <p:spPr>
          <a:xfrm>
            <a:off x="-18561" y="5901487"/>
            <a:ext cx="259109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pic>
        <p:nvPicPr>
          <p:cNvPr id="12" name="Picture 11">
            <a:extLst>
              <a:ext uri="{FF2B5EF4-FFF2-40B4-BE49-F238E27FC236}">
                <a16:creationId xmlns:a16="http://schemas.microsoft.com/office/drawing/2014/main" id="{2E7F0D57-CE00-4C44-8C37-61A79D712A75}"/>
              </a:ext>
            </a:extLst>
          </p:cNvPr>
          <p:cNvPicPr>
            <a:picLocks noChangeAspect="1"/>
          </p:cNvPicPr>
          <p:nvPr/>
        </p:nvPicPr>
        <p:blipFill>
          <a:blip r:embed="rId4"/>
          <a:stretch>
            <a:fillRect/>
          </a:stretch>
        </p:blipFill>
        <p:spPr>
          <a:xfrm>
            <a:off x="191082" y="3819407"/>
            <a:ext cx="3490841" cy="1900520"/>
          </a:xfrm>
          <a:prstGeom prst="rect">
            <a:avLst/>
          </a:prstGeom>
        </p:spPr>
      </p:pic>
      <p:sp>
        <p:nvSpPr>
          <p:cNvPr id="13" name="Text Placeholder 3">
            <a:extLst>
              <a:ext uri="{FF2B5EF4-FFF2-40B4-BE49-F238E27FC236}">
                <a16:creationId xmlns:a16="http://schemas.microsoft.com/office/drawing/2014/main" id="{171D6BA2-1DAF-4335-ABAB-910DD022D0E8}"/>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eate Audit Log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age Metric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er-user Usage Metrics</a:t>
            </a:r>
          </a:p>
        </p:txBody>
      </p:sp>
      <p:pic>
        <p:nvPicPr>
          <p:cNvPr id="3" name="Graphic 2" descr="Research">
            <a:extLst>
              <a:ext uri="{FF2B5EF4-FFF2-40B4-BE49-F238E27FC236}">
                <a16:creationId xmlns:a16="http://schemas.microsoft.com/office/drawing/2014/main" id="{91EE695D-8A94-425C-B9A3-B5E256A9006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55915"/>
            <a:ext cx="914400" cy="914400"/>
          </a:xfrm>
          <a:prstGeom prst="rect">
            <a:avLst/>
          </a:prstGeom>
        </p:spPr>
      </p:pic>
      <p:pic>
        <p:nvPicPr>
          <p:cNvPr id="5" name="Graphic 4" descr="Statistics">
            <a:extLst>
              <a:ext uri="{FF2B5EF4-FFF2-40B4-BE49-F238E27FC236}">
                <a16:creationId xmlns:a16="http://schemas.microsoft.com/office/drawing/2014/main" id="{EF1A98F7-3BE5-4F27-B8EC-1782E3BB35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41927" y="2905007"/>
            <a:ext cx="914400" cy="914400"/>
          </a:xfrm>
          <a:prstGeom prst="rect">
            <a:avLst/>
          </a:prstGeom>
        </p:spPr>
      </p:pic>
      <p:pic>
        <p:nvPicPr>
          <p:cNvPr id="14" name="Graphic 13" descr="Target Audience">
            <a:extLst>
              <a:ext uri="{FF2B5EF4-FFF2-40B4-BE49-F238E27FC236}">
                <a16:creationId xmlns:a16="http://schemas.microsoft.com/office/drawing/2014/main" id="{B9A1AA98-E085-42F5-B518-006711DD84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687686"/>
            <a:ext cx="914400" cy="914400"/>
          </a:xfrm>
          <a:prstGeom prst="rect">
            <a:avLst/>
          </a:prstGeom>
        </p:spPr>
      </p:pic>
      <p:sp>
        <p:nvSpPr>
          <p:cNvPr id="17" name="Title 2">
            <a:extLst>
              <a:ext uri="{FF2B5EF4-FFF2-40B4-BE49-F238E27FC236}">
                <a16:creationId xmlns:a16="http://schemas.microsoft.com/office/drawing/2014/main" id="{43AE74C4-5A45-4D39-BFDD-A1C28285925B}"/>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Tree>
    <p:custDataLst>
      <p:tags r:id="rId1"/>
    </p:custDataLst>
    <p:extLst>
      <p:ext uri="{BB962C8B-B14F-4D97-AF65-F5344CB8AC3E}">
        <p14:creationId xmlns:p14="http://schemas.microsoft.com/office/powerpoint/2010/main" val="371673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a:extLst>
              <a:ext uri="{FF2B5EF4-FFF2-40B4-BE49-F238E27FC236}">
                <a16:creationId xmlns:a16="http://schemas.microsoft.com/office/drawing/2014/main" id="{774FA52D-E4BC-4135-83B6-412354E5ABE2}"/>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eveloper</a:t>
            </a:r>
          </a:p>
        </p:txBody>
      </p:sp>
      <p:sp>
        <p:nvSpPr>
          <p:cNvPr id="15" name="Title 2">
            <a:extLst>
              <a:ext uri="{FF2B5EF4-FFF2-40B4-BE49-F238E27FC236}">
                <a16:creationId xmlns:a16="http://schemas.microsoft.com/office/drawing/2014/main" id="{CA447A4C-8489-4C66-AF08-6DEE4692A806}"/>
              </a:ext>
            </a:extLst>
          </p:cNvPr>
          <p:cNvSpPr txBox="1">
            <a:spLocks/>
          </p:cNvSpPr>
          <p:nvPr/>
        </p:nvSpPr>
        <p:spPr>
          <a:xfrm>
            <a:off x="93783" y="2455371"/>
            <a:ext cx="3809025"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grpSp>
        <p:nvGrpSpPr>
          <p:cNvPr id="19" name="Group 18">
            <a:extLst>
              <a:ext uri="{FF2B5EF4-FFF2-40B4-BE49-F238E27FC236}">
                <a16:creationId xmlns:a16="http://schemas.microsoft.com/office/drawing/2014/main" id="{66C4DC66-B26D-4B70-91B5-A027797E9CDF}"/>
              </a:ext>
            </a:extLst>
          </p:cNvPr>
          <p:cNvGrpSpPr/>
          <p:nvPr/>
        </p:nvGrpSpPr>
        <p:grpSpPr>
          <a:xfrm>
            <a:off x="194842" y="3553768"/>
            <a:ext cx="3340320" cy="2098408"/>
            <a:chOff x="8021285" y="3799695"/>
            <a:chExt cx="4072494" cy="2558364"/>
          </a:xfrm>
        </p:grpSpPr>
        <p:grpSp>
          <p:nvGrpSpPr>
            <p:cNvPr id="21" name="Group 20">
              <a:extLst>
                <a:ext uri="{FF2B5EF4-FFF2-40B4-BE49-F238E27FC236}">
                  <a16:creationId xmlns:a16="http://schemas.microsoft.com/office/drawing/2014/main" id="{423BDC14-5FAA-430D-B8D9-AA700CA6E02B}"/>
                </a:ext>
              </a:extLst>
            </p:cNvPr>
            <p:cNvGrpSpPr/>
            <p:nvPr/>
          </p:nvGrpSpPr>
          <p:grpSpPr>
            <a:xfrm>
              <a:off x="8021285" y="3799695"/>
              <a:ext cx="3842187" cy="2374598"/>
              <a:chOff x="3758108" y="3882044"/>
              <a:chExt cx="4537730" cy="2804466"/>
            </a:xfrm>
          </p:grpSpPr>
          <p:pic>
            <p:nvPicPr>
              <p:cNvPr id="79" name="Picture 78">
                <a:extLst>
                  <a:ext uri="{FF2B5EF4-FFF2-40B4-BE49-F238E27FC236}">
                    <a16:creationId xmlns:a16="http://schemas.microsoft.com/office/drawing/2014/main" id="{A65C0B43-AAD5-4D78-8C02-482414955B9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758108" y="3882044"/>
                <a:ext cx="4537730" cy="2804466"/>
              </a:xfrm>
              <a:prstGeom prst="rect">
                <a:avLst/>
              </a:prstGeom>
            </p:spPr>
          </p:pic>
          <p:grpSp>
            <p:nvGrpSpPr>
              <p:cNvPr id="80" name="Group 79">
                <a:extLst>
                  <a:ext uri="{FF2B5EF4-FFF2-40B4-BE49-F238E27FC236}">
                    <a16:creationId xmlns:a16="http://schemas.microsoft.com/office/drawing/2014/main" id="{BA43880B-C1E4-43A1-A9D1-A661ADE7E4BA}"/>
                  </a:ext>
                </a:extLst>
              </p:cNvPr>
              <p:cNvGrpSpPr/>
              <p:nvPr/>
            </p:nvGrpSpPr>
            <p:grpSpPr>
              <a:xfrm>
                <a:off x="4252895" y="4071186"/>
                <a:ext cx="3841310" cy="2266377"/>
                <a:chOff x="6002958" y="2837999"/>
                <a:chExt cx="3841310" cy="2266377"/>
              </a:xfrm>
            </p:grpSpPr>
            <p:grpSp>
              <p:nvGrpSpPr>
                <p:cNvPr id="81" name="Group 80">
                  <a:extLst>
                    <a:ext uri="{FF2B5EF4-FFF2-40B4-BE49-F238E27FC236}">
                      <a16:creationId xmlns:a16="http://schemas.microsoft.com/office/drawing/2014/main" id="{30D1BBDE-55B0-4DD2-802C-C7BEF694BDA9}"/>
                    </a:ext>
                  </a:extLst>
                </p:cNvPr>
                <p:cNvGrpSpPr/>
                <p:nvPr/>
              </p:nvGrpSpPr>
              <p:grpSpPr>
                <a:xfrm>
                  <a:off x="6120567" y="4104149"/>
                  <a:ext cx="2404209" cy="1000227"/>
                  <a:chOff x="-2653979" y="2374677"/>
                  <a:chExt cx="2208776" cy="2382439"/>
                </a:xfrm>
              </p:grpSpPr>
              <p:sp>
                <p:nvSpPr>
                  <p:cNvPr id="103" name="Rectangle 102">
                    <a:extLst>
                      <a:ext uri="{FF2B5EF4-FFF2-40B4-BE49-F238E27FC236}">
                        <a16:creationId xmlns:a16="http://schemas.microsoft.com/office/drawing/2014/main" id="{6349D9FF-9538-4791-81ED-8924E9A3C37D}"/>
                      </a:ext>
                    </a:extLst>
                  </p:cNvPr>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04" name="Group 103">
                    <a:extLst>
                      <a:ext uri="{FF2B5EF4-FFF2-40B4-BE49-F238E27FC236}">
                        <a16:creationId xmlns:a16="http://schemas.microsoft.com/office/drawing/2014/main" id="{FD9F3080-A373-4E4F-B0A4-D7FEB64522DB}"/>
                      </a:ext>
                    </a:extLst>
                  </p:cNvPr>
                  <p:cNvGrpSpPr/>
                  <p:nvPr/>
                </p:nvGrpSpPr>
                <p:grpSpPr>
                  <a:xfrm>
                    <a:off x="-2519788" y="2374677"/>
                    <a:ext cx="1920244" cy="785213"/>
                    <a:chOff x="578918" y="4230914"/>
                    <a:chExt cx="1836673" cy="785213"/>
                  </a:xfrm>
                </p:grpSpPr>
                <p:cxnSp>
                  <p:nvCxnSpPr>
                    <p:cNvPr id="105" name="Straight Connector 104">
                      <a:extLst>
                        <a:ext uri="{FF2B5EF4-FFF2-40B4-BE49-F238E27FC236}">
                          <a16:creationId xmlns:a16="http://schemas.microsoft.com/office/drawing/2014/main" id="{A6E3DE4A-F6AE-4A50-8410-A2C9BDE404EA}"/>
                        </a:ext>
                      </a:extLst>
                    </p:cNvPr>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0621979-9141-4745-A784-51623793D8BF}"/>
                        </a:ext>
                      </a:extLst>
                    </p:cNvPr>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D0577285-FA7E-4CDA-A5A0-4274C9B9A7D8}"/>
                        </a:ext>
                      </a:extLst>
                    </p:cNvPr>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12F8F49-EF10-4332-89A3-83F2D5890CC6}"/>
                        </a:ext>
                      </a:extLst>
                    </p:cNvPr>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4D3A73-8C4B-4022-9577-5BFEC918CB65}"/>
                        </a:ext>
                      </a:extLst>
                    </p:cNvPr>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2" name="Group 81">
                  <a:extLst>
                    <a:ext uri="{FF2B5EF4-FFF2-40B4-BE49-F238E27FC236}">
                      <a16:creationId xmlns:a16="http://schemas.microsoft.com/office/drawing/2014/main" id="{AA8F2E76-97E5-4F04-9BCA-2E34ED2C5F1C}"/>
                    </a:ext>
                  </a:extLst>
                </p:cNvPr>
                <p:cNvGrpSpPr/>
                <p:nvPr/>
              </p:nvGrpSpPr>
              <p:grpSpPr>
                <a:xfrm>
                  <a:off x="8524776" y="2950602"/>
                  <a:ext cx="1319492" cy="2153773"/>
                  <a:chOff x="-4889270" y="1105572"/>
                  <a:chExt cx="2116442" cy="3651543"/>
                </a:xfrm>
              </p:grpSpPr>
              <p:sp>
                <p:nvSpPr>
                  <p:cNvPr id="87" name="Rectangle 86">
                    <a:extLst>
                      <a:ext uri="{FF2B5EF4-FFF2-40B4-BE49-F238E27FC236}">
                        <a16:creationId xmlns:a16="http://schemas.microsoft.com/office/drawing/2014/main" id="{C7E00E23-B4D5-4E30-AA86-EA8A884BA21C}"/>
                      </a:ext>
                    </a:extLst>
                  </p:cNvPr>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prstClr val="white"/>
                        </a:solidFill>
                        <a:effectLst/>
                        <a:uLnTx/>
                        <a:uFillTx/>
                        <a:latin typeface="Segoe UI"/>
                        <a:ea typeface="+mn-ea"/>
                        <a:cs typeface="+mn-cs"/>
                      </a:rPr>
                      <a:t> </a:t>
                    </a:r>
                  </a:p>
                </p:txBody>
              </p:sp>
              <p:cxnSp>
                <p:nvCxnSpPr>
                  <p:cNvPr id="88" name="Straight Connector 87">
                    <a:extLst>
                      <a:ext uri="{FF2B5EF4-FFF2-40B4-BE49-F238E27FC236}">
                        <a16:creationId xmlns:a16="http://schemas.microsoft.com/office/drawing/2014/main" id="{107F00AD-D330-4159-A96D-022C90447398}"/>
                      </a:ext>
                    </a:extLst>
                  </p:cNvPr>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0404F6E-0BFC-4932-B2FE-DCB92631DC52}"/>
                      </a:ext>
                    </a:extLst>
                  </p:cNvPr>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3914730-83DD-4BE1-8B63-CD9968706ECD}"/>
                      </a:ext>
                    </a:extLst>
                  </p:cNvPr>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D6E8B78-4F18-4890-A44B-BFDB01CC466F}"/>
                      </a:ext>
                    </a:extLst>
                  </p:cNvPr>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1557110-CD4C-4A82-A6E0-A93FDDCCBCC2}"/>
                      </a:ext>
                    </a:extLst>
                  </p:cNvPr>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41136DA-AF1B-4AF7-B0B0-F0E4F87D5B58}"/>
                      </a:ext>
                    </a:extLst>
                  </p:cNvPr>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FC95386-6A41-4D18-859C-4F7D683BFCBF}"/>
                      </a:ext>
                    </a:extLst>
                  </p:cNvPr>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64A40AF-C70B-452D-AD99-E7799EF97548}"/>
                      </a:ext>
                    </a:extLst>
                  </p:cNvPr>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4A1465A-8248-460B-BC0E-66CD404609FD}"/>
                      </a:ext>
                    </a:extLst>
                  </p:cNvPr>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FA44855-977B-4F7C-8869-3482B5F156CB}"/>
                      </a:ext>
                    </a:extLst>
                  </p:cNvPr>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9E43A80-F661-4861-8FF9-05CBAACE160F}"/>
                      </a:ext>
                    </a:extLst>
                  </p:cNvPr>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CE30815-3D51-4D71-946B-38169A4BD29C}"/>
                      </a:ext>
                    </a:extLst>
                  </p:cNvPr>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0562378-7C5E-4C26-B919-11BA7CBCB842}"/>
                      </a:ext>
                    </a:extLst>
                  </p:cNvPr>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BD65B5B-CF6F-48C9-8D2E-76EF3A409409}"/>
                      </a:ext>
                    </a:extLst>
                  </p:cNvPr>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400235E-B574-4C42-966B-21D28F145B81}"/>
                      </a:ext>
                    </a:extLst>
                  </p:cNvPr>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2905A30E-076B-467B-887D-3F44DDC3C920}"/>
                    </a:ext>
                  </a:extLst>
                </p:cNvPr>
                <p:cNvGrpSpPr/>
                <p:nvPr/>
              </p:nvGrpSpPr>
              <p:grpSpPr>
                <a:xfrm>
                  <a:off x="6002958" y="2837999"/>
                  <a:ext cx="3841310" cy="112272"/>
                  <a:chOff x="6350859" y="637169"/>
                  <a:chExt cx="8756422" cy="255928"/>
                </a:xfrm>
              </p:grpSpPr>
              <p:sp>
                <p:nvSpPr>
                  <p:cNvPr id="85" name="Rectangle 84">
                    <a:extLst>
                      <a:ext uri="{FF2B5EF4-FFF2-40B4-BE49-F238E27FC236}">
                        <a16:creationId xmlns:a16="http://schemas.microsoft.com/office/drawing/2014/main" id="{91A76D91-7EBA-45EB-8C30-E093FE3B2572}"/>
                      </a:ext>
                    </a:extLst>
                  </p:cNvPr>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1BA68212-025C-4BA8-95A3-6029F5F340D8}"/>
                      </a:ext>
                    </a:extLst>
                  </p:cNvPr>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84" name="Picture 83">
                  <a:extLst>
                    <a:ext uri="{FF2B5EF4-FFF2-40B4-BE49-F238E27FC236}">
                      <a16:creationId xmlns:a16="http://schemas.microsoft.com/office/drawing/2014/main" id="{2ABA99B9-EF96-491B-87E9-D014D9B70D5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119353" y="2950271"/>
                  <a:ext cx="2409125" cy="1545695"/>
                </a:xfrm>
                <a:prstGeom prst="rect">
                  <a:avLst/>
                </a:prstGeom>
              </p:spPr>
            </p:pic>
          </p:grpSp>
        </p:grpSp>
        <p:pic>
          <p:nvPicPr>
            <p:cNvPr id="22" name="Picture 21">
              <a:extLst>
                <a:ext uri="{FF2B5EF4-FFF2-40B4-BE49-F238E27FC236}">
                  <a16:creationId xmlns:a16="http://schemas.microsoft.com/office/drawing/2014/main" id="{D9652959-94B7-43BF-ABD5-E994F69FA94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506585" y="4051715"/>
              <a:ext cx="2764077" cy="1827117"/>
            </a:xfrm>
            <a:prstGeom prst="rect">
              <a:avLst/>
            </a:prstGeom>
          </p:spPr>
        </p:pic>
        <p:grpSp>
          <p:nvGrpSpPr>
            <p:cNvPr id="23" name="Group 22">
              <a:extLst>
                <a:ext uri="{FF2B5EF4-FFF2-40B4-BE49-F238E27FC236}">
                  <a16:creationId xmlns:a16="http://schemas.microsoft.com/office/drawing/2014/main" id="{87939932-C592-46CB-88CE-372C224FC433}"/>
                </a:ext>
              </a:extLst>
            </p:cNvPr>
            <p:cNvGrpSpPr/>
            <p:nvPr/>
          </p:nvGrpSpPr>
          <p:grpSpPr>
            <a:xfrm>
              <a:off x="9057231" y="4414972"/>
              <a:ext cx="3036548" cy="1943087"/>
              <a:chOff x="6992031" y="4649551"/>
              <a:chExt cx="2982689" cy="1908621"/>
            </a:xfrm>
          </p:grpSpPr>
          <p:pic>
            <p:nvPicPr>
              <p:cNvPr id="26" name="Picture 25">
                <a:extLst>
                  <a:ext uri="{FF2B5EF4-FFF2-40B4-BE49-F238E27FC236}">
                    <a16:creationId xmlns:a16="http://schemas.microsoft.com/office/drawing/2014/main" id="{07E6ACEB-BB71-47F8-BAAA-D05F5616F3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92031" y="4649551"/>
                <a:ext cx="2982689" cy="1908621"/>
              </a:xfrm>
              <a:prstGeom prst="rect">
                <a:avLst/>
              </a:prstGeom>
            </p:spPr>
          </p:pic>
          <p:grpSp>
            <p:nvGrpSpPr>
              <p:cNvPr id="27" name="Group 26">
                <a:extLst>
                  <a:ext uri="{FF2B5EF4-FFF2-40B4-BE49-F238E27FC236}">
                    <a16:creationId xmlns:a16="http://schemas.microsoft.com/office/drawing/2014/main" id="{126666A3-C076-47B2-B316-DA79A69FCB93}"/>
                  </a:ext>
                </a:extLst>
              </p:cNvPr>
              <p:cNvGrpSpPr/>
              <p:nvPr/>
            </p:nvGrpSpPr>
            <p:grpSpPr>
              <a:xfrm>
                <a:off x="7751974" y="4889468"/>
                <a:ext cx="2008151" cy="1458982"/>
                <a:chOff x="9502037" y="3656281"/>
                <a:chExt cx="2008151" cy="1458982"/>
              </a:xfrm>
            </p:grpSpPr>
            <p:grpSp>
              <p:nvGrpSpPr>
                <p:cNvPr id="50" name="Group 49">
                  <a:extLst>
                    <a:ext uri="{FF2B5EF4-FFF2-40B4-BE49-F238E27FC236}">
                      <a16:creationId xmlns:a16="http://schemas.microsoft.com/office/drawing/2014/main" id="{79A72408-36F6-4FB4-9D9D-ABF61DB2784C}"/>
                    </a:ext>
                  </a:extLst>
                </p:cNvPr>
                <p:cNvGrpSpPr/>
                <p:nvPr/>
              </p:nvGrpSpPr>
              <p:grpSpPr>
                <a:xfrm>
                  <a:off x="10393329" y="4409563"/>
                  <a:ext cx="1114137" cy="705700"/>
                  <a:chOff x="-2653979" y="2374677"/>
                  <a:chExt cx="2208776" cy="2382439"/>
                </a:xfrm>
              </p:grpSpPr>
              <p:sp>
                <p:nvSpPr>
                  <p:cNvPr id="72" name="Rectangle 71">
                    <a:extLst>
                      <a:ext uri="{FF2B5EF4-FFF2-40B4-BE49-F238E27FC236}">
                        <a16:creationId xmlns:a16="http://schemas.microsoft.com/office/drawing/2014/main" id="{13F4BB84-1323-4458-88D6-5FFDB89015D1}"/>
                      </a:ext>
                    </a:extLst>
                  </p:cNvPr>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68E093F2-AB12-41C4-87A9-40AFE9BB5CD9}"/>
                      </a:ext>
                    </a:extLst>
                  </p:cNvPr>
                  <p:cNvGrpSpPr/>
                  <p:nvPr/>
                </p:nvGrpSpPr>
                <p:grpSpPr>
                  <a:xfrm>
                    <a:off x="-2519788" y="2374677"/>
                    <a:ext cx="1920244" cy="785213"/>
                    <a:chOff x="578918" y="4230914"/>
                    <a:chExt cx="1836673" cy="785213"/>
                  </a:xfrm>
                </p:grpSpPr>
                <p:cxnSp>
                  <p:nvCxnSpPr>
                    <p:cNvPr id="74" name="Straight Connector 73">
                      <a:extLst>
                        <a:ext uri="{FF2B5EF4-FFF2-40B4-BE49-F238E27FC236}">
                          <a16:creationId xmlns:a16="http://schemas.microsoft.com/office/drawing/2014/main" id="{987ADCCE-0936-4531-83F0-0C93BACE536E}"/>
                        </a:ext>
                      </a:extLst>
                    </p:cNvPr>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0A8CD32-178D-4643-A0B3-037B861D2F22}"/>
                        </a:ext>
                      </a:extLst>
                    </p:cNvPr>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12B0958-7459-40E2-980B-5D4338E4BB89}"/>
                        </a:ext>
                      </a:extLst>
                    </p:cNvPr>
                    <p:cNvCxnSpPr/>
                    <p:nvPr/>
                  </p:nvCxnSpPr>
                  <p:spPr>
                    <a:xfrm>
                      <a:off x="578918" y="462352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EEE4D54-9A6B-43EE-B71A-04842C0A5995}"/>
                        </a:ext>
                      </a:extLst>
                    </p:cNvPr>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42AD328-66BF-424B-AFE1-41E47AD08311}"/>
                        </a:ext>
                      </a:extLst>
                    </p:cNvPr>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BF2A386E-5D3C-4206-85ED-308A3CAC0B31}"/>
                    </a:ext>
                  </a:extLst>
                </p:cNvPr>
                <p:cNvGrpSpPr/>
                <p:nvPr/>
              </p:nvGrpSpPr>
              <p:grpSpPr>
                <a:xfrm>
                  <a:off x="9506831" y="3747556"/>
                  <a:ext cx="899804" cy="1356819"/>
                  <a:chOff x="-4889270" y="1105572"/>
                  <a:chExt cx="2116442" cy="3651543"/>
                </a:xfrm>
              </p:grpSpPr>
              <p:sp>
                <p:nvSpPr>
                  <p:cNvPr id="56" name="Rectangle 55">
                    <a:extLst>
                      <a:ext uri="{FF2B5EF4-FFF2-40B4-BE49-F238E27FC236}">
                        <a16:creationId xmlns:a16="http://schemas.microsoft.com/office/drawing/2014/main" id="{0AF88326-4E65-40F6-B199-699635A4CF22}"/>
                      </a:ext>
                    </a:extLst>
                  </p:cNvPr>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57" name="Straight Connector 56">
                    <a:extLst>
                      <a:ext uri="{FF2B5EF4-FFF2-40B4-BE49-F238E27FC236}">
                        <a16:creationId xmlns:a16="http://schemas.microsoft.com/office/drawing/2014/main" id="{7B2864D5-C0FC-4ABC-8DEC-0C991EC7F5CF}"/>
                      </a:ext>
                    </a:extLst>
                  </p:cNvPr>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844645A-93DB-460D-9490-915780C72FEC}"/>
                      </a:ext>
                    </a:extLst>
                  </p:cNvPr>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DE6D1B5-8057-4B57-B69A-7B1E8E43201D}"/>
                      </a:ext>
                    </a:extLst>
                  </p:cNvPr>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3FC592-F731-4F07-8EA7-948AAEEF5E7E}"/>
                      </a:ext>
                    </a:extLst>
                  </p:cNvPr>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675F98F-470F-49C1-8E1B-0623982CC72F}"/>
                      </a:ext>
                    </a:extLst>
                  </p:cNvPr>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474CAA5-92DE-4A0D-97E4-4079694974AB}"/>
                      </a:ext>
                    </a:extLst>
                  </p:cNvPr>
                  <p:cNvCxnSpPr/>
                  <p:nvPr/>
                </p:nvCxnSpPr>
                <p:spPr>
                  <a:xfrm>
                    <a:off x="-4774211" y="2470088"/>
                    <a:ext cx="1889358"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4A6B129-46ED-486F-9B7D-E9DF34789928}"/>
                      </a:ext>
                    </a:extLst>
                  </p:cNvPr>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5C4024D-144B-4BD5-9365-440E6AB7A748}"/>
                      </a:ext>
                    </a:extLst>
                  </p:cNvPr>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09AF35-C1B7-4C40-A57A-1797D169DAD3}"/>
                      </a:ext>
                    </a:extLst>
                  </p:cNvPr>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1110E83-EB95-4271-B022-311C20DD1F90}"/>
                      </a:ext>
                    </a:extLst>
                  </p:cNvPr>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6544A7-35BE-4860-94A2-744CB68E9225}"/>
                      </a:ext>
                    </a:extLst>
                  </p:cNvPr>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5BBEFAC-9E60-44A8-95D1-7AFA8894155B}"/>
                      </a:ext>
                    </a:extLst>
                  </p:cNvPr>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A59B31-5F9B-406E-87BC-8F16F6FDFFB8}"/>
                      </a:ext>
                    </a:extLst>
                  </p:cNvPr>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472639A-BD2D-4F02-A013-755EBA9A8CE9}"/>
                      </a:ext>
                    </a:extLst>
                  </p:cNvPr>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3187F86-0042-4268-BF80-2BED8179B915}"/>
                      </a:ext>
                    </a:extLst>
                  </p:cNvPr>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60297F4-22E2-4FE7-8E1A-1C637130B880}"/>
                    </a:ext>
                  </a:extLst>
                </p:cNvPr>
                <p:cNvGrpSpPr/>
                <p:nvPr/>
              </p:nvGrpSpPr>
              <p:grpSpPr>
                <a:xfrm>
                  <a:off x="9502037" y="3656281"/>
                  <a:ext cx="2008151" cy="127959"/>
                  <a:chOff x="6350859" y="637169"/>
                  <a:chExt cx="4016458" cy="255928"/>
                </a:xfrm>
              </p:grpSpPr>
              <p:sp>
                <p:nvSpPr>
                  <p:cNvPr id="54" name="Rectangle 53">
                    <a:extLst>
                      <a:ext uri="{FF2B5EF4-FFF2-40B4-BE49-F238E27FC236}">
                        <a16:creationId xmlns:a16="http://schemas.microsoft.com/office/drawing/2014/main" id="{69B9FBA1-DE74-44FF-B60C-A61FE49D8BBF}"/>
                      </a:ext>
                    </a:extLst>
                  </p:cNvPr>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C0A61E6E-58BA-4FC6-8534-161CA8951646}"/>
                      </a:ext>
                    </a:extLst>
                  </p:cNvPr>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53" name="Picture 52">
                  <a:extLst>
                    <a:ext uri="{FF2B5EF4-FFF2-40B4-BE49-F238E27FC236}">
                      <a16:creationId xmlns:a16="http://schemas.microsoft.com/office/drawing/2014/main" id="{3F1C9739-8216-4BC7-A906-F2E86A8E325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0406636" y="3786753"/>
                  <a:ext cx="1100830" cy="904575"/>
                </a:xfrm>
                <a:prstGeom prst="rect">
                  <a:avLst/>
                </a:prstGeom>
              </p:spPr>
            </p:pic>
          </p:grpSp>
          <p:grpSp>
            <p:nvGrpSpPr>
              <p:cNvPr id="28" name="Group 27">
                <a:extLst>
                  <a:ext uri="{FF2B5EF4-FFF2-40B4-BE49-F238E27FC236}">
                    <a16:creationId xmlns:a16="http://schemas.microsoft.com/office/drawing/2014/main" id="{DAD8F40C-0A5D-4D80-92D9-3E00DD4D050C}"/>
                  </a:ext>
                </a:extLst>
              </p:cNvPr>
              <p:cNvGrpSpPr/>
              <p:nvPr/>
            </p:nvGrpSpPr>
            <p:grpSpPr>
              <a:xfrm>
                <a:off x="7025164" y="5272454"/>
                <a:ext cx="630944" cy="1069938"/>
                <a:chOff x="8775227" y="4039267"/>
                <a:chExt cx="630944" cy="1069938"/>
              </a:xfrm>
            </p:grpSpPr>
            <p:grpSp>
              <p:nvGrpSpPr>
                <p:cNvPr id="29" name="Group 28">
                  <a:extLst>
                    <a:ext uri="{FF2B5EF4-FFF2-40B4-BE49-F238E27FC236}">
                      <a16:creationId xmlns:a16="http://schemas.microsoft.com/office/drawing/2014/main" id="{B68544A4-3883-4430-81AC-B595853FEC70}"/>
                    </a:ext>
                  </a:extLst>
                </p:cNvPr>
                <p:cNvGrpSpPr/>
                <p:nvPr/>
              </p:nvGrpSpPr>
              <p:grpSpPr>
                <a:xfrm>
                  <a:off x="8795657" y="4120242"/>
                  <a:ext cx="219578" cy="984133"/>
                  <a:chOff x="-4889270" y="1105572"/>
                  <a:chExt cx="2116442" cy="3651543"/>
                </a:xfrm>
              </p:grpSpPr>
              <p:sp>
                <p:nvSpPr>
                  <p:cNvPr id="34" name="Rectangle 33">
                    <a:extLst>
                      <a:ext uri="{FF2B5EF4-FFF2-40B4-BE49-F238E27FC236}">
                        <a16:creationId xmlns:a16="http://schemas.microsoft.com/office/drawing/2014/main" id="{F927B291-C38E-4E1F-87C1-DF8E366D930F}"/>
                      </a:ext>
                    </a:extLst>
                  </p:cNvPr>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4471274B-D777-4804-84BC-97B2A1FAA716}"/>
                      </a:ext>
                    </a:extLst>
                  </p:cNvPr>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4E2B45A-7DA5-41AF-B26A-F4FED20321C8}"/>
                      </a:ext>
                    </a:extLst>
                  </p:cNvPr>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68FA069-0CE3-4567-9034-CBDFD1052FB7}"/>
                      </a:ext>
                    </a:extLst>
                  </p:cNvPr>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9127BA-F555-430E-9DD2-82E972C4068C}"/>
                      </a:ext>
                    </a:extLst>
                  </p:cNvPr>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2A754A-B18B-4AAD-AB8A-8802B5AD56AD}"/>
                      </a:ext>
                    </a:extLst>
                  </p:cNvPr>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FBCB558-AF79-4240-83E8-B5222B1542F3}"/>
                      </a:ext>
                    </a:extLst>
                  </p:cNvPr>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2EFB12A-60F0-4A90-BC3D-B49EFBB865AD}"/>
                      </a:ext>
                    </a:extLst>
                  </p:cNvPr>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ED8EA10-D354-409C-9B91-7310E8D604D0}"/>
                      </a:ext>
                    </a:extLst>
                  </p:cNvPr>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4ECBCF-E784-4CF1-AB89-A7D29139A44F}"/>
                      </a:ext>
                    </a:extLst>
                  </p:cNvPr>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88A180A-7685-4C97-A679-24F854C136AF}"/>
                      </a:ext>
                    </a:extLst>
                  </p:cNvPr>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9E3F5B3-DFED-4B44-81D2-7D187A46FA43}"/>
                      </a:ext>
                    </a:extLst>
                  </p:cNvPr>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642A311-C025-484B-9BCD-249B9803339E}"/>
                      </a:ext>
                    </a:extLst>
                  </p:cNvPr>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493A51-2DF6-4C07-9187-DCDDD0C566C4}"/>
                      </a:ext>
                    </a:extLst>
                  </p:cNvPr>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224BD81-1B46-405B-B64E-A626DE31FF49}"/>
                      </a:ext>
                    </a:extLst>
                  </p:cNvPr>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981B70C-757E-4239-A293-B76BE51D8CD0}"/>
                      </a:ext>
                    </a:extLst>
                  </p:cNvPr>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8265FD5-22D5-4BBB-81D7-F062A32A798E}"/>
                    </a:ext>
                  </a:extLst>
                </p:cNvPr>
                <p:cNvGrpSpPr/>
                <p:nvPr/>
              </p:nvGrpSpPr>
              <p:grpSpPr>
                <a:xfrm>
                  <a:off x="8775227" y="4039267"/>
                  <a:ext cx="630944" cy="80495"/>
                  <a:chOff x="6350859" y="637169"/>
                  <a:chExt cx="2006064" cy="255931"/>
                </a:xfrm>
              </p:grpSpPr>
              <p:sp>
                <p:nvSpPr>
                  <p:cNvPr id="32" name="Rectangle 31">
                    <a:extLst>
                      <a:ext uri="{FF2B5EF4-FFF2-40B4-BE49-F238E27FC236}">
                        <a16:creationId xmlns:a16="http://schemas.microsoft.com/office/drawing/2014/main" id="{C7440EAE-D727-4F11-A54E-66A34191D849}"/>
                      </a:ext>
                    </a:extLst>
                  </p:cNvPr>
                  <p:cNvSpPr/>
                  <p:nvPr/>
                </p:nvSpPr>
                <p:spPr>
                  <a:xfrm>
                    <a:off x="6372499" y="637364"/>
                    <a:ext cx="198442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D61B6DD3-9E61-411F-BC34-F26DF88F2A66}"/>
                      </a:ext>
                    </a:extLst>
                  </p:cNvPr>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25000" noProof="0">
                      <a:ln>
                        <a:noFill/>
                      </a:ln>
                      <a:solidFill>
                        <a:prstClr val="white"/>
                      </a:solidFill>
                      <a:effectLst/>
                      <a:uLnTx/>
                      <a:uFillTx/>
                      <a:latin typeface="Segoe UI"/>
                      <a:ea typeface="+mn-ea"/>
                      <a:cs typeface="+mn-cs"/>
                    </a:endParaRPr>
                  </a:p>
                </p:txBody>
              </p:sp>
            </p:grpSp>
            <p:pic>
              <p:nvPicPr>
                <p:cNvPr id="31" name="Picture 30">
                  <a:extLst>
                    <a:ext uri="{FF2B5EF4-FFF2-40B4-BE49-F238E27FC236}">
                      <a16:creationId xmlns:a16="http://schemas.microsoft.com/office/drawing/2014/main" id="{A0BC0C90-B933-438F-B7E0-C09144486BD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9015235" y="4124555"/>
                  <a:ext cx="388213" cy="984650"/>
                </a:xfrm>
                <a:prstGeom prst="rect">
                  <a:avLst/>
                </a:prstGeom>
              </p:spPr>
            </p:pic>
          </p:grpSp>
        </p:grpSp>
        <p:pic>
          <p:nvPicPr>
            <p:cNvPr id="24" name="Picture 23">
              <a:extLst>
                <a:ext uri="{FF2B5EF4-FFF2-40B4-BE49-F238E27FC236}">
                  <a16:creationId xmlns:a16="http://schemas.microsoft.com/office/drawing/2014/main" id="{9F7E2BFB-7B9D-4489-A4AE-CD798EFCAF3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844472" y="4797311"/>
              <a:ext cx="2040118" cy="1348563"/>
            </a:xfrm>
            <a:prstGeom prst="rect">
              <a:avLst/>
            </a:prstGeom>
          </p:spPr>
        </p:pic>
        <p:pic>
          <p:nvPicPr>
            <p:cNvPr id="25" name="Picture 24">
              <a:extLst>
                <a:ext uri="{FF2B5EF4-FFF2-40B4-BE49-F238E27FC236}">
                  <a16:creationId xmlns:a16="http://schemas.microsoft.com/office/drawing/2014/main" id="{987E46C7-F140-4C67-AA95-5D4AFEC2C7ED}"/>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076029" y="5143794"/>
              <a:ext cx="658307" cy="999837"/>
            </a:xfrm>
            <a:prstGeom prst="rect">
              <a:avLst/>
            </a:prstGeom>
          </p:spPr>
        </p:pic>
      </p:grpSp>
      <p:sp>
        <p:nvSpPr>
          <p:cNvPr id="110" name="Text Placeholder 3">
            <a:extLst>
              <a:ext uri="{FF2B5EF4-FFF2-40B4-BE49-F238E27FC236}">
                <a16:creationId xmlns:a16="http://schemas.microsoft.com/office/drawing/2014/main" id="{2182B1FF-37A4-4574-BDAA-0D07C6333903}"/>
              </a:ext>
            </a:extLst>
          </p:cNvPr>
          <p:cNvSpPr txBox="1">
            <a:spLocks/>
          </p:cNvSpPr>
          <p:nvPr/>
        </p:nvSpPr>
        <p:spPr>
          <a:xfrm>
            <a:off x="6710069" y="1294934"/>
            <a:ext cx="4980404" cy="341926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bed in App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rvice Principals</a:t>
            </a:r>
          </a:p>
        </p:txBody>
      </p:sp>
      <p:pic>
        <p:nvPicPr>
          <p:cNvPr id="3" name="Graphic 2" descr="Web design">
            <a:extLst>
              <a:ext uri="{FF2B5EF4-FFF2-40B4-BE49-F238E27FC236}">
                <a16:creationId xmlns:a16="http://schemas.microsoft.com/office/drawing/2014/main" id="{E5F7615B-D81B-4FA6-8A9B-B814433E31A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2090168"/>
            <a:ext cx="914400" cy="914400"/>
          </a:xfrm>
          <a:prstGeom prst="rect">
            <a:avLst/>
          </a:prstGeom>
        </p:spPr>
      </p:pic>
      <p:pic>
        <p:nvPicPr>
          <p:cNvPr id="5" name="Graphic 4" descr="Programmer">
            <a:extLst>
              <a:ext uri="{FF2B5EF4-FFF2-40B4-BE49-F238E27FC236}">
                <a16:creationId xmlns:a16="http://schemas.microsoft.com/office/drawing/2014/main" id="{ABBFC76A-D6CB-4FC3-B500-7BA7B649360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8800" y="3760479"/>
            <a:ext cx="914400" cy="914400"/>
          </a:xfrm>
          <a:prstGeom prst="rect">
            <a:avLst/>
          </a:prstGeom>
        </p:spPr>
      </p:pic>
      <p:sp>
        <p:nvSpPr>
          <p:cNvPr id="111" name="TextBox 110">
            <a:extLst>
              <a:ext uri="{FF2B5EF4-FFF2-40B4-BE49-F238E27FC236}">
                <a16:creationId xmlns:a16="http://schemas.microsoft.com/office/drawing/2014/main" id="{C8299BF0-38A1-4DC8-969B-50BEFC24D8C6}"/>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12" name="TextBox 111">
            <a:extLst>
              <a:ext uri="{FF2B5EF4-FFF2-40B4-BE49-F238E27FC236}">
                <a16:creationId xmlns:a16="http://schemas.microsoft.com/office/drawing/2014/main" id="{8FFDFABF-E02A-4CD2-83DA-A476E9BBB049}"/>
              </a:ext>
            </a:extLst>
          </p:cNvPr>
          <p:cNvSpPr txBox="1"/>
          <p:nvPr/>
        </p:nvSpPr>
        <p:spPr>
          <a:xfrm>
            <a:off x="0" y="5898070"/>
            <a:ext cx="2740158" cy="627864"/>
          </a:xfrm>
          <a:prstGeom prst="rect">
            <a:avLst/>
          </a:prstGeom>
          <a:solidFill>
            <a:schemeClr val="tx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Tree>
    <p:custDataLst>
      <p:tags r:id="rId1"/>
    </p:custDataLst>
    <p:extLst>
      <p:ext uri="{BB962C8B-B14F-4D97-AF65-F5344CB8AC3E}">
        <p14:creationId xmlns:p14="http://schemas.microsoft.com/office/powerpoint/2010/main" val="3316625911"/>
      </p:ext>
    </p:extLst>
  </p:cSld>
  <p:clrMapOvr>
    <a:masterClrMapping/>
  </p:clrMapOvr>
  <mc:AlternateContent xmlns:mc="http://schemas.openxmlformats.org/markup-compatibility/2006" xmlns:p14="http://schemas.microsoft.com/office/powerpoint/2010/main">
    <mc:Choice Requires="p14">
      <p:transition spd="med" p14:dur="700" advTm="94456">
        <p:fade/>
      </p:transition>
    </mc:Choice>
    <mc:Fallback xmlns="">
      <p:transition spd="med" advTm="9445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0">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Title 2">
            <a:extLst>
              <a:ext uri="{FF2B5EF4-FFF2-40B4-BE49-F238E27FC236}">
                <a16:creationId xmlns:a16="http://schemas.microsoft.com/office/drawing/2014/main" id="{27ACD367-A0A2-4ABF-AF7C-7B3CEDD230BB}"/>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4" name="Title 6">
            <a:extLst>
              <a:ext uri="{FF2B5EF4-FFF2-40B4-BE49-F238E27FC236}">
                <a16:creationId xmlns:a16="http://schemas.microsoft.com/office/drawing/2014/main" id="{774FA52D-E4BC-4135-83B6-412354E5ABE2}"/>
              </a:ext>
            </a:extLst>
          </p:cNvPr>
          <p:cNvSpPr txBox="1">
            <a:spLocks/>
          </p:cNvSpPr>
          <p:nvPr/>
        </p:nvSpPr>
        <p:spPr>
          <a:xfrm>
            <a:off x="93783" y="645998"/>
            <a:ext cx="4980404"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emplate App</a:t>
            </a:r>
          </a:p>
        </p:txBody>
      </p:sp>
      <p:sp>
        <p:nvSpPr>
          <p:cNvPr id="110" name="Text Placeholder 3">
            <a:extLst>
              <a:ext uri="{FF2B5EF4-FFF2-40B4-BE49-F238E27FC236}">
                <a16:creationId xmlns:a16="http://schemas.microsoft.com/office/drawing/2014/main" id="{C3C6E765-8B9E-4737-9F75-5CD802A29ECD}"/>
              </a:ext>
            </a:extLst>
          </p:cNvPr>
          <p:cNvSpPr txBox="1">
            <a:spLocks/>
          </p:cNvSpPr>
          <p:nvPr/>
        </p:nvSpPr>
        <p:spPr>
          <a:xfrm>
            <a:off x="6696108" y="408538"/>
            <a:ext cx="4980404" cy="5621411"/>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sh</a:t>
            </a:r>
          </a:p>
          <a:p>
            <a:pPr marL="0" marR="0" lvl="0" indent="0" algn="l" defTabSz="914367" rtl="0" eaLnBrk="1" fontAlgn="auto" latinLnBrk="0" hangingPunct="1">
              <a:lnSpc>
                <a:spcPct val="15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stall</a:t>
            </a:r>
          </a:p>
          <a:p>
            <a:pPr marL="0" marR="0" lvl="0" indent="0" algn="l" defTabSz="914367" rtl="0" eaLnBrk="1" fontAlgn="auto" latinLnBrk="0" hangingPunct="1">
              <a:lnSpc>
                <a:spcPct val="15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stall (not listed in AppSource</a:t>
            </a:r>
          </a:p>
        </p:txBody>
      </p:sp>
      <p:sp>
        <p:nvSpPr>
          <p:cNvPr id="113" name="TextBox 112">
            <a:extLst>
              <a:ext uri="{FF2B5EF4-FFF2-40B4-BE49-F238E27FC236}">
                <a16:creationId xmlns:a16="http://schemas.microsoft.com/office/drawing/2014/main" id="{28D09CCC-34B5-4F58-B7D1-C60097F42AB8}"/>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14" name="TextBox 113">
            <a:extLst>
              <a:ext uri="{FF2B5EF4-FFF2-40B4-BE49-F238E27FC236}">
                <a16:creationId xmlns:a16="http://schemas.microsoft.com/office/drawing/2014/main" id="{09B999D7-8FAE-4196-B60E-EB08DE3C0C09}"/>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pic>
        <p:nvPicPr>
          <p:cNvPr id="2" name="Picture 1">
            <a:extLst>
              <a:ext uri="{FF2B5EF4-FFF2-40B4-BE49-F238E27FC236}">
                <a16:creationId xmlns:a16="http://schemas.microsoft.com/office/drawing/2014/main" id="{D0D2A962-A076-44E2-AB39-0DB2A5CF4FE3}"/>
              </a:ext>
            </a:extLst>
          </p:cNvPr>
          <p:cNvPicPr>
            <a:picLocks noChangeAspect="1"/>
          </p:cNvPicPr>
          <p:nvPr/>
        </p:nvPicPr>
        <p:blipFill>
          <a:blip r:embed="rId4"/>
          <a:stretch>
            <a:fillRect/>
          </a:stretch>
        </p:blipFill>
        <p:spPr>
          <a:xfrm>
            <a:off x="221714" y="3542054"/>
            <a:ext cx="4921503" cy="2044805"/>
          </a:xfrm>
          <a:prstGeom prst="rect">
            <a:avLst/>
          </a:prstGeom>
        </p:spPr>
      </p:pic>
      <p:pic>
        <p:nvPicPr>
          <p:cNvPr id="4" name="Graphic 3" descr="Books">
            <a:extLst>
              <a:ext uri="{FF2B5EF4-FFF2-40B4-BE49-F238E27FC236}">
                <a16:creationId xmlns:a16="http://schemas.microsoft.com/office/drawing/2014/main" id="{D6820B9A-2E3A-4A0C-8BCF-E8A7E774C6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626948"/>
            <a:ext cx="914400" cy="914400"/>
          </a:xfrm>
          <a:prstGeom prst="rect">
            <a:avLst/>
          </a:prstGeom>
        </p:spPr>
      </p:pic>
      <p:pic>
        <p:nvPicPr>
          <p:cNvPr id="7" name="Graphic 6" descr="Single gear">
            <a:extLst>
              <a:ext uri="{FF2B5EF4-FFF2-40B4-BE49-F238E27FC236}">
                <a16:creationId xmlns:a16="http://schemas.microsoft.com/office/drawing/2014/main" id="{26E2E17C-2F3D-4C44-95DA-987B71D2F9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638309"/>
            <a:ext cx="914400" cy="914400"/>
          </a:xfrm>
          <a:prstGeom prst="rect">
            <a:avLst/>
          </a:prstGeom>
        </p:spPr>
      </p:pic>
      <p:pic>
        <p:nvPicPr>
          <p:cNvPr id="10" name="Graphic 9" descr="Close">
            <a:extLst>
              <a:ext uri="{FF2B5EF4-FFF2-40B4-BE49-F238E27FC236}">
                <a16:creationId xmlns:a16="http://schemas.microsoft.com/office/drawing/2014/main" id="{D567104F-6CD4-4CE9-B3FD-F6BAF41FD6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6000" y="5130537"/>
            <a:ext cx="422172" cy="422172"/>
          </a:xfrm>
          <a:prstGeom prst="rect">
            <a:avLst/>
          </a:prstGeom>
        </p:spPr>
      </p:pic>
      <p:pic>
        <p:nvPicPr>
          <p:cNvPr id="205" name="Graphic 204" descr="Single gear">
            <a:extLst>
              <a:ext uri="{FF2B5EF4-FFF2-40B4-BE49-F238E27FC236}">
                <a16:creationId xmlns:a16="http://schemas.microsoft.com/office/drawing/2014/main" id="{3B92BD3E-47B6-4658-9B76-73A81FA288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392756"/>
            <a:ext cx="914400" cy="914400"/>
          </a:xfrm>
          <a:prstGeom prst="rect">
            <a:avLst/>
          </a:prstGeom>
        </p:spPr>
      </p:pic>
    </p:spTree>
    <p:custDataLst>
      <p:tags r:id="rId1"/>
    </p:custDataLst>
    <p:extLst>
      <p:ext uri="{BB962C8B-B14F-4D97-AF65-F5344CB8AC3E}">
        <p14:creationId xmlns:p14="http://schemas.microsoft.com/office/powerpoint/2010/main" val="3508012978"/>
      </p:ext>
    </p:extLst>
  </p:cSld>
  <p:clrMapOvr>
    <a:masterClrMapping/>
  </p:clrMapOvr>
  <mc:AlternateContent xmlns:mc="http://schemas.openxmlformats.org/markup-compatibility/2006" xmlns:p14="http://schemas.microsoft.com/office/powerpoint/2010/main">
    <mc:Choice Requires="p14">
      <p:transition spd="med" p14:dur="700" advTm="84191">
        <p:fade/>
      </p:transition>
    </mc:Choice>
    <mc:Fallback xmlns="">
      <p:transition spd="med" advTm="8419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0">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0">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039524BF-CA4B-4684-91C9-5775A634DB54}"/>
              </a:ext>
            </a:extLst>
          </p:cNvPr>
          <p:cNvSpPr txBox="1">
            <a:spLocks/>
          </p:cNvSpPr>
          <p:nvPr/>
        </p:nvSpPr>
        <p:spPr>
          <a:xfrm>
            <a:off x="93782" y="2455370"/>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Organizational Level</a:t>
            </a:r>
          </a:p>
        </p:txBody>
      </p:sp>
      <p:sp>
        <p:nvSpPr>
          <p:cNvPr id="21" name="Title 2">
            <a:extLst>
              <a:ext uri="{FF2B5EF4-FFF2-40B4-BE49-F238E27FC236}">
                <a16:creationId xmlns:a16="http://schemas.microsoft.com/office/drawing/2014/main" id="{4E42E1EE-FC78-486F-B9F9-4CC02F608361}"/>
              </a:ext>
            </a:extLst>
          </p:cNvPr>
          <p:cNvSpPr txBox="1">
            <a:spLocks/>
          </p:cNvSpPr>
          <p:nvPr/>
        </p:nvSpPr>
        <p:spPr>
          <a:xfrm>
            <a:off x="93783" y="2455371"/>
            <a:ext cx="3809025" cy="1098397"/>
          </a:xfrm>
          <a:prstGeom prst="rect">
            <a:avLst/>
          </a:prstGeom>
          <a:solidFill>
            <a:schemeClr val="tx1"/>
          </a:solidFill>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Group Level</a:t>
            </a:r>
          </a:p>
        </p:txBody>
      </p:sp>
      <p:sp>
        <p:nvSpPr>
          <p:cNvPr id="11" name="TextBox 10">
            <a:extLst>
              <a:ext uri="{FF2B5EF4-FFF2-40B4-BE49-F238E27FC236}">
                <a16:creationId xmlns:a16="http://schemas.microsoft.com/office/drawing/2014/main" id="{7FBAF096-ED33-4BA7-92DB-D7199DF2908D}"/>
              </a:ext>
            </a:extLst>
          </p:cNvPr>
          <p:cNvSpPr txBox="1"/>
          <p:nvPr/>
        </p:nvSpPr>
        <p:spPr>
          <a:xfrm>
            <a:off x="0" y="5901487"/>
            <a:ext cx="2591094"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Enabled</a:t>
            </a:r>
          </a:p>
        </p:txBody>
      </p:sp>
      <p:sp>
        <p:nvSpPr>
          <p:cNvPr id="19" name="TextBox 18">
            <a:extLst>
              <a:ext uri="{FF2B5EF4-FFF2-40B4-BE49-F238E27FC236}">
                <a16:creationId xmlns:a16="http://schemas.microsoft.com/office/drawing/2014/main" id="{6C59A595-FFF9-4D13-A7E7-04E7198AC724}"/>
              </a:ext>
            </a:extLst>
          </p:cNvPr>
          <p:cNvSpPr txBox="1"/>
          <p:nvPr/>
        </p:nvSpPr>
        <p:spPr>
          <a:xfrm>
            <a:off x="0" y="5898070"/>
            <a:ext cx="2682466" cy="627864"/>
          </a:xfrm>
          <a:prstGeom prst="rect">
            <a:avLst/>
          </a:prstGeom>
          <a:solidFill>
            <a:schemeClr val="tx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solidFill>
                  <a:prstClr val="white"/>
                </a:solidFill>
                <a:effectLst/>
                <a:uLnTx/>
                <a:uFillTx/>
                <a:latin typeface="Segoe UI"/>
                <a:ea typeface="+mn-ea"/>
                <a:cs typeface="+mn-cs"/>
              </a:rPr>
              <a:t>Default: Disabled</a:t>
            </a:r>
          </a:p>
        </p:txBody>
      </p:sp>
      <p:sp>
        <p:nvSpPr>
          <p:cNvPr id="14" name="Title 6">
            <a:extLst>
              <a:ext uri="{FF2B5EF4-FFF2-40B4-BE49-F238E27FC236}">
                <a16:creationId xmlns:a16="http://schemas.microsoft.com/office/drawing/2014/main" id="{6283CED6-4141-448F-BED8-996D646FC665}"/>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ther</a:t>
            </a:r>
          </a:p>
        </p:txBody>
      </p:sp>
      <p:pic>
        <p:nvPicPr>
          <p:cNvPr id="16" name="Picture 15">
            <a:extLst>
              <a:ext uri="{FF2B5EF4-FFF2-40B4-BE49-F238E27FC236}">
                <a16:creationId xmlns:a16="http://schemas.microsoft.com/office/drawing/2014/main" id="{587F4EF2-5CF2-45AD-84BE-772FBA3B2E08}"/>
              </a:ext>
            </a:extLst>
          </p:cNvPr>
          <p:cNvPicPr>
            <a:picLocks noChangeAspect="1"/>
          </p:cNvPicPr>
          <p:nvPr/>
        </p:nvPicPr>
        <p:blipFill>
          <a:blip r:embed="rId4"/>
          <a:stretch>
            <a:fillRect/>
          </a:stretch>
        </p:blipFill>
        <p:spPr>
          <a:xfrm>
            <a:off x="199994" y="3974379"/>
            <a:ext cx="3730578" cy="1820877"/>
          </a:xfrm>
          <a:prstGeom prst="rect">
            <a:avLst/>
          </a:prstGeom>
        </p:spPr>
      </p:pic>
      <p:pic>
        <p:nvPicPr>
          <p:cNvPr id="17" name="Picture 16">
            <a:extLst>
              <a:ext uri="{FF2B5EF4-FFF2-40B4-BE49-F238E27FC236}">
                <a16:creationId xmlns:a16="http://schemas.microsoft.com/office/drawing/2014/main" id="{746CDA0D-C0DF-4883-8C50-88AD2B5754B7}"/>
              </a:ext>
            </a:extLst>
          </p:cNvPr>
          <p:cNvPicPr>
            <a:picLocks noChangeAspect="1"/>
          </p:cNvPicPr>
          <p:nvPr/>
        </p:nvPicPr>
        <p:blipFill>
          <a:blip r:embed="rId5"/>
          <a:stretch>
            <a:fillRect/>
          </a:stretch>
        </p:blipFill>
        <p:spPr>
          <a:xfrm>
            <a:off x="199994" y="3651810"/>
            <a:ext cx="3730578" cy="322569"/>
          </a:xfrm>
          <a:prstGeom prst="rect">
            <a:avLst/>
          </a:prstGeom>
        </p:spPr>
      </p:pic>
      <p:pic>
        <p:nvPicPr>
          <p:cNvPr id="8" name="Graphic 7" descr="Tag">
            <a:extLst>
              <a:ext uri="{FF2B5EF4-FFF2-40B4-BE49-F238E27FC236}">
                <a16:creationId xmlns:a16="http://schemas.microsoft.com/office/drawing/2014/main" id="{21450E16-40BE-492B-9643-862DF7DFE2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1132707"/>
            <a:ext cx="914400" cy="914400"/>
          </a:xfrm>
          <a:prstGeom prst="rect">
            <a:avLst/>
          </a:prstGeom>
        </p:spPr>
      </p:pic>
      <p:sp>
        <p:nvSpPr>
          <p:cNvPr id="12" name="Text Placeholder 3">
            <a:extLst>
              <a:ext uri="{FF2B5EF4-FFF2-40B4-BE49-F238E27FC236}">
                <a16:creationId xmlns:a16="http://schemas.microsoft.com/office/drawing/2014/main" id="{74B7A244-0C3F-4081-B514-87B1A5133A94}"/>
              </a:ext>
            </a:extLst>
          </p:cNvPr>
          <p:cNvSpPr txBox="1">
            <a:spLocks/>
          </p:cNvSpPr>
          <p:nvPr/>
        </p:nvSpPr>
        <p:spPr>
          <a:xfrm>
            <a:off x="6696108" y="408538"/>
            <a:ext cx="4980404" cy="519206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Classifications</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Q&amp;A</a:t>
            </a:r>
          </a:p>
          <a:p>
            <a:pPr marL="0" marR="0" lvl="0" indent="0" algn="l" defTabSz="914367" rtl="0" eaLnBrk="1" fontAlgn="auto" latinLnBrk="0" hangingPunct="1">
              <a:lnSpc>
                <a:spcPct val="3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flows</a:t>
            </a:r>
          </a:p>
        </p:txBody>
      </p:sp>
      <p:pic>
        <p:nvPicPr>
          <p:cNvPr id="10" name="Graphic 9" descr="Workflow">
            <a:extLst>
              <a:ext uri="{FF2B5EF4-FFF2-40B4-BE49-F238E27FC236}">
                <a16:creationId xmlns:a16="http://schemas.microsoft.com/office/drawing/2014/main" id="{210E2C62-DB5D-4236-A4D6-304685353F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677649"/>
            <a:ext cx="914400" cy="914400"/>
          </a:xfrm>
          <a:prstGeom prst="rect">
            <a:avLst/>
          </a:prstGeom>
        </p:spPr>
      </p:pic>
      <p:pic>
        <p:nvPicPr>
          <p:cNvPr id="13" name="Graphic 12" descr="Help">
            <a:extLst>
              <a:ext uri="{FF2B5EF4-FFF2-40B4-BE49-F238E27FC236}">
                <a16:creationId xmlns:a16="http://schemas.microsoft.com/office/drawing/2014/main" id="{E331EE57-9969-47B6-98DF-51D7F1D67B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2971800"/>
            <a:ext cx="914400" cy="914400"/>
          </a:xfrm>
          <a:prstGeom prst="rect">
            <a:avLst/>
          </a:prstGeom>
        </p:spPr>
      </p:pic>
    </p:spTree>
    <p:custDataLst>
      <p:tags r:id="rId1"/>
    </p:custDataLst>
    <p:extLst>
      <p:ext uri="{BB962C8B-B14F-4D97-AF65-F5344CB8AC3E}">
        <p14:creationId xmlns:p14="http://schemas.microsoft.com/office/powerpoint/2010/main" val="1091058722"/>
      </p:ext>
    </p:extLst>
  </p:cSld>
  <p:clrMapOvr>
    <a:masterClrMapping/>
  </p:clrMapOvr>
  <mc:AlternateContent xmlns:mc="http://schemas.openxmlformats.org/markup-compatibility/2006" xmlns:p14="http://schemas.microsoft.com/office/powerpoint/2010/main">
    <mc:Choice Requires="p14">
      <p:transition spd="med" p14:dur="700" advTm="187098">
        <p:fade/>
      </p:transition>
    </mc:Choice>
    <mc:Fallback xmlns="">
      <p:transition spd="med" advTm="18709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19" grpId="0" animBg="1"/>
    </p:bld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should the Power BI Tenant Settings be set to?</a:t>
            </a:r>
          </a:p>
        </p:txBody>
      </p:sp>
      <p:sp>
        <p:nvSpPr>
          <p:cNvPr id="4" name="Text Placeholder 1">
            <a:extLst>
              <a:ext uri="{FF2B5EF4-FFF2-40B4-BE49-F238E27FC236}">
                <a16:creationId xmlns:a16="http://schemas.microsoft.com/office/drawing/2014/main" id="{A4B37482-9273-4820-9E42-2A8803B2780D}"/>
              </a:ext>
            </a:extLst>
          </p:cNvPr>
          <p:cNvSpPr>
            <a:spLocks noGrp="1"/>
          </p:cNvSpPr>
          <p:nvPr>
            <p:ph type="body" sz="quarter" idx="10"/>
          </p:nvPr>
        </p:nvSpPr>
        <p:spPr>
          <a:xfrm>
            <a:off x="302482" y="3178513"/>
            <a:ext cx="11587037" cy="3480144"/>
          </a:xfrm>
        </p:spPr>
        <p:txBody>
          <a:bodyPr/>
          <a:lstStyle/>
          <a:p>
            <a:r>
              <a:rPr lang="en-GB"/>
              <a:t>Actions</a:t>
            </a:r>
            <a:endParaRPr lang="en-US"/>
          </a:p>
          <a:p>
            <a:pPr lvl="2"/>
            <a:r>
              <a:rPr lang="en-US">
                <a:solidFill>
                  <a:srgbClr val="EDC30D"/>
                </a:solidFill>
              </a:rPr>
              <a:t>Login to Power BI Service</a:t>
            </a:r>
          </a:p>
          <a:p>
            <a:pPr lvl="2"/>
            <a:r>
              <a:rPr lang="en-US">
                <a:solidFill>
                  <a:srgbClr val="EDC30D"/>
                </a:solidFill>
              </a:rPr>
              <a:t>Select settings gear in the top right</a:t>
            </a:r>
          </a:p>
          <a:p>
            <a:pPr lvl="2"/>
            <a:r>
              <a:rPr lang="en-US">
                <a:solidFill>
                  <a:srgbClr val="EDC30D"/>
                </a:solidFill>
              </a:rPr>
              <a:t>Select Admin Portal</a:t>
            </a:r>
          </a:p>
          <a:p>
            <a:pPr lvl="2"/>
            <a:r>
              <a:rPr lang="en-US">
                <a:solidFill>
                  <a:srgbClr val="EDC30D"/>
                </a:solidFill>
              </a:rPr>
              <a:t>Navigate to Tenant Settings</a:t>
            </a:r>
          </a:p>
          <a:p>
            <a:pPr lvl="2"/>
            <a:r>
              <a:rPr lang="en-US">
                <a:solidFill>
                  <a:srgbClr val="EDC30D"/>
                </a:solidFill>
              </a:rPr>
              <a:t>Configure each setting appropriately</a:t>
            </a:r>
          </a:p>
        </p:txBody>
      </p:sp>
    </p:spTree>
    <p:custDataLst>
      <p:tags r:id="rId2"/>
    </p:custDataLst>
    <p:extLst>
      <p:ext uri="{BB962C8B-B14F-4D97-AF65-F5344CB8AC3E}">
        <p14:creationId xmlns:p14="http://schemas.microsoft.com/office/powerpoint/2010/main" val="175138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Power BI tenant settings?</a:t>
            </a:r>
          </a:p>
        </p:txBody>
      </p:sp>
      <p:sp>
        <p:nvSpPr>
          <p:cNvPr id="4" name="Text Placeholder 1">
            <a:extLst>
              <a:ext uri="{FF2B5EF4-FFF2-40B4-BE49-F238E27FC236}">
                <a16:creationId xmlns:a16="http://schemas.microsoft.com/office/drawing/2014/main" id="{35FA8E11-AF05-4C83-9394-55A154F117F0}"/>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BI Team</a:t>
            </a:r>
          </a:p>
          <a:p>
            <a:pPr lvl="2"/>
            <a:r>
              <a:rPr lang="en-GB">
                <a:solidFill>
                  <a:srgbClr val="EDC30D"/>
                </a:solidFill>
              </a:rPr>
              <a:t>Support Team</a:t>
            </a:r>
            <a:endParaRPr lang="en-US">
              <a:solidFill>
                <a:srgbClr val="EDC30D"/>
              </a:solidFill>
            </a:endParaRPr>
          </a:p>
        </p:txBody>
      </p:sp>
    </p:spTree>
    <p:custDataLst>
      <p:tags r:id="rId2"/>
    </p:custDataLst>
    <p:extLst>
      <p:ext uri="{BB962C8B-B14F-4D97-AF65-F5344CB8AC3E}">
        <p14:creationId xmlns:p14="http://schemas.microsoft.com/office/powerpoint/2010/main" val="116050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sz="4400" err="1"/>
              <a:t>Considerations</a:t>
            </a:r>
            <a:r>
              <a:rPr lang="de-DE" sz="4400"/>
              <a:t> </a:t>
            </a:r>
            <a:r>
              <a:rPr lang="de-DE" sz="4400" err="1"/>
              <a:t>for</a:t>
            </a:r>
            <a:r>
              <a:rPr lang="de-DE" sz="4400"/>
              <a:t> Service Management</a:t>
            </a:r>
            <a:endParaRPr lang="en-US" sz="4400"/>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2050161"/>
            <a:ext cx="6573955" cy="2757678"/>
          </a:xfrm>
        </p:spPr>
        <p:txBody>
          <a:bodyPr/>
          <a:lstStyle/>
          <a:p>
            <a:pPr marL="342900" indent="-342900">
              <a:buFont typeface="Arial" panose="020B0604020202020204" pitchFamily="34" charset="0"/>
              <a:buChar char="•"/>
            </a:pPr>
            <a:r>
              <a:rPr lang="en-US" sz="2000"/>
              <a:t>Conduct a review of all tenant settings and verify which groups are assigned for each setting.</a:t>
            </a:r>
          </a:p>
          <a:p>
            <a:endParaRPr lang="en-US" sz="2000"/>
          </a:p>
          <a:p>
            <a:pPr marL="342900" indent="-342900">
              <a:buFont typeface="Arial" panose="020B0604020202020204" pitchFamily="34" charset="0"/>
              <a:buChar char="•"/>
            </a:pPr>
            <a:r>
              <a:rPr lang="en-US" sz="2000"/>
              <a:t>Document the tenant settings for the internal Power BI community and post it in the centralized portal. </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ustomize the links under the Get Help menu option when user resources are established.</a:t>
            </a:r>
          </a:p>
        </p:txBody>
      </p:sp>
    </p:spTree>
    <p:extLst>
      <p:ext uri="{BB962C8B-B14F-4D97-AF65-F5344CB8AC3E}">
        <p14:creationId xmlns:p14="http://schemas.microsoft.com/office/powerpoint/2010/main" val="2826068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A8785-581D-4C43-8CCA-779890E594A7}"/>
              </a:ext>
            </a:extLst>
          </p:cNvPr>
          <p:cNvSpPr>
            <a:spLocks noGrp="1"/>
          </p:cNvSpPr>
          <p:nvPr>
            <p:ph type="title"/>
          </p:nvPr>
        </p:nvSpPr>
        <p:spPr/>
        <p:txBody>
          <a:bodyPr/>
          <a:lstStyle/>
          <a:p>
            <a:r>
              <a:rPr lang="en-GB"/>
              <a:t>What led to this series…</a:t>
            </a:r>
          </a:p>
        </p:txBody>
      </p:sp>
      <p:graphicFrame>
        <p:nvGraphicFramePr>
          <p:cNvPr id="4" name="Diagram 3">
            <a:extLst>
              <a:ext uri="{FF2B5EF4-FFF2-40B4-BE49-F238E27FC236}">
                <a16:creationId xmlns:a16="http://schemas.microsoft.com/office/drawing/2014/main" id="{88FE0542-D57E-42A1-BE02-4BF0C3A00ECE}"/>
              </a:ext>
            </a:extLst>
          </p:cNvPr>
          <p:cNvGraphicFramePr/>
          <p:nvPr/>
        </p:nvGraphicFramePr>
        <p:xfrm>
          <a:off x="481080" y="1099450"/>
          <a:ext cx="10979948" cy="5294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8741698"/>
      </p:ext>
    </p:extLst>
  </p:cSld>
  <p:clrMapOvr>
    <a:masterClrMapping/>
  </p:clrMapOvr>
  <mc:AlternateContent xmlns:mc="http://schemas.openxmlformats.org/markup-compatibility/2006" xmlns:p14="http://schemas.microsoft.com/office/powerpoint/2010/main">
    <mc:Choice Requires="p14">
      <p:transition spd="med" p14:dur="700" advTm="293928">
        <p:fade/>
      </p:transition>
    </mc:Choice>
    <mc:Fallback xmlns="">
      <p:transition spd="med" advTm="29392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E5DB8780-D17C-47A7-BFE5-A859BFC90A9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321E2A76-903A-49F9-8AD7-9C8DCAC8DC0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0EB88D22-9476-489B-94B3-4A9139D99A7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5B96E3A4-F3F2-45A8-9730-FC402A2A87C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1E93BFFE-632C-406D-A7EB-B2A7ED8EE13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79D869E6-DB54-4DE4-947C-09BA4B76940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474A02-EA49-4FEC-9CEE-42A9761127BC}"/>
              </a:ext>
            </a:extLst>
          </p:cNvPr>
          <p:cNvSpPr>
            <a:spLocks noGrp="1"/>
          </p:cNvSpPr>
          <p:nvPr>
            <p:ph type="body" sz="quarter" idx="10"/>
          </p:nvPr>
        </p:nvSpPr>
        <p:spPr>
          <a:xfrm>
            <a:off x="6553200" y="957012"/>
            <a:ext cx="4431030" cy="4430315"/>
          </a:xfrm>
        </p:spPr>
        <p:txBody>
          <a:bodyPr/>
          <a:lstStyle/>
          <a:p>
            <a:pPr>
              <a:lnSpc>
                <a:spcPct val="250000"/>
              </a:lnSpc>
            </a:pPr>
            <a:r>
              <a:rPr lang="en-GB"/>
              <a:t>Theme Colour</a:t>
            </a:r>
          </a:p>
          <a:p>
            <a:pPr lvl="0">
              <a:lnSpc>
                <a:spcPct val="250000"/>
              </a:lnSpc>
            </a:pPr>
            <a:r>
              <a:rPr lang="en-GB"/>
              <a:t>Logo</a:t>
            </a:r>
          </a:p>
          <a:p>
            <a:pPr lvl="0">
              <a:lnSpc>
                <a:spcPct val="250000"/>
              </a:lnSpc>
            </a:pPr>
            <a:r>
              <a:rPr lang="en-GB"/>
              <a:t>Cover Image</a:t>
            </a:r>
          </a:p>
        </p:txBody>
      </p:sp>
      <p:sp>
        <p:nvSpPr>
          <p:cNvPr id="14" name="Title 6">
            <a:extLst>
              <a:ext uri="{FF2B5EF4-FFF2-40B4-BE49-F238E27FC236}">
                <a16:creationId xmlns:a16="http://schemas.microsoft.com/office/drawing/2014/main" id="{6283CED6-4141-448F-BED8-996D646FC665}"/>
              </a:ext>
            </a:extLst>
          </p:cNvPr>
          <p:cNvSpPr txBox="1">
            <a:spLocks/>
          </p:cNvSpPr>
          <p:nvPr/>
        </p:nvSpPr>
        <p:spPr>
          <a:xfrm>
            <a:off x="93783" y="645998"/>
            <a:ext cx="3921369" cy="2358572"/>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ustom Branding</a:t>
            </a:r>
          </a:p>
        </p:txBody>
      </p:sp>
      <p:pic>
        <p:nvPicPr>
          <p:cNvPr id="8" name="Graphic 7" descr="Tag">
            <a:extLst>
              <a:ext uri="{FF2B5EF4-FFF2-40B4-BE49-F238E27FC236}">
                <a16:creationId xmlns:a16="http://schemas.microsoft.com/office/drawing/2014/main" id="{21450E16-40BE-492B-9643-862DF7DFE2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2998259"/>
            <a:ext cx="914400" cy="914400"/>
          </a:xfrm>
          <a:prstGeom prst="rect">
            <a:avLst/>
          </a:prstGeom>
        </p:spPr>
      </p:pic>
      <p:pic>
        <p:nvPicPr>
          <p:cNvPr id="3074" name="Picture 2">
            <a:extLst>
              <a:ext uri="{FF2B5EF4-FFF2-40B4-BE49-F238E27FC236}">
                <a16:creationId xmlns:a16="http://schemas.microsoft.com/office/drawing/2014/main" id="{E46D3F86-369B-4426-8D22-077261CF10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539" y="3285333"/>
            <a:ext cx="5036045" cy="2701628"/>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Palette">
            <a:extLst>
              <a:ext uri="{FF2B5EF4-FFF2-40B4-BE49-F238E27FC236}">
                <a16:creationId xmlns:a16="http://schemas.microsoft.com/office/drawing/2014/main" id="{9CC11A56-6C44-4E27-B263-C668109C9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472927"/>
            <a:ext cx="914400" cy="914400"/>
          </a:xfrm>
          <a:prstGeom prst="rect">
            <a:avLst/>
          </a:prstGeom>
        </p:spPr>
      </p:pic>
      <p:pic>
        <p:nvPicPr>
          <p:cNvPr id="10" name="Graphic 9" descr="Images">
            <a:extLst>
              <a:ext uri="{FF2B5EF4-FFF2-40B4-BE49-F238E27FC236}">
                <a16:creationId xmlns:a16="http://schemas.microsoft.com/office/drawing/2014/main" id="{1B58AA00-632C-4BBA-8D10-F5BF36F3E5D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1523591"/>
            <a:ext cx="914400" cy="914400"/>
          </a:xfrm>
          <a:prstGeom prst="rect">
            <a:avLst/>
          </a:prstGeom>
        </p:spPr>
      </p:pic>
    </p:spTree>
    <p:extLst>
      <p:ext uri="{BB962C8B-B14F-4D97-AF65-F5344CB8AC3E}">
        <p14:creationId xmlns:p14="http://schemas.microsoft.com/office/powerpoint/2010/main" val="1905921646"/>
      </p:ext>
    </p:extLst>
  </p:cSld>
  <p:clrMapOvr>
    <a:masterClrMapping/>
  </p:clrMapOvr>
  <mc:AlternateContent xmlns:mc="http://schemas.openxmlformats.org/markup-compatibility/2006" xmlns:p14="http://schemas.microsoft.com/office/powerpoint/2010/main">
    <mc:Choice Requires="p14">
      <p:transition spd="med" p14:dur="700" advTm="17655">
        <p:fade/>
      </p:transition>
    </mc:Choice>
    <mc:Fallback xmlns="">
      <p:transition spd="med" advTm="17655">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D7B08-C6A4-4869-979F-0DD97887C08A}"/>
              </a:ext>
            </a:extLst>
          </p:cNvPr>
          <p:cNvSpPr>
            <a:spLocks noGrp="1"/>
          </p:cNvSpPr>
          <p:nvPr>
            <p:ph type="title"/>
          </p:nvPr>
        </p:nvSpPr>
        <p:spPr>
          <a:xfrm>
            <a:off x="269240" y="123092"/>
            <a:ext cx="11655840" cy="956908"/>
          </a:xfrm>
        </p:spPr>
        <p:txBody>
          <a:bodyPr/>
          <a:lstStyle/>
          <a:p>
            <a:r>
              <a:rPr lang="en-GB"/>
              <a:t>Usage Metrics – Admin Portal</a:t>
            </a:r>
            <a:endParaRPr lang="en-US"/>
          </a:p>
        </p:txBody>
      </p:sp>
      <p:pic>
        <p:nvPicPr>
          <p:cNvPr id="8194" name="Picture 2" descr="https://docs.microsoft.com/en-us/power-bi/media/service-admin-portal/powerbi-admin-usage-metrics-number-tiles.png">
            <a:extLst>
              <a:ext uri="{FF2B5EF4-FFF2-40B4-BE49-F238E27FC236}">
                <a16:creationId xmlns:a16="http://schemas.microsoft.com/office/drawing/2014/main" id="{4E25793D-DF20-4C07-B533-EEE18A0A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314" y="1425826"/>
            <a:ext cx="4630063" cy="106137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s://docs.microsoft.com/en-us/power-bi/media/service-admin-portal/powerbi-admin-usage-metrics-top-dashboards.png">
            <a:extLst>
              <a:ext uri="{FF2B5EF4-FFF2-40B4-BE49-F238E27FC236}">
                <a16:creationId xmlns:a16="http://schemas.microsoft.com/office/drawing/2014/main" id="{151DF823-A2C3-4CF7-8BA6-9BFFC81291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979" y="3113299"/>
            <a:ext cx="5399176" cy="25150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docs.microsoft.com/en-us/power-bi/media/service-admin-portal/powerbi-admin-usage-metrics-top-connections.png">
            <a:extLst>
              <a:ext uri="{FF2B5EF4-FFF2-40B4-BE49-F238E27FC236}">
                <a16:creationId xmlns:a16="http://schemas.microsoft.com/office/drawing/2014/main" id="{DAB63580-722C-4364-A48F-3420A773C1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5585" y="1275482"/>
            <a:ext cx="4630063" cy="2153518"/>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s://docs.microsoft.com/en-us/power-bi/media/service-admin-portal/powerbi-admin-usage-metrics-top-users-reports.png">
            <a:extLst>
              <a:ext uri="{FF2B5EF4-FFF2-40B4-BE49-F238E27FC236}">
                <a16:creationId xmlns:a16="http://schemas.microsoft.com/office/drawing/2014/main" id="{680969D0-7B03-4F61-A7EB-66A71A5529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4925" y="3624482"/>
            <a:ext cx="3614833" cy="1269037"/>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https://docs.microsoft.com/en-us/power-bi/media/service-admin-portal/powerbi-admin-usage-metrics-top-users-dashboards.png">
            <a:extLst>
              <a:ext uri="{FF2B5EF4-FFF2-40B4-BE49-F238E27FC236}">
                <a16:creationId xmlns:a16="http://schemas.microsoft.com/office/drawing/2014/main" id="{412CE39C-D76D-4453-8A74-A2FD0811E1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2341" y="4951479"/>
            <a:ext cx="3622525" cy="1353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72866"/>
      </p:ext>
    </p:extLst>
  </p:cSld>
  <p:clrMapOvr>
    <a:masterClrMapping/>
  </p:clrMapOvr>
  <mc:AlternateContent xmlns:mc="http://schemas.openxmlformats.org/markup-compatibility/2006" xmlns:p14="http://schemas.microsoft.com/office/powerpoint/2010/main">
    <mc:Choice Requires="p14">
      <p:transition spd="med" p14:dur="700" advTm="45744">
        <p:fade/>
      </p:transition>
    </mc:Choice>
    <mc:Fallback xmlns="">
      <p:transition spd="med" advTm="45744">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D7B08-C6A4-4869-979F-0DD97887C08A}"/>
              </a:ext>
            </a:extLst>
          </p:cNvPr>
          <p:cNvSpPr>
            <a:spLocks noGrp="1"/>
          </p:cNvSpPr>
          <p:nvPr>
            <p:ph type="title"/>
          </p:nvPr>
        </p:nvSpPr>
        <p:spPr/>
        <p:txBody>
          <a:bodyPr/>
          <a:lstStyle/>
          <a:p>
            <a:r>
              <a:rPr lang="en-GB"/>
              <a:t>Usage Metrics – Report / Dashboard</a:t>
            </a:r>
            <a:endParaRPr lang="en-US"/>
          </a:p>
        </p:txBody>
      </p:sp>
      <p:pic>
        <p:nvPicPr>
          <p:cNvPr id="4" name="Picture 3" descr="A screenshot of a cell phone&#10;&#10;Description generated with very high confidence">
            <a:extLst>
              <a:ext uri="{FF2B5EF4-FFF2-40B4-BE49-F238E27FC236}">
                <a16:creationId xmlns:a16="http://schemas.microsoft.com/office/drawing/2014/main" id="{629424FF-CAAB-4A4C-9FA0-9EB4E6E6A9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516" y="1849687"/>
            <a:ext cx="7054968" cy="4016055"/>
          </a:xfrm>
          <a:prstGeom prst="rect">
            <a:avLst/>
          </a:prstGeom>
        </p:spPr>
      </p:pic>
    </p:spTree>
    <p:extLst>
      <p:ext uri="{BB962C8B-B14F-4D97-AF65-F5344CB8AC3E}">
        <p14:creationId xmlns:p14="http://schemas.microsoft.com/office/powerpoint/2010/main" val="2968327163"/>
      </p:ext>
    </p:extLst>
  </p:cSld>
  <p:clrMapOvr>
    <a:masterClrMapping/>
  </p:clrMapOvr>
  <mc:AlternateContent xmlns:mc="http://schemas.openxmlformats.org/markup-compatibility/2006" xmlns:p14="http://schemas.microsoft.com/office/powerpoint/2010/main">
    <mc:Choice Requires="p14">
      <p:transition spd="med" p14:dur="700" advTm="51233">
        <p:fade/>
      </p:transition>
    </mc:Choice>
    <mc:Fallback xmlns="">
      <p:transition spd="med" advTm="51233">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352" y="676275"/>
            <a:ext cx="5066323" cy="2358572"/>
          </a:xfrm>
        </p:spPr>
        <p:txBody>
          <a:bodyPr/>
          <a:lstStyle/>
          <a:p>
            <a:r>
              <a:rPr lang="en-GB"/>
              <a:t>Auditing</a:t>
            </a:r>
          </a:p>
        </p:txBody>
      </p:sp>
      <p:pic>
        <p:nvPicPr>
          <p:cNvPr id="5" name="Picture 4"/>
          <p:cNvPicPr>
            <a:picLocks noChangeAspect="1"/>
          </p:cNvPicPr>
          <p:nvPr/>
        </p:nvPicPr>
        <p:blipFill>
          <a:blip r:embed="rId3"/>
          <a:stretch>
            <a:fillRect/>
          </a:stretch>
        </p:blipFill>
        <p:spPr>
          <a:xfrm>
            <a:off x="261352" y="3034847"/>
            <a:ext cx="4611437" cy="2510607"/>
          </a:xfrm>
          <a:prstGeom prst="rect">
            <a:avLst/>
          </a:prstGeom>
        </p:spPr>
      </p:pic>
      <p:graphicFrame>
        <p:nvGraphicFramePr>
          <p:cNvPr id="3" name="Tabelle 5">
            <a:extLst>
              <a:ext uri="{FF2B5EF4-FFF2-40B4-BE49-F238E27FC236}">
                <a16:creationId xmlns:a16="http://schemas.microsoft.com/office/drawing/2014/main" id="{E911F143-1CBE-4494-94EF-854806B6E3A5}"/>
              </a:ext>
            </a:extLst>
          </p:cNvPr>
          <p:cNvGraphicFramePr>
            <a:graphicFrameLocks noGrp="1"/>
          </p:cNvGraphicFramePr>
          <p:nvPr/>
        </p:nvGraphicFramePr>
        <p:xfrm>
          <a:off x="5763985" y="1855561"/>
          <a:ext cx="6019706" cy="2510608"/>
        </p:xfrm>
        <a:graphic>
          <a:graphicData uri="http://schemas.openxmlformats.org/drawingml/2006/table">
            <a:tbl>
              <a:tblPr firstRow="1" bandRow="1">
                <a:tableStyleId>{69CF1AB2-1976-4502-BF36-3FF5EA218861}</a:tableStyleId>
              </a:tblPr>
              <a:tblGrid>
                <a:gridCol w="6019706">
                  <a:extLst>
                    <a:ext uri="{9D8B030D-6E8A-4147-A177-3AD203B41FA5}">
                      <a16:colId xmlns:a16="http://schemas.microsoft.com/office/drawing/2014/main" val="3088126747"/>
                    </a:ext>
                  </a:extLst>
                </a:gridCol>
              </a:tblGrid>
              <a:tr h="627652">
                <a:tc>
                  <a:txBody>
                    <a:bodyPr/>
                    <a:lstStyle/>
                    <a:p>
                      <a:r>
                        <a:rPr lang="de-DE" sz="2800" b="1">
                          <a:latin typeface="Arial" panose="020B0604020202020204" pitchFamily="34" charset="0"/>
                          <a:cs typeface="Arial" panose="020B0604020202020204" pitchFamily="34" charset="0"/>
                        </a:rPr>
                        <a:t>Power BI </a:t>
                      </a:r>
                      <a:r>
                        <a:rPr lang="de-DE" sz="2800" b="1" err="1">
                          <a:latin typeface="Arial" panose="020B0604020202020204" pitchFamily="34" charset="0"/>
                          <a:cs typeface="Arial" panose="020B0604020202020204" pitchFamily="34" charset="0"/>
                        </a:rPr>
                        <a:t>Activity</a:t>
                      </a:r>
                      <a:r>
                        <a:rPr lang="de-DE" sz="2800" b="1">
                          <a:latin typeface="Arial" panose="020B0604020202020204" pitchFamily="34" charset="0"/>
                          <a:cs typeface="Arial" panose="020B0604020202020204" pitchFamily="34" charset="0"/>
                        </a:rPr>
                        <a:t> Log</a:t>
                      </a:r>
                    </a:p>
                  </a:txBody>
                  <a:tcPr/>
                </a:tc>
                <a:extLst>
                  <a:ext uri="{0D108BD9-81ED-4DB2-BD59-A6C34878D82A}">
                    <a16:rowId xmlns:a16="http://schemas.microsoft.com/office/drawing/2014/main" val="151346766"/>
                  </a:ext>
                </a:extLst>
              </a:tr>
              <a:tr h="627652">
                <a:tc>
                  <a:txBody>
                    <a:bodyPr/>
                    <a:lstStyle/>
                    <a:p>
                      <a:r>
                        <a:rPr lang="de-DE" sz="2800" b="1">
                          <a:latin typeface="Arial" panose="020B0604020202020204" pitchFamily="34" charset="0"/>
                          <a:cs typeface="Arial" panose="020B0604020202020204" pitchFamily="34" charset="0"/>
                        </a:rPr>
                        <a:t>REST APIs</a:t>
                      </a:r>
                    </a:p>
                  </a:txBody>
                  <a:tcPr/>
                </a:tc>
                <a:extLst>
                  <a:ext uri="{0D108BD9-81ED-4DB2-BD59-A6C34878D82A}">
                    <a16:rowId xmlns:a16="http://schemas.microsoft.com/office/drawing/2014/main" val="452235087"/>
                  </a:ext>
                </a:extLst>
              </a:tr>
              <a:tr h="627652">
                <a:tc>
                  <a:txBody>
                    <a:bodyPr/>
                    <a:lstStyle/>
                    <a:p>
                      <a:r>
                        <a:rPr lang="de-DE" sz="2800" b="1">
                          <a:latin typeface="Arial" panose="020B0604020202020204" pitchFamily="34" charset="0"/>
                          <a:cs typeface="Arial" panose="020B0604020202020204" pitchFamily="34" charset="0"/>
                        </a:rPr>
                        <a:t>Power BI Management Module</a:t>
                      </a:r>
                    </a:p>
                  </a:txBody>
                  <a:tcPr/>
                </a:tc>
                <a:extLst>
                  <a:ext uri="{0D108BD9-81ED-4DB2-BD59-A6C34878D82A}">
                    <a16:rowId xmlns:a16="http://schemas.microsoft.com/office/drawing/2014/main" val="2259497599"/>
                  </a:ext>
                </a:extLst>
              </a:tr>
              <a:tr h="627652">
                <a:tc>
                  <a:txBody>
                    <a:bodyPr/>
                    <a:lstStyle/>
                    <a:p>
                      <a:r>
                        <a:rPr lang="de-DE" sz="2800" b="1" err="1">
                          <a:latin typeface="Arial" panose="020B0604020202020204" pitchFamily="34" charset="0"/>
                          <a:cs typeface="Arial" panose="020B0604020202020204" pitchFamily="34" charset="0"/>
                        </a:rPr>
                        <a:t>Usage</a:t>
                      </a:r>
                      <a:r>
                        <a:rPr lang="de-DE" sz="2800" b="1">
                          <a:latin typeface="Arial" panose="020B0604020202020204" pitchFamily="34" charset="0"/>
                          <a:cs typeface="Arial" panose="020B0604020202020204" pitchFamily="34" charset="0"/>
                        </a:rPr>
                        <a:t> and Performance </a:t>
                      </a:r>
                      <a:r>
                        <a:rPr lang="de-DE" sz="2800" b="1" err="1">
                          <a:latin typeface="Arial" panose="020B0604020202020204" pitchFamily="34" charset="0"/>
                          <a:cs typeface="Arial" panose="020B0604020202020204" pitchFamily="34" charset="0"/>
                        </a:rPr>
                        <a:t>Insights</a:t>
                      </a:r>
                      <a:r>
                        <a:rPr lang="de-DE" sz="2800" b="1">
                          <a:latin typeface="Arial" panose="020B0604020202020204" pitchFamily="34" charset="0"/>
                          <a:cs typeface="Arial" panose="020B0604020202020204" pitchFamily="34" charset="0"/>
                        </a:rPr>
                        <a:t> </a:t>
                      </a:r>
                    </a:p>
                  </a:txBody>
                  <a:tcPr/>
                </a:tc>
                <a:extLst>
                  <a:ext uri="{0D108BD9-81ED-4DB2-BD59-A6C34878D82A}">
                    <a16:rowId xmlns:a16="http://schemas.microsoft.com/office/drawing/2014/main" val="1248062676"/>
                  </a:ext>
                </a:extLst>
              </a:tr>
            </a:tbl>
          </a:graphicData>
        </a:graphic>
      </p:graphicFrame>
    </p:spTree>
    <p:extLst>
      <p:ext uri="{BB962C8B-B14F-4D97-AF65-F5344CB8AC3E}">
        <p14:creationId xmlns:p14="http://schemas.microsoft.com/office/powerpoint/2010/main" val="190672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Auditing</a:t>
            </a:r>
          </a:p>
        </p:txBody>
      </p:sp>
      <p:grpSp>
        <p:nvGrpSpPr>
          <p:cNvPr id="10" name="Group 9">
            <a:extLst>
              <a:ext uri="{FF2B5EF4-FFF2-40B4-BE49-F238E27FC236}">
                <a16:creationId xmlns:a16="http://schemas.microsoft.com/office/drawing/2014/main" id="{F6E33EA2-8AFE-4B09-B657-D8F3E455F86D}"/>
              </a:ext>
            </a:extLst>
          </p:cNvPr>
          <p:cNvGrpSpPr/>
          <p:nvPr/>
        </p:nvGrpSpPr>
        <p:grpSpPr>
          <a:xfrm>
            <a:off x="601727" y="1784404"/>
            <a:ext cx="10988546" cy="4126473"/>
            <a:chOff x="357187" y="1328208"/>
            <a:chExt cx="10988546" cy="4126473"/>
          </a:xfrm>
        </p:grpSpPr>
        <p:pic>
          <p:nvPicPr>
            <p:cNvPr id="2" name="Picture 1">
              <a:extLst>
                <a:ext uri="{FF2B5EF4-FFF2-40B4-BE49-F238E27FC236}">
                  <a16:creationId xmlns:a16="http://schemas.microsoft.com/office/drawing/2014/main" id="{36AEB20B-FE98-4EEE-A628-B4764A6C5D5D}"/>
                </a:ext>
              </a:extLst>
            </p:cNvPr>
            <p:cNvPicPr>
              <a:picLocks noChangeAspect="1"/>
            </p:cNvPicPr>
            <p:nvPr/>
          </p:nvPicPr>
          <p:blipFill>
            <a:blip r:embed="rId3"/>
            <a:stretch>
              <a:fillRect/>
            </a:stretch>
          </p:blipFill>
          <p:spPr>
            <a:xfrm>
              <a:off x="366713" y="1328208"/>
              <a:ext cx="10979020" cy="2938690"/>
            </a:xfrm>
            <a:prstGeom prst="rect">
              <a:avLst/>
            </a:prstGeom>
          </p:spPr>
        </p:pic>
        <p:pic>
          <p:nvPicPr>
            <p:cNvPr id="5" name="Picture 4">
              <a:extLst>
                <a:ext uri="{FF2B5EF4-FFF2-40B4-BE49-F238E27FC236}">
                  <a16:creationId xmlns:a16="http://schemas.microsoft.com/office/drawing/2014/main" id="{D9BE7098-E26B-4D9C-9BF3-CDF852D3A6E9}"/>
                </a:ext>
              </a:extLst>
            </p:cNvPr>
            <p:cNvPicPr>
              <a:picLocks noChangeAspect="1"/>
            </p:cNvPicPr>
            <p:nvPr/>
          </p:nvPicPr>
          <p:blipFill>
            <a:blip r:embed="rId4"/>
            <a:stretch>
              <a:fillRect/>
            </a:stretch>
          </p:blipFill>
          <p:spPr>
            <a:xfrm>
              <a:off x="357187" y="4268253"/>
              <a:ext cx="10988146" cy="1186428"/>
            </a:xfrm>
            <a:prstGeom prst="rect">
              <a:avLst/>
            </a:prstGeom>
          </p:spPr>
        </p:pic>
      </p:grpSp>
    </p:spTree>
    <p:extLst>
      <p:ext uri="{BB962C8B-B14F-4D97-AF65-F5344CB8AC3E}">
        <p14:creationId xmlns:p14="http://schemas.microsoft.com/office/powerpoint/2010/main" val="21869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CDFF298-F942-4EBF-887F-B7ADCB2E891B}"/>
              </a:ext>
            </a:extLst>
          </p:cNvPr>
          <p:cNvSpPr>
            <a:spLocks noGrp="1"/>
          </p:cNvSpPr>
          <p:nvPr>
            <p:ph type="title"/>
          </p:nvPr>
        </p:nvSpPr>
        <p:spPr/>
        <p:txBody>
          <a:bodyPr/>
          <a:lstStyle/>
          <a:p>
            <a:r>
              <a:rPr lang="de-DE" err="1"/>
              <a:t>Categories</a:t>
            </a:r>
            <a:r>
              <a:rPr lang="de-DE"/>
              <a:t> </a:t>
            </a:r>
            <a:r>
              <a:rPr lang="de-DE" err="1"/>
              <a:t>of</a:t>
            </a:r>
            <a:r>
              <a:rPr lang="de-DE"/>
              <a:t> Auditing Data</a:t>
            </a:r>
          </a:p>
        </p:txBody>
      </p:sp>
      <p:graphicFrame>
        <p:nvGraphicFramePr>
          <p:cNvPr id="6" name="Table 5">
            <a:extLst>
              <a:ext uri="{FF2B5EF4-FFF2-40B4-BE49-F238E27FC236}">
                <a16:creationId xmlns:a16="http://schemas.microsoft.com/office/drawing/2014/main" id="{A757FF8D-2E8B-4C04-BCA1-E1A46E4B5D2A}"/>
              </a:ext>
            </a:extLst>
          </p:cNvPr>
          <p:cNvGraphicFramePr>
            <a:graphicFrameLocks noGrp="1"/>
          </p:cNvGraphicFramePr>
          <p:nvPr/>
        </p:nvGraphicFramePr>
        <p:xfrm>
          <a:off x="1591854" y="1694544"/>
          <a:ext cx="9388146" cy="447967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5635490">
                  <a:extLst>
                    <a:ext uri="{9D8B030D-6E8A-4147-A177-3AD203B41FA5}">
                      <a16:colId xmlns:a16="http://schemas.microsoft.com/office/drawing/2014/main" val="1870900502"/>
                    </a:ext>
                  </a:extLst>
                </a:gridCol>
              </a:tblGrid>
              <a:tr h="395358">
                <a:tc>
                  <a:txBody>
                    <a:bodyPr/>
                    <a:lstStyle/>
                    <a:p>
                      <a:r>
                        <a:rPr lang="de-DE" sz="1765" b="1" i="0" kern="1200">
                          <a:solidFill>
                            <a:schemeClr val="lt1"/>
                          </a:solidFill>
                          <a:effectLst/>
                          <a:latin typeface="+mn-lt"/>
                          <a:ea typeface="+mn-ea"/>
                          <a:cs typeface="+mn-cs"/>
                        </a:rPr>
                        <a:t>Category of Auditing Data</a:t>
                      </a:r>
                      <a:endParaRPr lang="en-US" sz="2000"/>
                    </a:p>
                  </a:txBody>
                  <a:tcPr/>
                </a:tc>
                <a:tc>
                  <a:txBody>
                    <a:bodyPr/>
                    <a:lstStyle/>
                    <a:p>
                      <a:r>
                        <a:rPr lang="de-DE" sz="1765" b="1" i="0" kern="1200">
                          <a:solidFill>
                            <a:schemeClr val="lt1"/>
                          </a:solidFill>
                          <a:effectLst/>
                          <a:latin typeface="+mn-lt"/>
                          <a:ea typeface="+mn-ea"/>
                          <a:cs typeface="+mn-cs"/>
                        </a:rPr>
                        <a:t>Type of Questions</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de-DE" sz="1600" b="0" i="0">
                          <a:solidFill>
                            <a:srgbClr val="171717"/>
                          </a:solidFill>
                          <a:effectLst/>
                          <a:latin typeface="Segoe UI" panose="020B0502040204020203" pitchFamily="34" charset="0"/>
                        </a:rPr>
                        <a:t>Usage patterns and adoption</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is the most often-used content,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users are activ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Are report views trending up or down?</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Is there underutilized or abandoned conten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Are viewers using browser or mobile apps more often?</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is content published or updated, and by whom?</a:t>
                      </a:r>
                      <a:endParaRPr lang="en-GB" sz="1600">
                        <a:latin typeface="+mj-lt"/>
                      </a:endParaRP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de-DE" sz="1600" b="0" i="0">
                          <a:solidFill>
                            <a:srgbClr val="171717"/>
                          </a:solidFill>
                          <a:effectLst/>
                          <a:latin typeface="Segoe UI" panose="020B0502040204020203" pitchFamily="34" charset="0"/>
                        </a:rPr>
                        <a:t>Governance, security, and compliance</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are workspace roles updated,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external users are accessing conten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added or updated a sensitivity label?</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does a tenant setting change,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percentage of report views are based on certified datasets?</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at percentage of datasets support more than one report?</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frequently is content downloaded, and by whom?</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generated an embed code for publish to web?</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363728252"/>
                  </a:ext>
                </a:extLst>
              </a:tr>
            </a:tbl>
          </a:graphicData>
        </a:graphic>
      </p:graphicFrame>
    </p:spTree>
    <p:extLst>
      <p:ext uri="{BB962C8B-B14F-4D97-AF65-F5344CB8AC3E}">
        <p14:creationId xmlns:p14="http://schemas.microsoft.com/office/powerpoint/2010/main" val="384043185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CDFF298-F942-4EBF-887F-B7ADCB2E891B}"/>
              </a:ext>
            </a:extLst>
          </p:cNvPr>
          <p:cNvSpPr>
            <a:spLocks noGrp="1"/>
          </p:cNvSpPr>
          <p:nvPr>
            <p:ph type="title"/>
          </p:nvPr>
        </p:nvSpPr>
        <p:spPr/>
        <p:txBody>
          <a:bodyPr/>
          <a:lstStyle/>
          <a:p>
            <a:r>
              <a:rPr lang="de-DE" err="1"/>
              <a:t>Categories</a:t>
            </a:r>
            <a:r>
              <a:rPr lang="de-DE"/>
              <a:t> </a:t>
            </a:r>
            <a:r>
              <a:rPr lang="de-DE" err="1"/>
              <a:t>of</a:t>
            </a:r>
            <a:r>
              <a:rPr lang="de-DE"/>
              <a:t> Auditing Data</a:t>
            </a:r>
          </a:p>
        </p:txBody>
      </p:sp>
      <p:graphicFrame>
        <p:nvGraphicFramePr>
          <p:cNvPr id="6" name="Table 5">
            <a:extLst>
              <a:ext uri="{FF2B5EF4-FFF2-40B4-BE49-F238E27FC236}">
                <a16:creationId xmlns:a16="http://schemas.microsoft.com/office/drawing/2014/main" id="{A757FF8D-2E8B-4C04-BCA1-E1A46E4B5D2A}"/>
              </a:ext>
            </a:extLst>
          </p:cNvPr>
          <p:cNvGraphicFramePr>
            <a:graphicFrameLocks noGrp="1"/>
          </p:cNvGraphicFramePr>
          <p:nvPr/>
        </p:nvGraphicFramePr>
        <p:xfrm>
          <a:off x="1739537" y="1570348"/>
          <a:ext cx="9388146" cy="2528958"/>
        </p:xfrm>
        <a:graphic>
          <a:graphicData uri="http://schemas.openxmlformats.org/drawingml/2006/table">
            <a:tbl>
              <a:tblPr firstRow="1" bandRow="1">
                <a:tableStyleId>{F5AB1C69-6EDB-4FF4-983F-18BD219EF322}</a:tableStyleId>
              </a:tblPr>
              <a:tblGrid>
                <a:gridCol w="3752656">
                  <a:extLst>
                    <a:ext uri="{9D8B030D-6E8A-4147-A177-3AD203B41FA5}">
                      <a16:colId xmlns:a16="http://schemas.microsoft.com/office/drawing/2014/main" val="519669272"/>
                    </a:ext>
                  </a:extLst>
                </a:gridCol>
                <a:gridCol w="5635490">
                  <a:extLst>
                    <a:ext uri="{9D8B030D-6E8A-4147-A177-3AD203B41FA5}">
                      <a16:colId xmlns:a16="http://schemas.microsoft.com/office/drawing/2014/main" val="1870900502"/>
                    </a:ext>
                  </a:extLst>
                </a:gridCol>
              </a:tblGrid>
              <a:tr h="395358">
                <a:tc>
                  <a:txBody>
                    <a:bodyPr/>
                    <a:lstStyle/>
                    <a:p>
                      <a:r>
                        <a:rPr lang="de-DE" sz="1765" b="1" i="0" kern="1200">
                          <a:solidFill>
                            <a:schemeClr val="lt1"/>
                          </a:solidFill>
                          <a:effectLst/>
                          <a:latin typeface="+mn-lt"/>
                          <a:ea typeface="+mn-ea"/>
                          <a:cs typeface="+mn-cs"/>
                        </a:rPr>
                        <a:t>Category of Auditing Data</a:t>
                      </a:r>
                      <a:endParaRPr lang="en-US" sz="2000"/>
                    </a:p>
                  </a:txBody>
                  <a:tcPr/>
                </a:tc>
                <a:tc>
                  <a:txBody>
                    <a:bodyPr/>
                    <a:lstStyle/>
                    <a:p>
                      <a:r>
                        <a:rPr lang="de-DE" sz="1765" b="1" i="0" kern="1200">
                          <a:solidFill>
                            <a:schemeClr val="lt1"/>
                          </a:solidFill>
                          <a:effectLst/>
                          <a:latin typeface="+mn-lt"/>
                          <a:ea typeface="+mn-ea"/>
                          <a:cs typeface="+mn-cs"/>
                        </a:rPr>
                        <a:t>Type of Questions</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de-DE" sz="1600" b="0" i="0" kern="1200">
                          <a:solidFill>
                            <a:schemeClr val="dk1"/>
                          </a:solidFill>
                          <a:effectLst/>
                          <a:latin typeface="+mn-lt"/>
                          <a:ea typeface="+mn-ea"/>
                          <a:cs typeface="+mn-cs"/>
                        </a:rPr>
                        <a:t>Architecture reporting and analysis</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workspaces exist by typ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How many reports exist by typ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en is a gateway or data source created or updated?</a:t>
                      </a:r>
                      <a:endParaRPr lang="en-GB" sz="1600">
                        <a:latin typeface="+mj-lt"/>
                      </a:endParaRP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US" sz="1600" b="0" i="0">
                          <a:solidFill>
                            <a:srgbClr val="171717"/>
                          </a:solidFill>
                          <a:effectLst/>
                          <a:latin typeface="Segoe UI" panose="020B0502040204020203" pitchFamily="34" charset="0"/>
                        </a:rPr>
                        <a:t>User education and training opportunities</a:t>
                      </a:r>
                      <a:endParaRPr lang="en-US" sz="1600">
                        <a:latin typeface="+mj-lt"/>
                      </a:endParaRPr>
                    </a:p>
                  </a:txBody>
                  <a:tcPr/>
                </a:tc>
                <a:tc>
                  <a:txBody>
                    <a:bodyPr/>
                    <a:lstStyle/>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started a Power BI trial?</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doing too much sharing from their personal workspace?</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publishing a lot of new datasets?</a:t>
                      </a:r>
                    </a:p>
                    <a:p>
                      <a:pPr marL="285750" indent="-285750">
                        <a:buFont typeface="Arial" panose="020B0604020202020204" pitchFamily="34" charset="0"/>
                        <a:buChar char="•"/>
                      </a:pPr>
                      <a:r>
                        <a:rPr lang="en-US" sz="1600" b="0" i="0">
                          <a:solidFill>
                            <a:srgbClr val="171717"/>
                          </a:solidFill>
                          <a:effectLst/>
                          <a:latin typeface="Segoe UI" panose="020B0502040204020203" pitchFamily="34" charset="0"/>
                        </a:rPr>
                        <a:t>Who is doing a lot of exporting?</a:t>
                      </a:r>
                      <a:endParaRPr lang="en-GB" sz="1600" kern="1200">
                        <a:solidFill>
                          <a:schemeClr val="dk1"/>
                        </a:solidFill>
                        <a:latin typeface="+mj-lt"/>
                        <a:ea typeface="+mn-ea"/>
                        <a:cs typeface="+mn-cs"/>
                      </a:endParaRPr>
                    </a:p>
                  </a:txBody>
                  <a:tcPr/>
                </a:tc>
                <a:extLst>
                  <a:ext uri="{0D108BD9-81ED-4DB2-BD59-A6C34878D82A}">
                    <a16:rowId xmlns:a16="http://schemas.microsoft.com/office/drawing/2014/main" val="2363728252"/>
                  </a:ext>
                </a:extLst>
              </a:tr>
            </a:tbl>
          </a:graphicData>
        </a:graphic>
      </p:graphicFrame>
    </p:spTree>
    <p:extLst>
      <p:ext uri="{BB962C8B-B14F-4D97-AF65-F5344CB8AC3E}">
        <p14:creationId xmlns:p14="http://schemas.microsoft.com/office/powerpoint/2010/main" val="61851615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8BAFE8-DE2D-461F-9F84-0FC872AB78A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How will audit log data be used?</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2D544E37-112D-419B-B468-784B41B8273E}"/>
              </a:ext>
            </a:extLst>
          </p:cNvPr>
          <p:cNvSpPr>
            <a:spLocks noGrp="1"/>
          </p:cNvSpPr>
          <p:nvPr>
            <p:ph type="body" sz="quarter" idx="10"/>
          </p:nvPr>
        </p:nvSpPr>
        <p:spPr>
          <a:xfrm>
            <a:off x="269240" y="1664672"/>
            <a:ext cx="11887200" cy="3958007"/>
          </a:xfrm>
        </p:spPr>
        <p:txBody>
          <a:bodyPr/>
          <a:lstStyle/>
          <a:p>
            <a:pPr marL="571500" indent="-571500">
              <a:buFont typeface="Arial" panose="020B0604020202020204" pitchFamily="34" charset="0"/>
              <a:buChar char="•"/>
            </a:pPr>
            <a:r>
              <a:rPr lang="en-GB" sz="2000"/>
              <a:t>Who will backup the audit log to another location for reporting</a:t>
            </a:r>
          </a:p>
          <a:p>
            <a:pPr marL="224096" lvl="1" indent="0">
              <a:buNone/>
            </a:pPr>
            <a:endParaRPr lang="en-GB" sz="2000"/>
          </a:p>
          <a:p>
            <a:pPr marL="571500" indent="-571500">
              <a:buFont typeface="Arial" panose="020B0604020202020204" pitchFamily="34" charset="0"/>
              <a:buChar char="•"/>
            </a:pPr>
            <a:r>
              <a:rPr lang="en-GB" sz="2000">
                <a:latin typeface="+mj-lt"/>
              </a:rPr>
              <a:t>Where will this backup reside?</a:t>
            </a:r>
          </a:p>
          <a:p>
            <a:pPr marL="571500"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How will this backup be created?</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o will create reports on the audit log data?</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at types of reports can be created from the Audit log?</a:t>
            </a:r>
          </a:p>
          <a:p>
            <a:pPr marL="571500" lvl="1" indent="-571500">
              <a:buFont typeface="Arial" panose="020B0604020202020204" pitchFamily="34" charset="0"/>
              <a:buChar char="•"/>
            </a:pPr>
            <a:endParaRPr lang="en-GB" sz="2000">
              <a:latin typeface="+mj-lt"/>
            </a:endParaRPr>
          </a:p>
          <a:p>
            <a:pPr marL="571500" lvl="1" indent="-571500">
              <a:buFont typeface="Arial" panose="020B0604020202020204" pitchFamily="34" charset="0"/>
              <a:buChar char="•"/>
            </a:pPr>
            <a:r>
              <a:rPr lang="en-GB" sz="2000">
                <a:latin typeface="+mj-lt"/>
              </a:rPr>
              <a:t>Who will these reports be shared with?</a:t>
            </a:r>
          </a:p>
        </p:txBody>
      </p:sp>
    </p:spTree>
    <p:extLst>
      <p:ext uri="{BB962C8B-B14F-4D97-AF65-F5344CB8AC3E}">
        <p14:creationId xmlns:p14="http://schemas.microsoft.com/office/powerpoint/2010/main" val="403660545"/>
      </p:ext>
    </p:extLst>
  </p:cSld>
  <p:clrMapOvr>
    <a:masterClrMapping/>
  </p:clrMapOvr>
  <mc:AlternateContent xmlns:mc="http://schemas.openxmlformats.org/markup-compatibility/2006" xmlns:p14="http://schemas.microsoft.com/office/powerpoint/2010/main">
    <mc:Choice Requires="p14">
      <p:transition spd="med" p14:dur="700" advTm="49536">
        <p:fade/>
      </p:transition>
    </mc:Choice>
    <mc:Fallback xmlns="">
      <p:transition spd="med" advTm="49536">
        <p:fade/>
      </p:transition>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Considerations</a:t>
            </a:r>
            <a:r>
              <a:rPr lang="de-DE"/>
              <a:t> </a:t>
            </a:r>
            <a:r>
              <a:rPr lang="de-DE" err="1"/>
              <a:t>for</a:t>
            </a:r>
            <a:r>
              <a:rPr lang="de-DE"/>
              <a:t> Auditing &amp; Monitoring</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6" y="1548465"/>
            <a:ext cx="6573955" cy="3927229"/>
          </a:xfrm>
        </p:spPr>
        <p:txBody>
          <a:bodyPr/>
          <a:lstStyle/>
          <a:p>
            <a:pPr marL="342900" indent="-342900">
              <a:buFont typeface="Arial" panose="020B0604020202020204" pitchFamily="34" charset="0"/>
              <a:buChar char="•"/>
            </a:pPr>
            <a:r>
              <a:rPr lang="en-US" sz="2000"/>
              <a:t>Begin retrieving data from the Power BI activity log if you are not currently compiling the raw data</a:t>
            </a:r>
          </a:p>
          <a:p>
            <a:pPr marL="846900" lvl="2" indent="-342900">
              <a:buFont typeface="Arial" panose="020B0604020202020204" pitchFamily="34" charset="0"/>
              <a:buChar char="•"/>
            </a:pPr>
            <a:r>
              <a:rPr lang="en-US">
                <a:latin typeface="+mj-lt"/>
              </a:rPr>
              <a:t>Get started by using the </a:t>
            </a:r>
            <a:r>
              <a:rPr lang="en-US" i="1">
                <a:latin typeface="+mj-lt"/>
              </a:rPr>
              <a:t>Get-</a:t>
            </a:r>
            <a:r>
              <a:rPr lang="en-US" i="1" err="1">
                <a:latin typeface="+mj-lt"/>
              </a:rPr>
              <a:t>PowerBIActivityEvent</a:t>
            </a:r>
            <a:r>
              <a:rPr lang="en-US" i="1">
                <a:latin typeface="+mj-lt"/>
              </a:rPr>
              <a:t> </a:t>
            </a:r>
            <a:r>
              <a:rPr lang="en-US">
                <a:latin typeface="+mj-lt"/>
              </a:rPr>
              <a:t>PowerShell cmdlet included with the Power BI Management Module</a:t>
            </a:r>
          </a:p>
          <a:p>
            <a:pPr marL="846900" lvl="2" indent="-342900">
              <a:buFont typeface="Arial" panose="020B0604020202020204" pitchFamily="34" charset="0"/>
              <a:buChar char="•"/>
            </a:pPr>
            <a:r>
              <a:rPr lang="en-US">
                <a:latin typeface="+mj-lt"/>
              </a:rPr>
              <a:t>Retrieve and store the raw data without filtering or formatting, to ensure that all data elements are available for future analysis </a:t>
            </a:r>
          </a:p>
          <a:p>
            <a:pPr marL="846900" lvl="2" indent="-342900">
              <a:buFont typeface="Arial" panose="020B0604020202020204" pitchFamily="34" charset="0"/>
              <a:buChar char="•"/>
            </a:pPr>
            <a:r>
              <a:rPr lang="en-US">
                <a:latin typeface="+mj-lt"/>
              </a:rPr>
              <a:t>Ideal location is a file system or data lake</a:t>
            </a:r>
          </a:p>
          <a:p>
            <a:pPr lvl="2" indent="0">
              <a:buNone/>
            </a:pPr>
            <a:endParaRPr lang="en-US" sz="2000"/>
          </a:p>
          <a:p>
            <a:pPr marL="342900" indent="-342900">
              <a:buFont typeface="Arial" panose="020B0604020202020204" pitchFamily="34" charset="0"/>
              <a:buChar char="•"/>
            </a:pPr>
            <a:r>
              <a:rPr lang="en-US" sz="2000"/>
              <a:t>Over time, determine what additional auditing data would be helpful to complement the activity log data</a:t>
            </a:r>
          </a:p>
        </p:txBody>
      </p:sp>
    </p:spTree>
    <p:extLst>
      <p:ext uri="{BB962C8B-B14F-4D97-AF65-F5344CB8AC3E}">
        <p14:creationId xmlns:p14="http://schemas.microsoft.com/office/powerpoint/2010/main" val="29339913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a:xfrm>
            <a:off x="269240" y="123092"/>
            <a:ext cx="11655840" cy="738664"/>
          </a:xfrm>
        </p:spPr>
        <p:txBody>
          <a:bodyPr/>
          <a:lstStyle/>
          <a:p>
            <a:r>
              <a:rPr lang="de-DE"/>
              <a:t>Data Architecture</a:t>
            </a:r>
            <a:endParaRPr lang="en-US"/>
          </a:p>
        </p:txBody>
      </p:sp>
      <p:graphicFrame>
        <p:nvGraphicFramePr>
          <p:cNvPr id="3" name="Tabelle 3">
            <a:extLst>
              <a:ext uri="{FF2B5EF4-FFF2-40B4-BE49-F238E27FC236}">
                <a16:creationId xmlns:a16="http://schemas.microsoft.com/office/drawing/2014/main" id="{BD3E9E0F-599B-4030-B880-5D62E99E4963}"/>
              </a:ext>
            </a:extLst>
          </p:cNvPr>
          <p:cNvGraphicFramePr>
            <a:graphicFrameLocks noGrp="1"/>
          </p:cNvGraphicFramePr>
          <p:nvPr/>
        </p:nvGraphicFramePr>
        <p:xfrm>
          <a:off x="0" y="1204331"/>
          <a:ext cx="12192000" cy="5588785"/>
        </p:xfrm>
        <a:graphic>
          <a:graphicData uri="http://schemas.openxmlformats.org/drawingml/2006/table">
            <a:tbl>
              <a:tblPr firstRow="1" bandRow="1">
                <a:tableStyleId>{5940675A-B579-460E-94D1-54222C63F5DA}</a:tableStyleId>
              </a:tblPr>
              <a:tblGrid>
                <a:gridCol w="3128990">
                  <a:extLst>
                    <a:ext uri="{9D8B030D-6E8A-4147-A177-3AD203B41FA5}">
                      <a16:colId xmlns:a16="http://schemas.microsoft.com/office/drawing/2014/main" val="3144082700"/>
                    </a:ext>
                  </a:extLst>
                </a:gridCol>
                <a:gridCol w="9063010">
                  <a:extLst>
                    <a:ext uri="{9D8B030D-6E8A-4147-A177-3AD203B41FA5}">
                      <a16:colId xmlns:a16="http://schemas.microsoft.com/office/drawing/2014/main" val="2959031748"/>
                    </a:ext>
                  </a:extLst>
                </a:gridCol>
              </a:tblGrid>
              <a:tr h="873514">
                <a:tc>
                  <a:txBody>
                    <a:bodyPr/>
                    <a:lstStyle/>
                    <a:p>
                      <a:r>
                        <a:rPr lang="de-DE" sz="1600" b="1">
                          <a:solidFill>
                            <a:schemeClr val="bg1"/>
                          </a:solidFill>
                        </a:rPr>
                        <a:t>Fit in architecture</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Where does Power BI fit into the organization's entire data architecture? Are there other existing components such as an enterprise data warehouse (EDW) or a data lake that will be important to factor into plans?</a:t>
                      </a:r>
                    </a:p>
                    <a:p>
                      <a:endParaRPr lang="en-US" sz="1600"/>
                    </a:p>
                  </a:txBody>
                  <a:tcPr/>
                </a:tc>
                <a:extLst>
                  <a:ext uri="{0D108BD9-81ED-4DB2-BD59-A6C34878D82A}">
                    <a16:rowId xmlns:a16="http://schemas.microsoft.com/office/drawing/2014/main" val="999281634"/>
                  </a:ext>
                </a:extLst>
              </a:tr>
              <a:tr h="717396">
                <a:tc>
                  <a:txBody>
                    <a:bodyPr/>
                    <a:lstStyle/>
                    <a:p>
                      <a:r>
                        <a:rPr lang="de-DE" sz="1600" b="1">
                          <a:solidFill>
                            <a:schemeClr val="bg1"/>
                          </a:solidFill>
                        </a:rPr>
                        <a:t>Capabilities</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Is Power BI used end-to-end for data preparation, data modeling, and data presentation? Or is Power BI used only some of those capabilities?</a:t>
                      </a:r>
                    </a:p>
                    <a:p>
                      <a:endParaRPr lang="en-US" sz="1600"/>
                    </a:p>
                  </a:txBody>
                  <a:tcPr/>
                </a:tc>
                <a:extLst>
                  <a:ext uri="{0D108BD9-81ED-4DB2-BD59-A6C34878D82A}">
                    <a16:rowId xmlns:a16="http://schemas.microsoft.com/office/drawing/2014/main" val="3492638580"/>
                  </a:ext>
                </a:extLst>
              </a:tr>
              <a:tr h="749858">
                <a:tc>
                  <a:txBody>
                    <a:bodyPr/>
                    <a:lstStyle/>
                    <a:p>
                      <a:r>
                        <a:rPr lang="de-DE" sz="1600" b="1">
                          <a:solidFill>
                            <a:schemeClr val="bg1"/>
                          </a:solidFill>
                        </a:rPr>
                        <a:t>Content Delivery</a:t>
                      </a:r>
                      <a:endParaRPr lang="en-US" sz="1600" b="1">
                        <a:solidFill>
                          <a:schemeClr val="bg1"/>
                        </a:solidFill>
                      </a:endParaRPr>
                    </a:p>
                  </a:txBody>
                  <a:tcPr>
                    <a:solidFill>
                      <a:srgbClr val="1E1E1E"/>
                    </a:solidFill>
                  </a:tcPr>
                </a:tc>
                <a:tc>
                  <a:txBody>
                    <a:bodyPr/>
                    <a:lstStyle/>
                    <a:p>
                      <a:r>
                        <a:rPr lang="en-US" sz="1600" b="0" i="0" kern="1200">
                          <a:solidFill>
                            <a:schemeClr val="tx1"/>
                          </a:solidFill>
                          <a:effectLst/>
                          <a:latin typeface="+mn-lt"/>
                          <a:ea typeface="+mn-ea"/>
                          <a:cs typeface="+mn-cs"/>
                        </a:rPr>
                        <a:t>Where will users consume the content? Generally, the three main ways to deliver content are: the Power BI service, Power BI Report Server, and embedded in custom applications.</a:t>
                      </a:r>
                      <a:endParaRPr lang="en-US" sz="1600"/>
                    </a:p>
                  </a:txBody>
                  <a:tcPr/>
                </a:tc>
                <a:extLst>
                  <a:ext uri="{0D108BD9-81ED-4DB2-BD59-A6C34878D82A}">
                    <a16:rowId xmlns:a16="http://schemas.microsoft.com/office/drawing/2014/main" val="2455623921"/>
                  </a:ext>
                </a:extLst>
              </a:tr>
              <a:tr h="759771">
                <a:tc>
                  <a:txBody>
                    <a:bodyPr/>
                    <a:lstStyle/>
                    <a:p>
                      <a:r>
                        <a:rPr lang="de-DE" sz="1600" b="1">
                          <a:solidFill>
                            <a:schemeClr val="bg1"/>
                          </a:solidFill>
                        </a:rPr>
                        <a:t>Management &amp; Maintenance</a:t>
                      </a:r>
                      <a:endParaRPr lang="en-US" sz="1600" b="1">
                        <a:solidFill>
                          <a:schemeClr val="bg1"/>
                        </a:solidFill>
                      </a:endParaRPr>
                    </a:p>
                  </a:txBody>
                  <a:tcPr>
                    <a:solidFill>
                      <a:srgbClr val="1E1E1E"/>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Who is responsible for managing and maintaining the data architecture? Is it a centralized team, or a decentralized team? How is the </a:t>
                      </a:r>
                      <a:r>
                        <a:rPr lang="en-US" sz="1600" b="0" i="0" u="none" strike="noStrike" kern="1200">
                          <a:solidFill>
                            <a:schemeClr val="tx1"/>
                          </a:solidFill>
                          <a:effectLst/>
                          <a:latin typeface="+mn-lt"/>
                          <a:ea typeface="+mn-ea"/>
                          <a:cs typeface="+mn-cs"/>
                        </a:rPr>
                        <a:t>COE </a:t>
                      </a:r>
                      <a:r>
                        <a:rPr lang="en-US" sz="1600" b="0" i="0" kern="1200">
                          <a:solidFill>
                            <a:schemeClr val="tx1"/>
                          </a:solidFill>
                          <a:effectLst/>
                          <a:latin typeface="+mn-lt"/>
                          <a:ea typeface="+mn-ea"/>
                          <a:cs typeface="+mn-cs"/>
                        </a:rPr>
                        <a:t>represented in this team? Are certain skillsets required?</a:t>
                      </a:r>
                    </a:p>
                    <a:p>
                      <a:endParaRPr lang="en-US" sz="1600"/>
                    </a:p>
                  </a:txBody>
                  <a:tcPr/>
                </a:tc>
                <a:extLst>
                  <a:ext uri="{0D108BD9-81ED-4DB2-BD59-A6C34878D82A}">
                    <a16:rowId xmlns:a16="http://schemas.microsoft.com/office/drawing/2014/main" val="1087743287"/>
                  </a:ext>
                </a:extLst>
              </a:tr>
              <a:tr h="465398">
                <a:tc>
                  <a:txBody>
                    <a:bodyPr/>
                    <a:lstStyle/>
                    <a:p>
                      <a:r>
                        <a:rPr lang="de-DE" sz="1600" b="1">
                          <a:solidFill>
                            <a:schemeClr val="bg1"/>
                          </a:solidFill>
                        </a:rPr>
                        <a:t>Data Sources</a:t>
                      </a:r>
                      <a:endParaRPr lang="en-US" sz="1600" b="1">
                        <a:solidFill>
                          <a:schemeClr val="bg1"/>
                        </a:solidFill>
                      </a:endParaRPr>
                    </a:p>
                  </a:txBody>
                  <a:tcPr>
                    <a:solidFill>
                      <a:srgbClr val="1E1E1E"/>
                    </a:solidFill>
                  </a:tcPr>
                </a:tc>
                <a:tc>
                  <a:txBody>
                    <a:bodyPr/>
                    <a:lstStyle/>
                    <a:p>
                      <a:r>
                        <a:rPr lang="en-US" sz="1600"/>
                        <a:t>What data sources are the most important, and what types of data will we be acquiring?</a:t>
                      </a:r>
                    </a:p>
                  </a:txBody>
                  <a:tcPr/>
                </a:tc>
                <a:extLst>
                  <a:ext uri="{0D108BD9-81ED-4DB2-BD59-A6C34878D82A}">
                    <a16:rowId xmlns:a16="http://schemas.microsoft.com/office/drawing/2014/main" val="2795665911"/>
                  </a:ext>
                </a:extLst>
              </a:tr>
              <a:tr h="730013">
                <a:tc>
                  <a:txBody>
                    <a:bodyPr/>
                    <a:lstStyle/>
                    <a:p>
                      <a:r>
                        <a:rPr lang="de-DE" sz="1600" b="1">
                          <a:solidFill>
                            <a:schemeClr val="bg1"/>
                          </a:solidFill>
                        </a:rPr>
                        <a:t>Connectivity Modes</a:t>
                      </a:r>
                      <a:endParaRPr lang="en-US" sz="1600" b="1">
                        <a:solidFill>
                          <a:schemeClr val="bg1"/>
                        </a:solidFill>
                      </a:endParaRPr>
                    </a:p>
                  </a:txBody>
                  <a:tcPr>
                    <a:solidFill>
                      <a:srgbClr val="1E1E1E"/>
                    </a:solidFill>
                  </a:tcPr>
                </a:tc>
                <a:tc>
                  <a:txBody>
                    <a:bodyPr/>
                    <a:lstStyle/>
                    <a:p>
                      <a:r>
                        <a:rPr lang="en-US" sz="1600"/>
                        <a:t>What connectivity mode and storage mode choices (for example, import, live connection, </a:t>
                      </a:r>
                      <a:r>
                        <a:rPr lang="en-US" sz="1600" err="1"/>
                        <a:t>DirectQuery</a:t>
                      </a:r>
                      <a:r>
                        <a:rPr lang="en-US" sz="1600"/>
                        <a:t>, or composite model frameworks) are the best fit for the use cases?</a:t>
                      </a:r>
                    </a:p>
                  </a:txBody>
                  <a:tcPr/>
                </a:tc>
                <a:extLst>
                  <a:ext uri="{0D108BD9-81ED-4DB2-BD59-A6C34878D82A}">
                    <a16:rowId xmlns:a16="http://schemas.microsoft.com/office/drawing/2014/main" val="2589834190"/>
                  </a:ext>
                </a:extLst>
              </a:tr>
              <a:tr h="465398">
                <a:tc>
                  <a:txBody>
                    <a:bodyPr/>
                    <a:lstStyle/>
                    <a:p>
                      <a:r>
                        <a:rPr lang="de-DE" sz="1600" b="1">
                          <a:solidFill>
                            <a:schemeClr val="bg1"/>
                          </a:solidFill>
                        </a:rPr>
                        <a:t>Shared datasets</a:t>
                      </a:r>
                      <a:endParaRPr lang="en-US" sz="1600" b="1">
                        <a:solidFill>
                          <a:schemeClr val="bg1"/>
                        </a:solidFill>
                      </a:endParaRPr>
                    </a:p>
                  </a:txBody>
                  <a:tcPr>
                    <a:solidFill>
                      <a:srgbClr val="1E1E1E"/>
                    </a:solidFill>
                  </a:tcPr>
                </a:tc>
                <a:tc>
                  <a:txBody>
                    <a:bodyPr/>
                    <a:lstStyle/>
                    <a:p>
                      <a:r>
                        <a:rPr lang="en-US" sz="1600"/>
                        <a:t>To what extent is data reusability encouraged using shared datasets?</a:t>
                      </a:r>
                    </a:p>
                  </a:txBody>
                  <a:tcPr/>
                </a:tc>
                <a:extLst>
                  <a:ext uri="{0D108BD9-81ED-4DB2-BD59-A6C34878D82A}">
                    <a16:rowId xmlns:a16="http://schemas.microsoft.com/office/drawing/2014/main" val="1474856002"/>
                  </a:ext>
                </a:extLst>
              </a:tr>
              <a:tr h="465398">
                <a:tc>
                  <a:txBody>
                    <a:bodyPr/>
                    <a:lstStyle/>
                    <a:p>
                      <a:r>
                        <a:rPr lang="de-DE" sz="1600" b="1">
                          <a:solidFill>
                            <a:schemeClr val="bg1"/>
                          </a:solidFill>
                        </a:rPr>
                        <a:t>Dataflows</a:t>
                      </a:r>
                      <a:endParaRPr lang="en-US" sz="1600" b="1">
                        <a:solidFill>
                          <a:schemeClr val="bg1"/>
                        </a:solidFill>
                      </a:endParaRPr>
                    </a:p>
                  </a:txBody>
                  <a:tcPr>
                    <a:solidFill>
                      <a:srgbClr val="1E1E1E"/>
                    </a:solidFill>
                  </a:tcPr>
                </a:tc>
                <a:tc>
                  <a:txBody>
                    <a:bodyPr/>
                    <a:lstStyle/>
                    <a:p>
                      <a:r>
                        <a:rPr lang="en-US" sz="1600"/>
                        <a:t>To what extent is the reusability of data preparation logic encouraged using dataflows?</a:t>
                      </a:r>
                    </a:p>
                  </a:txBody>
                  <a:tcPr/>
                </a:tc>
                <a:extLst>
                  <a:ext uri="{0D108BD9-81ED-4DB2-BD59-A6C34878D82A}">
                    <a16:rowId xmlns:a16="http://schemas.microsoft.com/office/drawing/2014/main" val="1988943199"/>
                  </a:ext>
                </a:extLst>
              </a:tr>
            </a:tbl>
          </a:graphicData>
        </a:graphic>
      </p:graphicFrame>
    </p:spTree>
    <p:extLst>
      <p:ext uri="{BB962C8B-B14F-4D97-AF65-F5344CB8AC3E}">
        <p14:creationId xmlns:p14="http://schemas.microsoft.com/office/powerpoint/2010/main" val="804796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4A43A22-4D05-4E59-A81B-FF4A03447C3D}"/>
              </a:ext>
            </a:extLst>
          </p:cNvPr>
          <p:cNvSpPr>
            <a:spLocks noGrp="1"/>
          </p:cNvSpPr>
          <p:nvPr>
            <p:ph type="title"/>
          </p:nvPr>
        </p:nvSpPr>
        <p:spPr>
          <a:xfrm>
            <a:off x="165099" y="2249714"/>
            <a:ext cx="4956735" cy="2358572"/>
          </a:xfrm>
        </p:spPr>
        <p:txBody>
          <a:bodyPr/>
          <a:lstStyle/>
          <a:p>
            <a:r>
              <a:rPr lang="de-DE"/>
              <a:t>Inter-</a:t>
            </a:r>
            <a:r>
              <a:rPr lang="de-DE" err="1"/>
              <a:t>related</a:t>
            </a:r>
            <a:r>
              <a:rPr lang="de-DE"/>
              <a:t> </a:t>
            </a:r>
            <a:r>
              <a:rPr lang="de-DE" err="1"/>
              <a:t>Aspects</a:t>
            </a:r>
            <a:r>
              <a:rPr lang="de-DE"/>
              <a:t> </a:t>
            </a:r>
            <a:r>
              <a:rPr lang="de-DE" err="1"/>
              <a:t>influencing</a:t>
            </a:r>
            <a:r>
              <a:rPr lang="de-DE"/>
              <a:t> Data Culture</a:t>
            </a:r>
          </a:p>
        </p:txBody>
      </p:sp>
      <p:sp>
        <p:nvSpPr>
          <p:cNvPr id="9" name="Textplatzhalter 8">
            <a:extLst>
              <a:ext uri="{FF2B5EF4-FFF2-40B4-BE49-F238E27FC236}">
                <a16:creationId xmlns:a16="http://schemas.microsoft.com/office/drawing/2014/main" id="{7D762F21-6E45-45F8-AB8F-4AECD796F741}"/>
              </a:ext>
            </a:extLst>
          </p:cNvPr>
          <p:cNvSpPr>
            <a:spLocks noGrp="1"/>
          </p:cNvSpPr>
          <p:nvPr>
            <p:ph type="body" sz="quarter" idx="10"/>
          </p:nvPr>
        </p:nvSpPr>
        <p:spPr/>
        <p:txBody>
          <a:bodyPr/>
          <a:lstStyle/>
          <a:p>
            <a:endParaRPr lang="de-DE"/>
          </a:p>
        </p:txBody>
      </p:sp>
      <p:pic>
        <p:nvPicPr>
          <p:cNvPr id="5" name="Grafik 4">
            <a:extLst>
              <a:ext uri="{FF2B5EF4-FFF2-40B4-BE49-F238E27FC236}">
                <a16:creationId xmlns:a16="http://schemas.microsoft.com/office/drawing/2014/main" id="{B6713D3C-57EA-4E1D-8ECE-56FD4FFE0944}"/>
              </a:ext>
            </a:extLst>
          </p:cNvPr>
          <p:cNvPicPr>
            <a:picLocks noChangeAspect="1"/>
          </p:cNvPicPr>
          <p:nvPr/>
        </p:nvPicPr>
        <p:blipFill>
          <a:blip r:embed="rId3"/>
          <a:stretch>
            <a:fillRect/>
          </a:stretch>
        </p:blipFill>
        <p:spPr>
          <a:xfrm>
            <a:off x="5445468" y="53788"/>
            <a:ext cx="6548405" cy="6855012"/>
          </a:xfrm>
          <a:prstGeom prst="rect">
            <a:avLst/>
          </a:prstGeom>
        </p:spPr>
      </p:pic>
    </p:spTree>
    <p:extLst>
      <p:ext uri="{BB962C8B-B14F-4D97-AF65-F5344CB8AC3E}">
        <p14:creationId xmlns:p14="http://schemas.microsoft.com/office/powerpoint/2010/main" val="52107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require connectivity to on-premises Data Sources?</a:t>
            </a:r>
          </a:p>
        </p:txBody>
      </p:sp>
    </p:spTree>
    <p:extLst>
      <p:ext uri="{BB962C8B-B14F-4D97-AF65-F5344CB8AC3E}">
        <p14:creationId xmlns:p14="http://schemas.microsoft.com/office/powerpoint/2010/main" val="10296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What is an On-premises Data Gateway?</a:t>
            </a:r>
            <a:endParaRPr lang="en-US"/>
          </a:p>
        </p:txBody>
      </p:sp>
      <p:pic>
        <p:nvPicPr>
          <p:cNvPr id="11266" name="Picture 2" descr="https://docs.microsoft.com/en-us/power-bi/media/service-gateway-getting-started/gw_gettingstarted_0a.png">
            <a:extLst>
              <a:ext uri="{FF2B5EF4-FFF2-40B4-BE49-F238E27FC236}">
                <a16:creationId xmlns:a16="http://schemas.microsoft.com/office/drawing/2014/main" id="{DED654D1-11F0-4517-B450-2F02DB16C2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342" y="2156994"/>
            <a:ext cx="5706658" cy="312868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6F1115CB-4596-4ABD-8BCA-724D8BD3C1F4}"/>
              </a:ext>
            </a:extLst>
          </p:cNvPr>
          <p:cNvSpPr txBox="1"/>
          <p:nvPr/>
        </p:nvSpPr>
        <p:spPr>
          <a:xfrm>
            <a:off x="6678386" y="1947236"/>
            <a:ext cx="4817300" cy="4468916"/>
          </a:xfrm>
          <a:prstGeom prst="rect">
            <a:avLst/>
          </a:prstGeom>
          <a:noFill/>
        </p:spPr>
        <p:txBody>
          <a:bodyPr wrap="square" lIns="182880" tIns="146304" rIns="182880" bIns="146304" rtlCol="0" anchor="ctr">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Facilitating</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th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ecur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nd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efficient</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ta</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transfer</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between</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rganizational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ta</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ources</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nd Power BI </a:t>
            </a:r>
            <a:r>
              <a:rPr kumimoji="0" lang="de-DE" sz="20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service</a:t>
            </a: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de-DE"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Sourc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ocated within the enterprise data cente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nfigured behind a firewall</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thin a virtual networ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ithin a virtual machine</a:t>
            </a:r>
          </a:p>
          <a:p>
            <a:pPr marL="457200" marR="0" lvl="1" indent="0" algn="l" defTabSz="914400" rtl="0" eaLnBrk="1" fontAlgn="auto" latinLnBrk="0" hangingPunct="1">
              <a:lnSpc>
                <a:spcPct val="90000"/>
              </a:lnSpc>
              <a:spcBef>
                <a:spcPts val="0"/>
              </a:spcBef>
              <a:spcAft>
                <a:spcPts val="600"/>
              </a:spcAft>
              <a:buClrTx/>
              <a:buSzTx/>
              <a:buFontTx/>
              <a:buNone/>
              <a:tabLst/>
              <a:defRPr/>
            </a:pPr>
            <a:endParaRPr kumimoji="0" lang="de-DE"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de-DE"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76248458"/>
      </p:ext>
    </p:extLst>
  </p:cSld>
  <p:clrMapOvr>
    <a:masterClrMapping/>
  </p:clrMapOvr>
  <mc:AlternateContent xmlns:mc="http://schemas.openxmlformats.org/markup-compatibility/2006" xmlns:p14="http://schemas.microsoft.com/office/powerpoint/2010/main">
    <mc:Choice Requires="p14">
      <p:transition spd="med" p14:dur="700" advTm="96662">
        <p:fade/>
      </p:transition>
    </mc:Choice>
    <mc:Fallback xmlns="">
      <p:transition spd="med" advTm="96662">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ypes of Gateways</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extLst>
              <p:ext uri="{D42A27DB-BD31-4B8C-83A1-F6EECF244321}">
                <p14:modId xmlns:p14="http://schemas.microsoft.com/office/powerpoint/2010/main" val="406796442"/>
              </p:ext>
            </p:extLst>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5737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1. Install an On-premises Data Gateway</a:t>
            </a:r>
            <a:endParaRPr lang="en-US"/>
          </a:p>
        </p:txBody>
      </p:sp>
      <p:pic>
        <p:nvPicPr>
          <p:cNvPr id="14338" name="Picture 2" descr="https://docs.microsoft.com/en-us/power-bi/media/service-gateway-getting-started/gw_gettingstarted_01.png">
            <a:extLst>
              <a:ext uri="{FF2B5EF4-FFF2-40B4-BE49-F238E27FC236}">
                <a16:creationId xmlns:a16="http://schemas.microsoft.com/office/drawing/2014/main" id="{F49EDFF0-50BF-47E0-892C-27FA472080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910" y="1591408"/>
            <a:ext cx="4663092" cy="3291594"/>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https://docs.microsoft.com/en-us/power-bi/media/service-gateway-getting-started/gw_gettingstarted_02.png">
            <a:extLst>
              <a:ext uri="{FF2B5EF4-FFF2-40B4-BE49-F238E27FC236}">
                <a16:creationId xmlns:a16="http://schemas.microsoft.com/office/drawing/2014/main" id="{4A25184D-49CB-4DAF-BBF6-BBAEDD8A3B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6190" y="1591408"/>
            <a:ext cx="5906583" cy="471795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1098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2. Add users to an On-Premises Data Gateway</a:t>
            </a:r>
            <a:endParaRPr lang="en-US"/>
          </a:p>
        </p:txBody>
      </p:sp>
      <p:pic>
        <p:nvPicPr>
          <p:cNvPr id="13314" name="Picture 2" descr="https://docs.microsoft.com/en-us/power-bi/media/service-gateway-getting-started/gw_gettingstarted_15.png">
            <a:extLst>
              <a:ext uri="{FF2B5EF4-FFF2-40B4-BE49-F238E27FC236}">
                <a16:creationId xmlns:a16="http://schemas.microsoft.com/office/drawing/2014/main" id="{5A7536B0-8E7C-4168-A10F-B43B1179B1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013" y="1858328"/>
            <a:ext cx="3354831" cy="289655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https://docs.microsoft.com/en-us/power-bi/media/service-gateway-getting-started/gw_gettingstarted_12.png">
            <a:extLst>
              <a:ext uri="{FF2B5EF4-FFF2-40B4-BE49-F238E27FC236}">
                <a16:creationId xmlns:a16="http://schemas.microsoft.com/office/drawing/2014/main" id="{EACE8E5F-E7BE-46DC-9A21-DB7C491F4C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1970" y="1858328"/>
            <a:ext cx="6998016" cy="38337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3322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3. Connect to Data Sources</a:t>
            </a:r>
            <a:endParaRPr lang="en-US"/>
          </a:p>
        </p:txBody>
      </p:sp>
      <p:pic>
        <p:nvPicPr>
          <p:cNvPr id="8" name="Picture 7">
            <a:extLst>
              <a:ext uri="{FF2B5EF4-FFF2-40B4-BE49-F238E27FC236}">
                <a16:creationId xmlns:a16="http://schemas.microsoft.com/office/drawing/2014/main" id="{92ADAC57-6972-4D68-A70F-2DEE0AB8CC60}"/>
              </a:ext>
            </a:extLst>
          </p:cNvPr>
          <p:cNvPicPr>
            <a:picLocks noChangeAspect="1"/>
          </p:cNvPicPr>
          <p:nvPr/>
        </p:nvPicPr>
        <p:blipFill>
          <a:blip r:embed="rId3"/>
          <a:stretch>
            <a:fillRect/>
          </a:stretch>
        </p:blipFill>
        <p:spPr>
          <a:xfrm>
            <a:off x="567690" y="1344723"/>
            <a:ext cx="6391680" cy="3742695"/>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F008C7FE-59ED-46BC-8198-47117CFABF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2611" y="2635041"/>
            <a:ext cx="5701699" cy="3711042"/>
          </a:xfrm>
          <a:prstGeom prst="rect">
            <a:avLst/>
          </a:prstGeom>
        </p:spPr>
      </p:pic>
    </p:spTree>
    <p:extLst>
      <p:ext uri="{BB962C8B-B14F-4D97-AF65-F5344CB8AC3E}">
        <p14:creationId xmlns:p14="http://schemas.microsoft.com/office/powerpoint/2010/main" val="142291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6106159"/>
          </a:xfrm>
        </p:spPr>
        <p:txBody>
          <a:bodyPr/>
          <a:lstStyle/>
          <a:p>
            <a:pPr>
              <a:lnSpc>
                <a:spcPct val="200000"/>
              </a:lnSpc>
            </a:pPr>
            <a:r>
              <a:rPr lang="en-GB"/>
              <a:t>Number of Users</a:t>
            </a:r>
          </a:p>
          <a:p>
            <a:pPr>
              <a:lnSpc>
                <a:spcPct val="200000"/>
              </a:lnSpc>
            </a:pPr>
            <a:r>
              <a:rPr lang="en-GB"/>
              <a:t>Connection Type</a:t>
            </a:r>
          </a:p>
          <a:p>
            <a:pPr>
              <a:lnSpc>
                <a:spcPct val="200000"/>
              </a:lnSpc>
            </a:pPr>
            <a:r>
              <a:rPr lang="en-GB"/>
              <a:t>Location</a:t>
            </a:r>
          </a:p>
          <a:p>
            <a:pPr>
              <a:lnSpc>
                <a:spcPct val="200000"/>
              </a:lnSpc>
            </a:pPr>
            <a:r>
              <a:rPr lang="en-GB"/>
              <a:t>Monitoring</a:t>
            </a:r>
          </a:p>
          <a:p>
            <a:pPr>
              <a:lnSpc>
                <a:spcPct val="200000"/>
              </a:lnSpc>
            </a:pPr>
            <a:r>
              <a:rPr lang="en-GB"/>
              <a:t>Recovery</a:t>
            </a:r>
            <a:endParaRPr lang="en-US"/>
          </a:p>
        </p:txBody>
      </p:sp>
      <p:pic>
        <p:nvPicPr>
          <p:cNvPr id="5" name="Graphic 4" descr="Group">
            <a:extLst>
              <a:ext uri="{FF2B5EF4-FFF2-40B4-BE49-F238E27FC236}">
                <a16:creationId xmlns:a16="http://schemas.microsoft.com/office/drawing/2014/main" id="{6640376B-53E2-4EC5-8360-B5064AE884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57391"/>
            <a:ext cx="914400" cy="914400"/>
          </a:xfrm>
          <a:prstGeom prst="rect">
            <a:avLst/>
          </a:prstGeom>
        </p:spPr>
      </p:pic>
      <p:pic>
        <p:nvPicPr>
          <p:cNvPr id="7" name="Graphic 6" descr="Map with pin">
            <a:extLst>
              <a:ext uri="{FF2B5EF4-FFF2-40B4-BE49-F238E27FC236}">
                <a16:creationId xmlns:a16="http://schemas.microsoft.com/office/drawing/2014/main" id="{85747F96-6B75-405C-B4F5-C674C1FBCD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3027637"/>
            <a:ext cx="914400" cy="914400"/>
          </a:xfrm>
          <a:prstGeom prst="rect">
            <a:avLst/>
          </a:prstGeom>
        </p:spPr>
      </p:pic>
      <p:pic>
        <p:nvPicPr>
          <p:cNvPr id="11" name="Graphic 10" descr="Security Camera">
            <a:extLst>
              <a:ext uri="{FF2B5EF4-FFF2-40B4-BE49-F238E27FC236}">
                <a16:creationId xmlns:a16="http://schemas.microsoft.com/office/drawing/2014/main" id="{EBC33011-2523-4279-8FBB-0C498347D4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214612"/>
            <a:ext cx="914400" cy="914400"/>
          </a:xfrm>
          <a:prstGeom prst="rect">
            <a:avLst/>
          </a:prstGeom>
        </p:spPr>
      </p:pic>
      <p:pic>
        <p:nvPicPr>
          <p:cNvPr id="13" name="Graphic 12" descr="Key">
            <a:extLst>
              <a:ext uri="{FF2B5EF4-FFF2-40B4-BE49-F238E27FC236}">
                <a16:creationId xmlns:a16="http://schemas.microsoft.com/office/drawing/2014/main" id="{55153076-38D7-4A57-BD96-46538C8538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5449735"/>
            <a:ext cx="914400" cy="914400"/>
          </a:xfrm>
          <a:prstGeom prst="rect">
            <a:avLst/>
          </a:prstGeom>
        </p:spPr>
      </p:pic>
      <p:pic>
        <p:nvPicPr>
          <p:cNvPr id="15" name="Graphic 14" descr="Database">
            <a:extLst>
              <a:ext uri="{FF2B5EF4-FFF2-40B4-BE49-F238E27FC236}">
                <a16:creationId xmlns:a16="http://schemas.microsoft.com/office/drawing/2014/main" id="{264D944C-A355-4511-B343-641179DEAB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1792514"/>
            <a:ext cx="914400" cy="914400"/>
          </a:xfrm>
          <a:prstGeom prst="rect">
            <a:avLst/>
          </a:prstGeom>
        </p:spPr>
      </p:pic>
    </p:spTree>
    <p:custDataLst>
      <p:tags r:id="rId1"/>
    </p:custDataLst>
    <p:extLst>
      <p:ext uri="{BB962C8B-B14F-4D97-AF65-F5344CB8AC3E}">
        <p14:creationId xmlns:p14="http://schemas.microsoft.com/office/powerpoint/2010/main" val="134781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Number of Users</a:t>
            </a:r>
          </a:p>
        </p:txBody>
      </p:sp>
      <p:pic>
        <p:nvPicPr>
          <p:cNvPr id="5" name="Graphic 4" descr="Group">
            <a:extLst>
              <a:ext uri="{FF2B5EF4-FFF2-40B4-BE49-F238E27FC236}">
                <a16:creationId xmlns:a16="http://schemas.microsoft.com/office/drawing/2014/main" id="{6640376B-53E2-4EC5-8360-B5064AE884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57391"/>
            <a:ext cx="914400" cy="914400"/>
          </a:xfrm>
          <a:prstGeom prst="rect">
            <a:avLst/>
          </a:prstGeom>
        </p:spPr>
      </p:pic>
      <p:sp>
        <p:nvSpPr>
          <p:cNvPr id="4" name="Textfeld 3">
            <a:extLst>
              <a:ext uri="{FF2B5EF4-FFF2-40B4-BE49-F238E27FC236}">
                <a16:creationId xmlns:a16="http://schemas.microsoft.com/office/drawing/2014/main" id="{5606D3FE-ABDC-42B6-AE96-852190367148}"/>
              </a:ext>
            </a:extLst>
          </p:cNvPr>
          <p:cNvSpPr txBox="1"/>
          <p:nvPr/>
        </p:nvSpPr>
        <p:spPr>
          <a:xfrm>
            <a:off x="5638800" y="1929161"/>
            <a:ext cx="5980772" cy="1957459"/>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Are </a:t>
            </a:r>
            <a:r>
              <a:rPr kumimoji="0" lang="de-DE" sz="1800" b="0" i="0" u="none" strike="noStrike" kern="1200" cap="none" spc="0" normalizeH="0" baseline="0" noProof="0" err="1">
                <a:ln>
                  <a:noFill/>
                </a:ln>
                <a:solidFill>
                  <a:prstClr val="black"/>
                </a:solidFill>
                <a:effectLst/>
                <a:uLnTx/>
                <a:uFillTx/>
                <a:latin typeface="Segoe UI"/>
                <a:ea typeface="+mn-ea"/>
                <a:cs typeface="+mn-cs"/>
              </a:rPr>
              <a:t>us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o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ports</a:t>
            </a:r>
            <a:r>
              <a:rPr kumimoji="0" lang="de-DE" sz="1800" b="0" i="0" u="none" strike="noStrike" kern="1200" cap="none" spc="0" normalizeH="0" baseline="0" noProof="0">
                <a:ln>
                  <a:noFill/>
                </a:ln>
                <a:solidFill>
                  <a:prstClr val="black"/>
                </a:solidFill>
                <a:effectLst/>
                <a:uLnTx/>
                <a:uFillTx/>
                <a:latin typeface="Segoe UI"/>
                <a:ea typeface="+mn-ea"/>
                <a:cs typeface="+mn-cs"/>
              </a:rPr>
              <a:t> at different </a:t>
            </a:r>
            <a:r>
              <a:rPr kumimoji="0" lang="de-DE" sz="1800" b="0" i="0" u="none" strike="noStrike" kern="1200" cap="none" spc="0" normalizeH="0" baseline="0" noProof="0" err="1">
                <a:ln>
                  <a:noFill/>
                </a:ln>
                <a:solidFill>
                  <a:prstClr val="black"/>
                </a:solidFill>
                <a:effectLst/>
                <a:uLnTx/>
                <a:uFillTx/>
                <a:latin typeface="Segoe UI"/>
                <a:ea typeface="+mn-ea"/>
                <a:cs typeface="+mn-cs"/>
              </a:rPr>
              <a:t>tim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Are all </a:t>
            </a:r>
            <a:r>
              <a:rPr kumimoji="0" lang="de-DE" sz="1800" b="0" i="0" u="none" strike="noStrike" kern="1200" cap="none" spc="0" normalizeH="0" baseline="0" noProof="0" err="1">
                <a:ln>
                  <a:noFill/>
                </a:ln>
                <a:solidFill>
                  <a:prstClr val="black"/>
                </a:solidFill>
                <a:effectLst/>
                <a:uLnTx/>
                <a:uFillTx/>
                <a:latin typeface="Segoe UI"/>
                <a:ea typeface="+mn-ea"/>
                <a:cs typeface="+mn-cs"/>
              </a:rPr>
              <a:t>us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same </a:t>
            </a:r>
            <a:r>
              <a:rPr kumimoji="0" lang="de-DE" sz="1800" b="0" i="0" u="none" strike="noStrike" kern="1200" cap="none" spc="0" normalizeH="0" baseline="0" noProof="0" err="1">
                <a:ln>
                  <a:noFill/>
                </a:ln>
                <a:solidFill>
                  <a:prstClr val="black"/>
                </a:solidFill>
                <a:effectLst/>
                <a:uLnTx/>
                <a:uFillTx/>
                <a:latin typeface="Segoe UI"/>
                <a:ea typeface="+mn-ea"/>
                <a:cs typeface="+mn-cs"/>
              </a:rPr>
              <a:t>report</a:t>
            </a:r>
            <a:r>
              <a:rPr kumimoji="0" lang="de-DE" sz="1800" b="0" i="0" u="none" strike="noStrike" kern="1200" cap="none" spc="0" normalizeH="0" baseline="0" noProof="0">
                <a:ln>
                  <a:noFill/>
                </a:ln>
                <a:solidFill>
                  <a:prstClr val="black"/>
                </a:solidFill>
                <a:effectLst/>
                <a:uLnTx/>
                <a:uFillTx/>
                <a:latin typeface="Segoe UI"/>
                <a:ea typeface="+mn-ea"/>
                <a:cs typeface="+mn-cs"/>
              </a:rPr>
              <a:t>?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Is</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dashboard</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based</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n multiple </a:t>
            </a:r>
            <a:r>
              <a:rPr kumimoji="0" lang="de-DE" sz="1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reports</a:t>
            </a:r>
            <a:r>
              <a:rPr kumimoji="0" lang="de-DE"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t>
            </a:r>
            <a:endParaRPr kumimoji="0" lang="en-US" sz="2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7318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Connection Type</a:t>
            </a:r>
          </a:p>
        </p:txBody>
      </p:sp>
      <p:pic>
        <p:nvPicPr>
          <p:cNvPr id="15" name="Graphic 14" descr="Database">
            <a:extLst>
              <a:ext uri="{FF2B5EF4-FFF2-40B4-BE49-F238E27FC236}">
                <a16:creationId xmlns:a16="http://schemas.microsoft.com/office/drawing/2014/main" id="{264D944C-A355-4511-B343-641179DEAB9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588185"/>
            <a:ext cx="914400" cy="914400"/>
          </a:xfrm>
          <a:prstGeom prst="rect">
            <a:avLst/>
          </a:prstGeom>
        </p:spPr>
      </p:pic>
      <p:sp>
        <p:nvSpPr>
          <p:cNvPr id="4" name="Textfeld 3">
            <a:extLst>
              <a:ext uri="{FF2B5EF4-FFF2-40B4-BE49-F238E27FC236}">
                <a16:creationId xmlns:a16="http://schemas.microsoft.com/office/drawing/2014/main" id="{09DD2D08-7F17-4A7F-917A-7EB14EA8CCE5}"/>
              </a:ext>
            </a:extLst>
          </p:cNvPr>
          <p:cNvSpPr txBox="1"/>
          <p:nvPr/>
        </p:nvSpPr>
        <p:spPr>
          <a:xfrm>
            <a:off x="5638800" y="1929161"/>
            <a:ext cx="5980772" cy="2511457"/>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What</a:t>
            </a:r>
            <a:r>
              <a:rPr kumimoji="0" lang="de-DE" sz="1800" b="0" i="0" u="none" strike="noStrike" kern="1200" cap="none" spc="0" normalizeH="0" baseline="0" noProof="0">
                <a:ln>
                  <a:noFill/>
                </a:ln>
                <a:solidFill>
                  <a:prstClr val="black"/>
                </a:solidFill>
                <a:effectLst/>
                <a:uLnTx/>
                <a:uFillTx/>
                <a:latin typeface="Segoe UI"/>
                <a:ea typeface="+mn-ea"/>
                <a:cs typeface="+mn-cs"/>
              </a:rPr>
              <a:t> type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r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o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irec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mport</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Gateway </a:t>
            </a:r>
            <a:r>
              <a:rPr kumimoji="0" lang="de-DE" sz="1800" b="0" i="0" u="none" strike="noStrike" kern="1200" cap="none" spc="0" normalizeH="0" baseline="0" noProof="0" err="1">
                <a:ln>
                  <a:noFill/>
                </a:ln>
                <a:solidFill>
                  <a:prstClr val="black"/>
                </a:solidFill>
                <a:effectLst/>
                <a:uLnTx/>
                <a:uFillTx/>
                <a:latin typeface="Segoe UI"/>
                <a:ea typeface="+mn-ea"/>
                <a:cs typeface="+mn-cs"/>
              </a:rPr>
              <a:t>usag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iff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epending</a:t>
            </a:r>
            <a:r>
              <a:rPr kumimoji="0" lang="de-DE" sz="1800" b="0" i="0" u="none" strike="noStrike" kern="1200" cap="none" spc="0" normalizeH="0" baseline="0" noProof="0">
                <a:ln>
                  <a:noFill/>
                </a:ln>
                <a:solidFill>
                  <a:prstClr val="black"/>
                </a:solidFill>
                <a:effectLst/>
                <a:uLnTx/>
                <a:uFillTx/>
                <a:latin typeface="Segoe UI"/>
                <a:ea typeface="+mn-ea"/>
                <a:cs typeface="+mn-cs"/>
              </a:rPr>
              <a:t> on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typ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Separate </a:t>
            </a:r>
            <a:r>
              <a:rPr kumimoji="0" lang="de-DE" sz="1800" b="0" i="0" u="none" strike="noStrike" kern="1200" cap="none" spc="0" normalizeH="0" baseline="0" noProof="0" err="1">
                <a:ln>
                  <a:noFill/>
                </a:ln>
                <a:solidFill>
                  <a:prstClr val="black"/>
                </a:solidFill>
                <a:effectLst/>
                <a:uLnTx/>
                <a:uFillTx/>
                <a:latin typeface="Segoe UI"/>
                <a:ea typeface="+mn-ea"/>
                <a:cs typeface="+mn-cs"/>
              </a:rPr>
              <a:t>Direc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ourc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rom</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chedul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fresh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sourc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here</a:t>
            </a:r>
            <a:r>
              <a:rPr kumimoji="0" lang="de-DE" sz="1800" b="0" i="0" u="none" strike="noStrike" kern="1200" cap="none" spc="0" normalizeH="0" baseline="0" noProof="0">
                <a:ln>
                  <a:noFill/>
                </a:ln>
                <a:solidFill>
                  <a:prstClr val="black"/>
                </a:solidFill>
                <a:effectLst/>
                <a:uLnTx/>
                <a:uFillTx/>
                <a:latin typeface="Segoe UI"/>
                <a:ea typeface="+mn-ea"/>
                <a:cs typeface="+mn-cs"/>
              </a:rPr>
              <a:t> possible</a:t>
            </a:r>
          </a:p>
        </p:txBody>
      </p:sp>
    </p:spTree>
    <p:custDataLst>
      <p:tags r:id="rId1"/>
    </p:custDataLst>
    <p:extLst>
      <p:ext uri="{BB962C8B-B14F-4D97-AF65-F5344CB8AC3E}">
        <p14:creationId xmlns:p14="http://schemas.microsoft.com/office/powerpoint/2010/main" val="219574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Location</a:t>
            </a:r>
          </a:p>
        </p:txBody>
      </p:sp>
      <p:pic>
        <p:nvPicPr>
          <p:cNvPr id="7" name="Graphic 6" descr="Map with pin">
            <a:extLst>
              <a:ext uri="{FF2B5EF4-FFF2-40B4-BE49-F238E27FC236}">
                <a16:creationId xmlns:a16="http://schemas.microsoft.com/office/drawing/2014/main" id="{85747F96-6B75-405C-B4F5-C674C1FBCD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601058"/>
            <a:ext cx="914400" cy="914400"/>
          </a:xfrm>
          <a:prstGeom prst="rect">
            <a:avLst/>
          </a:prstGeom>
        </p:spPr>
      </p:pic>
      <p:sp>
        <p:nvSpPr>
          <p:cNvPr id="4" name="Textfeld 3">
            <a:extLst>
              <a:ext uri="{FF2B5EF4-FFF2-40B4-BE49-F238E27FC236}">
                <a16:creationId xmlns:a16="http://schemas.microsoft.com/office/drawing/2014/main" id="{233FAB62-D8A9-4138-AE5B-A2FBF52A2B7F}"/>
              </a:ext>
            </a:extLst>
          </p:cNvPr>
          <p:cNvSpPr txBox="1"/>
          <p:nvPr/>
        </p:nvSpPr>
        <p:spPr>
          <a:xfrm>
            <a:off x="5638800" y="1929161"/>
            <a:ext cx="5980772" cy="1957459"/>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Location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a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a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ffec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Minimize</a:t>
            </a:r>
            <a:r>
              <a:rPr kumimoji="0" lang="de-DE" sz="1800" b="0" i="0" u="none" strike="noStrike" kern="1200" cap="none" spc="0" normalizeH="0" baseline="0" noProof="0">
                <a:ln>
                  <a:noFill/>
                </a:ln>
                <a:solidFill>
                  <a:prstClr val="black"/>
                </a:solidFill>
                <a:effectLst/>
                <a:uLnTx/>
                <a:uFillTx/>
                <a:latin typeface="Segoe UI"/>
                <a:ea typeface="+mn-ea"/>
                <a:cs typeface="+mn-cs"/>
              </a:rPr>
              <a:t> network </a:t>
            </a:r>
            <a:r>
              <a:rPr kumimoji="0" lang="de-DE" sz="1800" b="0" i="0" u="none" strike="noStrike" kern="1200" cap="none" spc="0" normalizeH="0" baseline="0" noProof="0" err="1">
                <a:ln>
                  <a:noFill/>
                </a:ln>
                <a:solidFill>
                  <a:prstClr val="black"/>
                </a:solidFill>
                <a:effectLst/>
                <a:uLnTx/>
                <a:uFillTx/>
                <a:latin typeface="Segoe UI"/>
                <a:ea typeface="+mn-ea"/>
                <a:cs typeface="+mn-cs"/>
              </a:rPr>
              <a:t>latenc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rough</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lo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roximit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source </a:t>
            </a:r>
            <a:r>
              <a:rPr kumimoji="0" lang="de-DE" sz="1800" b="0" i="0" u="none" strike="noStrike" kern="1200" cap="none" spc="0" normalizeH="0" baseline="0" noProof="0" err="1">
                <a:ln>
                  <a:noFill/>
                </a:ln>
                <a:solidFill>
                  <a:prstClr val="black"/>
                </a:solidFill>
                <a:effectLst/>
                <a:uLnTx/>
                <a:uFillTx/>
                <a:latin typeface="Segoe UI"/>
                <a:ea typeface="+mn-ea"/>
                <a:cs typeface="+mn-cs"/>
              </a:rPr>
              <a:t>locations</a:t>
            </a:r>
            <a:r>
              <a:rPr kumimoji="0" lang="de-DE" sz="1800" b="0" i="0" u="none" strike="noStrike" kern="1200" cap="none" spc="0" normalizeH="0" baseline="0" noProof="0">
                <a:ln>
                  <a:noFill/>
                </a:ln>
                <a:solidFill>
                  <a:prstClr val="black"/>
                </a:solidFill>
                <a:effectLst/>
                <a:uLnTx/>
                <a:uFillTx/>
                <a:latin typeface="Segoe UI"/>
                <a:ea typeface="+mn-ea"/>
                <a:cs typeface="+mn-cs"/>
              </a:rPr>
              <a:t> and Power BI </a:t>
            </a:r>
            <a:r>
              <a:rPr kumimoji="0" lang="de-DE" sz="1800" b="0" i="0" u="none" strike="noStrike" kern="1200" cap="none" spc="0" normalizeH="0" baseline="0" noProof="0" err="1">
                <a:ln>
                  <a:noFill/>
                </a:ln>
                <a:solidFill>
                  <a:prstClr val="black"/>
                </a:solidFill>
                <a:effectLst/>
                <a:uLnTx/>
                <a:uFillTx/>
                <a:latin typeface="Segoe UI"/>
                <a:ea typeface="+mn-ea"/>
                <a:cs typeface="+mn-cs"/>
              </a:rPr>
              <a:t>tenant</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24519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4">
            <a:extLst>
              <a:ext uri="{FF2B5EF4-FFF2-40B4-BE49-F238E27FC236}">
                <a16:creationId xmlns:a16="http://schemas.microsoft.com/office/drawing/2014/main" id="{243F8972-7D3C-4AEC-8393-9570D47DAECD}"/>
              </a:ext>
            </a:extLst>
          </p:cNvPr>
          <p:cNvGrpSpPr>
            <a:grpSpLocks noChangeAspect="1"/>
          </p:cNvGrpSpPr>
          <p:nvPr/>
        </p:nvGrpSpPr>
        <p:grpSpPr bwMode="auto">
          <a:xfrm>
            <a:off x="3889916" y="1639385"/>
            <a:ext cx="3921674" cy="4025085"/>
            <a:chOff x="2361" y="643"/>
            <a:chExt cx="2958" cy="3036"/>
          </a:xfrm>
        </p:grpSpPr>
        <p:sp>
          <p:nvSpPr>
            <p:cNvPr id="10" name="Freeform 5">
              <a:extLst>
                <a:ext uri="{FF2B5EF4-FFF2-40B4-BE49-F238E27FC236}">
                  <a16:creationId xmlns:a16="http://schemas.microsoft.com/office/drawing/2014/main" id="{2E2A61A6-D30B-41E7-B76E-E5A771F9CA97}"/>
                </a:ext>
              </a:extLst>
            </p:cNvPr>
            <p:cNvSpPr>
              <a:spLocks noEditPoints="1"/>
            </p:cNvSpPr>
            <p:nvPr/>
          </p:nvSpPr>
          <p:spPr bwMode="auto">
            <a:xfrm>
              <a:off x="2540" y="1034"/>
              <a:ext cx="2648" cy="2645"/>
            </a:xfrm>
            <a:custGeom>
              <a:avLst/>
              <a:gdLst>
                <a:gd name="T0" fmla="*/ 637 w 1274"/>
                <a:gd name="T1" fmla="*/ 0 h 1274"/>
                <a:gd name="T2" fmla="*/ 0 w 1274"/>
                <a:gd name="T3" fmla="*/ 637 h 1274"/>
                <a:gd name="T4" fmla="*/ 637 w 1274"/>
                <a:gd name="T5" fmla="*/ 1274 h 1274"/>
                <a:gd name="T6" fmla="*/ 1274 w 1274"/>
                <a:gd name="T7" fmla="*/ 637 h 1274"/>
                <a:gd name="T8" fmla="*/ 637 w 1274"/>
                <a:gd name="T9" fmla="*/ 0 h 1274"/>
                <a:gd name="T10" fmla="*/ 637 w 1274"/>
                <a:gd name="T11" fmla="*/ 1105 h 1274"/>
                <a:gd name="T12" fmla="*/ 169 w 1274"/>
                <a:gd name="T13" fmla="*/ 637 h 1274"/>
                <a:gd name="T14" fmla="*/ 637 w 1274"/>
                <a:gd name="T15" fmla="*/ 169 h 1274"/>
                <a:gd name="T16" fmla="*/ 1105 w 1274"/>
                <a:gd name="T17" fmla="*/ 637 h 1274"/>
                <a:gd name="T18" fmla="*/ 637 w 1274"/>
                <a:gd name="T19" fmla="*/ 1105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4" h="1274">
                  <a:moveTo>
                    <a:pt x="637" y="0"/>
                  </a:moveTo>
                  <a:cubicBezTo>
                    <a:pt x="285" y="0"/>
                    <a:pt x="0" y="285"/>
                    <a:pt x="0" y="637"/>
                  </a:cubicBezTo>
                  <a:cubicBezTo>
                    <a:pt x="0" y="989"/>
                    <a:pt x="285" y="1274"/>
                    <a:pt x="637" y="1274"/>
                  </a:cubicBezTo>
                  <a:cubicBezTo>
                    <a:pt x="989" y="1274"/>
                    <a:pt x="1274" y="989"/>
                    <a:pt x="1274" y="637"/>
                  </a:cubicBezTo>
                  <a:cubicBezTo>
                    <a:pt x="1274" y="285"/>
                    <a:pt x="989" y="0"/>
                    <a:pt x="637" y="0"/>
                  </a:cubicBezTo>
                  <a:close/>
                  <a:moveTo>
                    <a:pt x="637" y="1105"/>
                  </a:moveTo>
                  <a:cubicBezTo>
                    <a:pt x="379" y="1105"/>
                    <a:pt x="169" y="895"/>
                    <a:pt x="169" y="637"/>
                  </a:cubicBezTo>
                  <a:cubicBezTo>
                    <a:pt x="169" y="378"/>
                    <a:pt x="379" y="169"/>
                    <a:pt x="637" y="169"/>
                  </a:cubicBezTo>
                  <a:cubicBezTo>
                    <a:pt x="896" y="169"/>
                    <a:pt x="1105" y="378"/>
                    <a:pt x="1105" y="637"/>
                  </a:cubicBezTo>
                  <a:cubicBezTo>
                    <a:pt x="1105" y="895"/>
                    <a:pt x="896" y="1105"/>
                    <a:pt x="637" y="1105"/>
                  </a:cubicBezTo>
                  <a:close/>
                </a:path>
              </a:pathLst>
            </a:custGeom>
            <a:solidFill>
              <a:schemeClr val="bg1"/>
            </a:solidFill>
            <a:ln>
              <a:noFill/>
            </a:ln>
            <a:effectLst>
              <a:outerShdw blurRad="1270000" dist="38100" dir="2700000" algn="tl" rotWithShape="0">
                <a:prstClr val="black">
                  <a:alpha val="13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C82D3574-F328-4677-A0FE-2B4A452D53EB}"/>
                </a:ext>
              </a:extLst>
            </p:cNvPr>
            <p:cNvSpPr>
              <a:spLocks/>
            </p:cNvSpPr>
            <p:nvPr/>
          </p:nvSpPr>
          <p:spPr bwMode="auto">
            <a:xfrm>
              <a:off x="2361" y="1451"/>
              <a:ext cx="1657" cy="1950"/>
            </a:xfrm>
            <a:custGeom>
              <a:avLst/>
              <a:gdLst>
                <a:gd name="T0" fmla="*/ 289 w 797"/>
                <a:gd name="T1" fmla="*/ 416 h 939"/>
                <a:gd name="T2" fmla="*/ 289 w 797"/>
                <a:gd name="T3" fmla="*/ 417 h 939"/>
                <a:gd name="T4" fmla="*/ 289 w 797"/>
                <a:gd name="T5" fmla="*/ 423 h 939"/>
                <a:gd name="T6" fmla="*/ 293 w 797"/>
                <a:gd name="T7" fmla="*/ 481 h 939"/>
                <a:gd name="T8" fmla="*/ 293 w 797"/>
                <a:gd name="T9" fmla="*/ 482 h 939"/>
                <a:gd name="T10" fmla="*/ 294 w 797"/>
                <a:gd name="T11" fmla="*/ 483 h 939"/>
                <a:gd name="T12" fmla="*/ 293 w 797"/>
                <a:gd name="T13" fmla="*/ 482 h 939"/>
                <a:gd name="T14" fmla="*/ 293 w 797"/>
                <a:gd name="T15" fmla="*/ 482 h 939"/>
                <a:gd name="T16" fmla="*/ 293 w 797"/>
                <a:gd name="T17" fmla="*/ 482 h 939"/>
                <a:gd name="T18" fmla="*/ 171 w 797"/>
                <a:gd name="T19" fmla="*/ 694 h 939"/>
                <a:gd name="T20" fmla="*/ 154 w 797"/>
                <a:gd name="T21" fmla="*/ 611 h 939"/>
                <a:gd name="T22" fmla="*/ 0 w 797"/>
                <a:gd name="T23" fmla="*/ 808 h 939"/>
                <a:gd name="T24" fmla="*/ 215 w 797"/>
                <a:gd name="T25" fmla="*/ 939 h 939"/>
                <a:gd name="T26" fmla="*/ 199 w 797"/>
                <a:gd name="T27" fmla="*/ 853 h 939"/>
                <a:gd name="T28" fmla="*/ 459 w 797"/>
                <a:gd name="T29" fmla="*/ 545 h 939"/>
                <a:gd name="T30" fmla="*/ 458 w 797"/>
                <a:gd name="T31" fmla="*/ 515 h 939"/>
                <a:gd name="T32" fmla="*/ 454 w 797"/>
                <a:gd name="T33" fmla="*/ 475 h 939"/>
                <a:gd name="T34" fmla="*/ 454 w 797"/>
                <a:gd name="T35" fmla="*/ 475 h 939"/>
                <a:gd name="T36" fmla="*/ 588 w 797"/>
                <a:gd name="T37" fmla="*/ 189 h 939"/>
                <a:gd name="T38" fmla="*/ 797 w 797"/>
                <a:gd name="T39" fmla="*/ 158 h 939"/>
                <a:gd name="T40" fmla="*/ 636 w 797"/>
                <a:gd name="T41" fmla="*/ 0 h 939"/>
                <a:gd name="T42" fmla="*/ 289 w 797"/>
                <a:gd name="T43" fmla="*/ 416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7" h="939">
                  <a:moveTo>
                    <a:pt x="289" y="416"/>
                  </a:moveTo>
                  <a:cubicBezTo>
                    <a:pt x="289" y="416"/>
                    <a:pt x="289" y="416"/>
                    <a:pt x="289" y="417"/>
                  </a:cubicBezTo>
                  <a:cubicBezTo>
                    <a:pt x="289" y="419"/>
                    <a:pt x="289" y="421"/>
                    <a:pt x="289" y="423"/>
                  </a:cubicBezTo>
                  <a:cubicBezTo>
                    <a:pt x="289" y="449"/>
                    <a:pt x="293" y="477"/>
                    <a:pt x="293" y="481"/>
                  </a:cubicBezTo>
                  <a:cubicBezTo>
                    <a:pt x="293" y="482"/>
                    <a:pt x="293" y="482"/>
                    <a:pt x="293" y="482"/>
                  </a:cubicBezTo>
                  <a:cubicBezTo>
                    <a:pt x="294" y="483"/>
                    <a:pt x="294" y="483"/>
                    <a:pt x="294" y="483"/>
                  </a:cubicBezTo>
                  <a:cubicBezTo>
                    <a:pt x="293" y="482"/>
                    <a:pt x="293" y="482"/>
                    <a:pt x="293" y="482"/>
                  </a:cubicBezTo>
                  <a:cubicBezTo>
                    <a:pt x="293" y="482"/>
                    <a:pt x="293" y="482"/>
                    <a:pt x="293" y="482"/>
                  </a:cubicBezTo>
                  <a:cubicBezTo>
                    <a:pt x="293" y="482"/>
                    <a:pt x="293" y="482"/>
                    <a:pt x="293" y="482"/>
                  </a:cubicBezTo>
                  <a:cubicBezTo>
                    <a:pt x="325" y="678"/>
                    <a:pt x="171" y="694"/>
                    <a:pt x="171" y="694"/>
                  </a:cubicBezTo>
                  <a:cubicBezTo>
                    <a:pt x="154" y="611"/>
                    <a:pt x="154" y="611"/>
                    <a:pt x="154" y="611"/>
                  </a:cubicBezTo>
                  <a:cubicBezTo>
                    <a:pt x="0" y="808"/>
                    <a:pt x="0" y="808"/>
                    <a:pt x="0" y="808"/>
                  </a:cubicBezTo>
                  <a:cubicBezTo>
                    <a:pt x="215" y="939"/>
                    <a:pt x="215" y="939"/>
                    <a:pt x="215" y="939"/>
                  </a:cubicBezTo>
                  <a:cubicBezTo>
                    <a:pt x="199" y="853"/>
                    <a:pt x="199" y="853"/>
                    <a:pt x="199" y="853"/>
                  </a:cubicBezTo>
                  <a:cubicBezTo>
                    <a:pt x="419" y="797"/>
                    <a:pt x="456" y="635"/>
                    <a:pt x="459" y="545"/>
                  </a:cubicBezTo>
                  <a:cubicBezTo>
                    <a:pt x="458" y="515"/>
                    <a:pt x="458" y="515"/>
                    <a:pt x="458" y="515"/>
                  </a:cubicBezTo>
                  <a:cubicBezTo>
                    <a:pt x="457" y="503"/>
                    <a:pt x="455" y="486"/>
                    <a:pt x="454" y="475"/>
                  </a:cubicBezTo>
                  <a:cubicBezTo>
                    <a:pt x="454" y="475"/>
                    <a:pt x="454" y="475"/>
                    <a:pt x="454" y="475"/>
                  </a:cubicBezTo>
                  <a:cubicBezTo>
                    <a:pt x="437" y="364"/>
                    <a:pt x="486" y="249"/>
                    <a:pt x="588" y="189"/>
                  </a:cubicBezTo>
                  <a:cubicBezTo>
                    <a:pt x="653" y="150"/>
                    <a:pt x="728" y="141"/>
                    <a:pt x="797" y="158"/>
                  </a:cubicBezTo>
                  <a:cubicBezTo>
                    <a:pt x="691" y="111"/>
                    <a:pt x="636" y="0"/>
                    <a:pt x="636" y="0"/>
                  </a:cubicBezTo>
                  <a:cubicBezTo>
                    <a:pt x="335" y="80"/>
                    <a:pt x="293" y="313"/>
                    <a:pt x="289" y="416"/>
                  </a:cubicBezTo>
                  <a:close/>
                </a:path>
              </a:pathLst>
            </a:custGeom>
            <a:gradFill>
              <a:gsLst>
                <a:gs pos="100000">
                  <a:srgbClr val="624694"/>
                </a:gs>
                <a:gs pos="0">
                  <a:srgbClr val="CA1B8C"/>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7">
              <a:extLst>
                <a:ext uri="{FF2B5EF4-FFF2-40B4-BE49-F238E27FC236}">
                  <a16:creationId xmlns:a16="http://schemas.microsoft.com/office/drawing/2014/main" id="{5DEDAB38-488D-4E11-92C8-C180A47EECBA}"/>
                </a:ext>
              </a:extLst>
            </p:cNvPr>
            <p:cNvSpPr>
              <a:spLocks/>
            </p:cNvSpPr>
            <p:nvPr/>
          </p:nvSpPr>
          <p:spPr bwMode="auto">
            <a:xfrm>
              <a:off x="3498" y="643"/>
              <a:ext cx="1409" cy="2124"/>
            </a:xfrm>
            <a:custGeom>
              <a:avLst/>
              <a:gdLst>
                <a:gd name="T0" fmla="*/ 413 w 678"/>
                <a:gd name="T1" fmla="*/ 449 h 1023"/>
                <a:gd name="T2" fmla="*/ 412 w 678"/>
                <a:gd name="T3" fmla="*/ 449 h 1023"/>
                <a:gd name="T4" fmla="*/ 407 w 678"/>
                <a:gd name="T5" fmla="*/ 446 h 1023"/>
                <a:gd name="T6" fmla="*/ 354 w 678"/>
                <a:gd name="T7" fmla="*/ 420 h 1023"/>
                <a:gd name="T8" fmla="*/ 354 w 678"/>
                <a:gd name="T9" fmla="*/ 419 h 1023"/>
                <a:gd name="T10" fmla="*/ 353 w 678"/>
                <a:gd name="T11" fmla="*/ 419 h 1023"/>
                <a:gd name="T12" fmla="*/ 354 w 678"/>
                <a:gd name="T13" fmla="*/ 419 h 1023"/>
                <a:gd name="T14" fmla="*/ 354 w 678"/>
                <a:gd name="T15" fmla="*/ 419 h 1023"/>
                <a:gd name="T16" fmla="*/ 354 w 678"/>
                <a:gd name="T17" fmla="*/ 419 h 1023"/>
                <a:gd name="T18" fmla="*/ 234 w 678"/>
                <a:gd name="T19" fmla="*/ 206 h 1023"/>
                <a:gd name="T20" fmla="*/ 313 w 678"/>
                <a:gd name="T21" fmla="*/ 234 h 1023"/>
                <a:gd name="T22" fmla="*/ 223 w 678"/>
                <a:gd name="T23" fmla="*/ 0 h 1023"/>
                <a:gd name="T24" fmla="*/ 0 w 678"/>
                <a:gd name="T25" fmla="*/ 119 h 1023"/>
                <a:gd name="T26" fmla="*/ 82 w 678"/>
                <a:gd name="T27" fmla="*/ 149 h 1023"/>
                <a:gd name="T28" fmla="*/ 215 w 678"/>
                <a:gd name="T29" fmla="*/ 530 h 1023"/>
                <a:gd name="T30" fmla="*/ 241 w 678"/>
                <a:gd name="T31" fmla="*/ 544 h 1023"/>
                <a:gd name="T32" fmla="*/ 278 w 678"/>
                <a:gd name="T33" fmla="*/ 561 h 1023"/>
                <a:gd name="T34" fmla="*/ 278 w 678"/>
                <a:gd name="T35" fmla="*/ 561 h 1023"/>
                <a:gd name="T36" fmla="*/ 456 w 678"/>
                <a:gd name="T37" fmla="*/ 822 h 1023"/>
                <a:gd name="T38" fmla="*/ 377 w 678"/>
                <a:gd name="T39" fmla="*/ 1023 h 1023"/>
                <a:gd name="T40" fmla="*/ 594 w 678"/>
                <a:gd name="T41" fmla="*/ 960 h 1023"/>
                <a:gd name="T42" fmla="*/ 413 w 678"/>
                <a:gd name="T43" fmla="*/ 449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8" h="1023">
                  <a:moveTo>
                    <a:pt x="413" y="449"/>
                  </a:moveTo>
                  <a:cubicBezTo>
                    <a:pt x="412" y="449"/>
                    <a:pt x="412" y="449"/>
                    <a:pt x="412" y="449"/>
                  </a:cubicBezTo>
                  <a:cubicBezTo>
                    <a:pt x="410" y="448"/>
                    <a:pt x="409" y="447"/>
                    <a:pt x="407" y="446"/>
                  </a:cubicBezTo>
                  <a:cubicBezTo>
                    <a:pt x="384" y="432"/>
                    <a:pt x="358" y="421"/>
                    <a:pt x="354" y="420"/>
                  </a:cubicBezTo>
                  <a:cubicBezTo>
                    <a:pt x="354" y="419"/>
                    <a:pt x="354" y="419"/>
                    <a:pt x="354" y="419"/>
                  </a:cubicBezTo>
                  <a:cubicBezTo>
                    <a:pt x="353" y="419"/>
                    <a:pt x="353" y="419"/>
                    <a:pt x="353" y="419"/>
                  </a:cubicBezTo>
                  <a:cubicBezTo>
                    <a:pt x="354" y="419"/>
                    <a:pt x="354" y="419"/>
                    <a:pt x="354" y="419"/>
                  </a:cubicBezTo>
                  <a:cubicBezTo>
                    <a:pt x="354" y="419"/>
                    <a:pt x="354" y="419"/>
                    <a:pt x="354" y="419"/>
                  </a:cubicBezTo>
                  <a:cubicBezTo>
                    <a:pt x="354" y="419"/>
                    <a:pt x="354" y="419"/>
                    <a:pt x="354" y="419"/>
                  </a:cubicBezTo>
                  <a:cubicBezTo>
                    <a:pt x="169" y="347"/>
                    <a:pt x="234" y="206"/>
                    <a:pt x="234" y="206"/>
                  </a:cubicBezTo>
                  <a:cubicBezTo>
                    <a:pt x="313" y="234"/>
                    <a:pt x="313" y="234"/>
                    <a:pt x="313" y="234"/>
                  </a:cubicBezTo>
                  <a:cubicBezTo>
                    <a:pt x="223" y="0"/>
                    <a:pt x="223" y="0"/>
                    <a:pt x="223" y="0"/>
                  </a:cubicBezTo>
                  <a:cubicBezTo>
                    <a:pt x="0" y="119"/>
                    <a:pt x="0" y="119"/>
                    <a:pt x="0" y="119"/>
                  </a:cubicBezTo>
                  <a:cubicBezTo>
                    <a:pt x="82" y="149"/>
                    <a:pt x="82" y="149"/>
                    <a:pt x="82" y="149"/>
                  </a:cubicBezTo>
                  <a:cubicBezTo>
                    <a:pt x="19" y="367"/>
                    <a:pt x="139" y="481"/>
                    <a:pt x="215" y="530"/>
                  </a:cubicBezTo>
                  <a:cubicBezTo>
                    <a:pt x="241" y="544"/>
                    <a:pt x="241" y="544"/>
                    <a:pt x="241" y="544"/>
                  </a:cubicBezTo>
                  <a:cubicBezTo>
                    <a:pt x="253" y="549"/>
                    <a:pt x="268" y="556"/>
                    <a:pt x="278" y="561"/>
                  </a:cubicBezTo>
                  <a:cubicBezTo>
                    <a:pt x="278" y="561"/>
                    <a:pt x="278" y="561"/>
                    <a:pt x="278" y="561"/>
                  </a:cubicBezTo>
                  <a:cubicBezTo>
                    <a:pt x="382" y="603"/>
                    <a:pt x="456" y="704"/>
                    <a:pt x="456" y="822"/>
                  </a:cubicBezTo>
                  <a:cubicBezTo>
                    <a:pt x="456" y="898"/>
                    <a:pt x="426" y="972"/>
                    <a:pt x="377" y="1023"/>
                  </a:cubicBezTo>
                  <a:cubicBezTo>
                    <a:pt x="471" y="956"/>
                    <a:pt x="594" y="960"/>
                    <a:pt x="594" y="960"/>
                  </a:cubicBezTo>
                  <a:cubicBezTo>
                    <a:pt x="678" y="659"/>
                    <a:pt x="499" y="504"/>
                    <a:pt x="413" y="449"/>
                  </a:cubicBezTo>
                  <a:close/>
                </a:path>
              </a:pathLst>
            </a:custGeom>
            <a:gradFill flip="none" rotWithShape="1">
              <a:gsLst>
                <a:gs pos="100000">
                  <a:srgbClr val="0FB4FB"/>
                </a:gs>
                <a:gs pos="1000">
                  <a:srgbClr val="624694"/>
                </a:gs>
              </a:gsLst>
              <a:lin ang="162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
              <a:extLst>
                <a:ext uri="{FF2B5EF4-FFF2-40B4-BE49-F238E27FC236}">
                  <a16:creationId xmlns:a16="http://schemas.microsoft.com/office/drawing/2014/main" id="{A75466AD-E2CA-4E83-A274-E991FE87A3FC}"/>
                </a:ext>
              </a:extLst>
            </p:cNvPr>
            <p:cNvSpPr>
              <a:spLocks/>
            </p:cNvSpPr>
            <p:nvPr/>
          </p:nvSpPr>
          <p:spPr bwMode="auto">
            <a:xfrm>
              <a:off x="3190" y="2512"/>
              <a:ext cx="2129" cy="912"/>
            </a:xfrm>
            <a:custGeom>
              <a:avLst/>
              <a:gdLst>
                <a:gd name="T0" fmla="*/ 534 w 1024"/>
                <a:gd name="T1" fmla="*/ 311 h 439"/>
                <a:gd name="T2" fmla="*/ 534 w 1024"/>
                <a:gd name="T3" fmla="*/ 311 h 439"/>
                <a:gd name="T4" fmla="*/ 539 w 1024"/>
                <a:gd name="T5" fmla="*/ 308 h 439"/>
                <a:gd name="T6" fmla="*/ 588 w 1024"/>
                <a:gd name="T7" fmla="*/ 275 h 439"/>
                <a:gd name="T8" fmla="*/ 589 w 1024"/>
                <a:gd name="T9" fmla="*/ 274 h 439"/>
                <a:gd name="T10" fmla="*/ 589 w 1024"/>
                <a:gd name="T11" fmla="*/ 274 h 439"/>
                <a:gd name="T12" fmla="*/ 589 w 1024"/>
                <a:gd name="T13" fmla="*/ 274 h 439"/>
                <a:gd name="T14" fmla="*/ 589 w 1024"/>
                <a:gd name="T15" fmla="*/ 274 h 439"/>
                <a:gd name="T16" fmla="*/ 589 w 1024"/>
                <a:gd name="T17" fmla="*/ 274 h 439"/>
                <a:gd name="T18" fmla="*/ 834 w 1024"/>
                <a:gd name="T19" fmla="*/ 275 h 439"/>
                <a:gd name="T20" fmla="*/ 770 w 1024"/>
                <a:gd name="T21" fmla="*/ 331 h 439"/>
                <a:gd name="T22" fmla="*/ 1018 w 1024"/>
                <a:gd name="T23" fmla="*/ 366 h 439"/>
                <a:gd name="T24" fmla="*/ 1024 w 1024"/>
                <a:gd name="T25" fmla="*/ 114 h 439"/>
                <a:gd name="T26" fmla="*/ 958 w 1024"/>
                <a:gd name="T27" fmla="*/ 171 h 439"/>
                <a:gd name="T28" fmla="*/ 561 w 1024"/>
                <a:gd name="T29" fmla="*/ 99 h 439"/>
                <a:gd name="T30" fmla="*/ 536 w 1024"/>
                <a:gd name="T31" fmla="*/ 115 h 439"/>
                <a:gd name="T32" fmla="*/ 502 w 1024"/>
                <a:gd name="T33" fmla="*/ 139 h 439"/>
                <a:gd name="T34" fmla="*/ 502 w 1024"/>
                <a:gd name="T35" fmla="*/ 139 h 439"/>
                <a:gd name="T36" fmla="*/ 188 w 1024"/>
                <a:gd name="T37" fmla="*/ 165 h 439"/>
                <a:gd name="T38" fmla="*/ 57 w 1024"/>
                <a:gd name="T39" fmla="*/ 0 h 439"/>
                <a:gd name="T40" fmla="*/ 0 w 1024"/>
                <a:gd name="T41" fmla="*/ 218 h 439"/>
                <a:gd name="T42" fmla="*/ 534 w 1024"/>
                <a:gd name="T4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4" h="439">
                  <a:moveTo>
                    <a:pt x="534" y="311"/>
                  </a:moveTo>
                  <a:cubicBezTo>
                    <a:pt x="534" y="311"/>
                    <a:pt x="534" y="311"/>
                    <a:pt x="534" y="311"/>
                  </a:cubicBezTo>
                  <a:cubicBezTo>
                    <a:pt x="536" y="310"/>
                    <a:pt x="538" y="309"/>
                    <a:pt x="539" y="308"/>
                  </a:cubicBezTo>
                  <a:cubicBezTo>
                    <a:pt x="563" y="295"/>
                    <a:pt x="585" y="277"/>
                    <a:pt x="588" y="275"/>
                  </a:cubicBezTo>
                  <a:cubicBezTo>
                    <a:pt x="588" y="275"/>
                    <a:pt x="588" y="274"/>
                    <a:pt x="589" y="274"/>
                  </a:cubicBezTo>
                  <a:cubicBezTo>
                    <a:pt x="589" y="274"/>
                    <a:pt x="589" y="274"/>
                    <a:pt x="589" y="274"/>
                  </a:cubicBezTo>
                  <a:cubicBezTo>
                    <a:pt x="589" y="274"/>
                    <a:pt x="589" y="274"/>
                    <a:pt x="589" y="274"/>
                  </a:cubicBezTo>
                  <a:cubicBezTo>
                    <a:pt x="589" y="274"/>
                    <a:pt x="589" y="274"/>
                    <a:pt x="589" y="274"/>
                  </a:cubicBezTo>
                  <a:cubicBezTo>
                    <a:pt x="589" y="274"/>
                    <a:pt x="589" y="274"/>
                    <a:pt x="589" y="274"/>
                  </a:cubicBezTo>
                  <a:cubicBezTo>
                    <a:pt x="742" y="149"/>
                    <a:pt x="834" y="275"/>
                    <a:pt x="834" y="275"/>
                  </a:cubicBezTo>
                  <a:cubicBezTo>
                    <a:pt x="770" y="331"/>
                    <a:pt x="770" y="331"/>
                    <a:pt x="770" y="331"/>
                  </a:cubicBezTo>
                  <a:cubicBezTo>
                    <a:pt x="1018" y="366"/>
                    <a:pt x="1018" y="366"/>
                    <a:pt x="1018" y="366"/>
                  </a:cubicBezTo>
                  <a:cubicBezTo>
                    <a:pt x="1024" y="114"/>
                    <a:pt x="1024" y="114"/>
                    <a:pt x="1024" y="114"/>
                  </a:cubicBezTo>
                  <a:cubicBezTo>
                    <a:pt x="958" y="171"/>
                    <a:pt x="958" y="171"/>
                    <a:pt x="958" y="171"/>
                  </a:cubicBezTo>
                  <a:cubicBezTo>
                    <a:pt x="799" y="9"/>
                    <a:pt x="640" y="57"/>
                    <a:pt x="561" y="99"/>
                  </a:cubicBezTo>
                  <a:cubicBezTo>
                    <a:pt x="536" y="115"/>
                    <a:pt x="536" y="115"/>
                    <a:pt x="536" y="115"/>
                  </a:cubicBezTo>
                  <a:cubicBezTo>
                    <a:pt x="525" y="123"/>
                    <a:pt x="512" y="132"/>
                    <a:pt x="502" y="139"/>
                  </a:cubicBezTo>
                  <a:cubicBezTo>
                    <a:pt x="502" y="139"/>
                    <a:pt x="502" y="139"/>
                    <a:pt x="502" y="139"/>
                  </a:cubicBezTo>
                  <a:cubicBezTo>
                    <a:pt x="415" y="209"/>
                    <a:pt x="291" y="223"/>
                    <a:pt x="188" y="165"/>
                  </a:cubicBezTo>
                  <a:cubicBezTo>
                    <a:pt x="122" y="128"/>
                    <a:pt x="77" y="68"/>
                    <a:pt x="57" y="0"/>
                  </a:cubicBezTo>
                  <a:cubicBezTo>
                    <a:pt x="69" y="115"/>
                    <a:pt x="0" y="218"/>
                    <a:pt x="0" y="218"/>
                  </a:cubicBezTo>
                  <a:cubicBezTo>
                    <a:pt x="220" y="439"/>
                    <a:pt x="443" y="359"/>
                    <a:pt x="534" y="311"/>
                  </a:cubicBezTo>
                  <a:close/>
                </a:path>
              </a:pathLst>
            </a:custGeom>
            <a:gradFill>
              <a:gsLst>
                <a:gs pos="100000">
                  <a:srgbClr val="624694"/>
                </a:gs>
                <a:gs pos="0">
                  <a:srgbClr val="FF576C"/>
                </a:gs>
              </a:gsLst>
              <a:lin ang="11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826465DB-4210-489E-8B99-9B87B5AD9F60}"/>
              </a:ext>
            </a:extLst>
          </p:cNvPr>
          <p:cNvSpPr txBox="1"/>
          <p:nvPr/>
        </p:nvSpPr>
        <p:spPr>
          <a:xfrm>
            <a:off x="5679564" y="1839580"/>
            <a:ext cx="3834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1</a:t>
            </a:r>
          </a:p>
        </p:txBody>
      </p:sp>
      <p:sp>
        <p:nvSpPr>
          <p:cNvPr id="27" name="TextBox 26">
            <a:extLst>
              <a:ext uri="{FF2B5EF4-FFF2-40B4-BE49-F238E27FC236}">
                <a16:creationId xmlns:a16="http://schemas.microsoft.com/office/drawing/2014/main" id="{740B2655-3D74-4BA9-A0F7-5C847BBF4525}"/>
              </a:ext>
            </a:extLst>
          </p:cNvPr>
          <p:cNvSpPr txBox="1"/>
          <p:nvPr/>
        </p:nvSpPr>
        <p:spPr>
          <a:xfrm>
            <a:off x="7351439" y="4710547"/>
            <a:ext cx="3958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2</a:t>
            </a:r>
          </a:p>
        </p:txBody>
      </p:sp>
      <p:sp>
        <p:nvSpPr>
          <p:cNvPr id="28" name="TextBox 27">
            <a:extLst>
              <a:ext uri="{FF2B5EF4-FFF2-40B4-BE49-F238E27FC236}">
                <a16:creationId xmlns:a16="http://schemas.microsoft.com/office/drawing/2014/main" id="{17CBD421-32AD-4E65-A2C1-E2E00503B06A}"/>
              </a:ext>
            </a:extLst>
          </p:cNvPr>
          <p:cNvSpPr txBox="1"/>
          <p:nvPr/>
        </p:nvSpPr>
        <p:spPr>
          <a:xfrm>
            <a:off x="4040393" y="4721836"/>
            <a:ext cx="3958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03</a:t>
            </a:r>
          </a:p>
        </p:txBody>
      </p:sp>
      <p:grpSp>
        <p:nvGrpSpPr>
          <p:cNvPr id="29" name="Group 28">
            <a:extLst>
              <a:ext uri="{FF2B5EF4-FFF2-40B4-BE49-F238E27FC236}">
                <a16:creationId xmlns:a16="http://schemas.microsoft.com/office/drawing/2014/main" id="{D655665E-ACC9-487A-9052-9F05EF4EBC8E}"/>
              </a:ext>
            </a:extLst>
          </p:cNvPr>
          <p:cNvGrpSpPr/>
          <p:nvPr/>
        </p:nvGrpSpPr>
        <p:grpSpPr>
          <a:xfrm>
            <a:off x="7057609" y="3030967"/>
            <a:ext cx="285044" cy="285044"/>
            <a:chOff x="6281738" y="1349376"/>
            <a:chExt cx="384175" cy="384175"/>
          </a:xfrm>
        </p:grpSpPr>
        <p:sp>
          <p:nvSpPr>
            <p:cNvPr id="30" name="Oval 50">
              <a:extLst>
                <a:ext uri="{FF2B5EF4-FFF2-40B4-BE49-F238E27FC236}">
                  <a16:creationId xmlns:a16="http://schemas.microsoft.com/office/drawing/2014/main" id="{0A9A6D4B-7E02-47A0-B995-D1BA3A851F50}"/>
                </a:ext>
              </a:extLst>
            </p:cNvPr>
            <p:cNvSpPr>
              <a:spLocks noChangeArrowheads="1"/>
            </p:cNvSpPr>
            <p:nvPr/>
          </p:nvSpPr>
          <p:spPr bwMode="auto">
            <a:xfrm>
              <a:off x="6316663" y="1379538"/>
              <a:ext cx="319088" cy="319088"/>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Oval 51">
              <a:extLst>
                <a:ext uri="{FF2B5EF4-FFF2-40B4-BE49-F238E27FC236}">
                  <a16:creationId xmlns:a16="http://schemas.microsoft.com/office/drawing/2014/main" id="{DB565993-A195-452E-B8D7-9E05073622A7}"/>
                </a:ext>
              </a:extLst>
            </p:cNvPr>
            <p:cNvSpPr>
              <a:spLocks noChangeArrowheads="1"/>
            </p:cNvSpPr>
            <p:nvPr/>
          </p:nvSpPr>
          <p:spPr bwMode="auto">
            <a:xfrm>
              <a:off x="6356350" y="1423988"/>
              <a:ext cx="234950" cy="234950"/>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52">
              <a:extLst>
                <a:ext uri="{FF2B5EF4-FFF2-40B4-BE49-F238E27FC236}">
                  <a16:creationId xmlns:a16="http://schemas.microsoft.com/office/drawing/2014/main" id="{614C50F7-FD3F-4713-BFBA-174EBB7004ED}"/>
                </a:ext>
              </a:extLst>
            </p:cNvPr>
            <p:cNvSpPr>
              <a:spLocks noChangeShapeType="1"/>
            </p:cNvSpPr>
            <p:nvPr/>
          </p:nvSpPr>
          <p:spPr bwMode="auto">
            <a:xfrm>
              <a:off x="6281738" y="1550988"/>
              <a:ext cx="122238" cy="0"/>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53">
              <a:extLst>
                <a:ext uri="{FF2B5EF4-FFF2-40B4-BE49-F238E27FC236}">
                  <a16:creationId xmlns:a16="http://schemas.microsoft.com/office/drawing/2014/main" id="{1AAD8D96-DE79-4B06-BEBD-CAE09A95316F}"/>
                </a:ext>
              </a:extLst>
            </p:cNvPr>
            <p:cNvSpPr>
              <a:spLocks noChangeShapeType="1"/>
            </p:cNvSpPr>
            <p:nvPr/>
          </p:nvSpPr>
          <p:spPr bwMode="auto">
            <a:xfrm>
              <a:off x="6543675" y="1550988"/>
              <a:ext cx="122238" cy="0"/>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54">
              <a:extLst>
                <a:ext uri="{FF2B5EF4-FFF2-40B4-BE49-F238E27FC236}">
                  <a16:creationId xmlns:a16="http://schemas.microsoft.com/office/drawing/2014/main" id="{FEE61B62-875C-466F-95DE-453A9C0D84E7}"/>
                </a:ext>
              </a:extLst>
            </p:cNvPr>
            <p:cNvSpPr>
              <a:spLocks noChangeShapeType="1"/>
            </p:cNvSpPr>
            <p:nvPr/>
          </p:nvSpPr>
          <p:spPr bwMode="auto">
            <a:xfrm flipV="1">
              <a:off x="6473825" y="1611313"/>
              <a:ext cx="0" cy="12223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55">
              <a:extLst>
                <a:ext uri="{FF2B5EF4-FFF2-40B4-BE49-F238E27FC236}">
                  <a16:creationId xmlns:a16="http://schemas.microsoft.com/office/drawing/2014/main" id="{2A4E36AC-429D-4967-A16B-CFC1ADA599A5}"/>
                </a:ext>
              </a:extLst>
            </p:cNvPr>
            <p:cNvSpPr>
              <a:spLocks noChangeShapeType="1"/>
            </p:cNvSpPr>
            <p:nvPr/>
          </p:nvSpPr>
          <p:spPr bwMode="auto">
            <a:xfrm flipV="1">
              <a:off x="6473825" y="1349376"/>
              <a:ext cx="0" cy="12223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val 56">
              <a:extLst>
                <a:ext uri="{FF2B5EF4-FFF2-40B4-BE49-F238E27FC236}">
                  <a16:creationId xmlns:a16="http://schemas.microsoft.com/office/drawing/2014/main" id="{0DC3FDC1-6B0C-4AA2-9DB1-B5ACAF9302AA}"/>
                </a:ext>
              </a:extLst>
            </p:cNvPr>
            <p:cNvSpPr>
              <a:spLocks noChangeArrowheads="1"/>
            </p:cNvSpPr>
            <p:nvPr/>
          </p:nvSpPr>
          <p:spPr bwMode="auto">
            <a:xfrm>
              <a:off x="6443663" y="1506538"/>
              <a:ext cx="60325" cy="6191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36">
            <a:extLst>
              <a:ext uri="{FF2B5EF4-FFF2-40B4-BE49-F238E27FC236}">
                <a16:creationId xmlns:a16="http://schemas.microsoft.com/office/drawing/2014/main" id="{FB56AE5F-E9BC-4519-A2C3-7C2359A2A575}"/>
              </a:ext>
            </a:extLst>
          </p:cNvPr>
          <p:cNvGrpSpPr/>
          <p:nvPr/>
        </p:nvGrpSpPr>
        <p:grpSpPr>
          <a:xfrm>
            <a:off x="5749562" y="5319436"/>
            <a:ext cx="243441" cy="261066"/>
            <a:chOff x="7053263" y="1357313"/>
            <a:chExt cx="350838" cy="376238"/>
          </a:xfrm>
        </p:grpSpPr>
        <p:sp>
          <p:nvSpPr>
            <p:cNvPr id="38" name="Oval 60">
              <a:extLst>
                <a:ext uri="{FF2B5EF4-FFF2-40B4-BE49-F238E27FC236}">
                  <a16:creationId xmlns:a16="http://schemas.microsoft.com/office/drawing/2014/main" id="{E08D31E6-D3BA-4130-B680-B0E8BCD7AA8C}"/>
                </a:ext>
              </a:extLst>
            </p:cNvPr>
            <p:cNvSpPr>
              <a:spLocks noChangeArrowheads="1"/>
            </p:cNvSpPr>
            <p:nvPr/>
          </p:nvSpPr>
          <p:spPr bwMode="auto">
            <a:xfrm>
              <a:off x="7070725" y="1423988"/>
              <a:ext cx="312738" cy="30956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61">
              <a:extLst>
                <a:ext uri="{FF2B5EF4-FFF2-40B4-BE49-F238E27FC236}">
                  <a16:creationId xmlns:a16="http://schemas.microsoft.com/office/drawing/2014/main" id="{580C5D02-3DB3-423A-A9F5-5ED8D17EDE01}"/>
                </a:ext>
              </a:extLst>
            </p:cNvPr>
            <p:cNvSpPr>
              <a:spLocks noChangeArrowheads="1"/>
            </p:cNvSpPr>
            <p:nvPr/>
          </p:nvSpPr>
          <p:spPr bwMode="auto">
            <a:xfrm>
              <a:off x="7107238" y="1458913"/>
              <a:ext cx="239713" cy="239713"/>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val 62">
              <a:extLst>
                <a:ext uri="{FF2B5EF4-FFF2-40B4-BE49-F238E27FC236}">
                  <a16:creationId xmlns:a16="http://schemas.microsoft.com/office/drawing/2014/main" id="{834D7207-5F4C-42C7-9CD8-6E8B67F59B22}"/>
                </a:ext>
              </a:extLst>
            </p:cNvPr>
            <p:cNvSpPr>
              <a:spLocks noChangeArrowheads="1"/>
            </p:cNvSpPr>
            <p:nvPr/>
          </p:nvSpPr>
          <p:spPr bwMode="auto">
            <a:xfrm>
              <a:off x="7202488" y="1554163"/>
              <a:ext cx="49213" cy="44450"/>
            </a:xfrm>
            <a:prstGeom prst="ellips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63">
              <a:extLst>
                <a:ext uri="{FF2B5EF4-FFF2-40B4-BE49-F238E27FC236}">
                  <a16:creationId xmlns:a16="http://schemas.microsoft.com/office/drawing/2014/main" id="{EF0AEACB-C3D0-4A65-910C-696D1AB53E3D}"/>
                </a:ext>
              </a:extLst>
            </p:cNvPr>
            <p:cNvSpPr>
              <a:spLocks noChangeShapeType="1"/>
            </p:cNvSpPr>
            <p:nvPr/>
          </p:nvSpPr>
          <p:spPr bwMode="auto">
            <a:xfrm flipV="1">
              <a:off x="7224713" y="1501776"/>
              <a:ext cx="0" cy="5238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64">
              <a:extLst>
                <a:ext uri="{FF2B5EF4-FFF2-40B4-BE49-F238E27FC236}">
                  <a16:creationId xmlns:a16="http://schemas.microsoft.com/office/drawing/2014/main" id="{47D0E63E-BDCC-4164-BD55-61642C5C331E}"/>
                </a:ext>
              </a:extLst>
            </p:cNvPr>
            <p:cNvSpPr>
              <a:spLocks noChangeShapeType="1"/>
            </p:cNvSpPr>
            <p:nvPr/>
          </p:nvSpPr>
          <p:spPr bwMode="auto">
            <a:xfrm flipV="1">
              <a:off x="7224713" y="1401763"/>
              <a:ext cx="0" cy="52388"/>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65">
              <a:extLst>
                <a:ext uri="{FF2B5EF4-FFF2-40B4-BE49-F238E27FC236}">
                  <a16:creationId xmlns:a16="http://schemas.microsoft.com/office/drawing/2014/main" id="{3A76A9F4-8ECA-46DA-BDAF-D4FE25C019F5}"/>
                </a:ext>
              </a:extLst>
            </p:cNvPr>
            <p:cNvSpPr>
              <a:spLocks noChangeShapeType="1"/>
            </p:cNvSpPr>
            <p:nvPr/>
          </p:nvSpPr>
          <p:spPr bwMode="auto">
            <a:xfrm flipH="1" flipV="1">
              <a:off x="7089775"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e 66">
              <a:extLst>
                <a:ext uri="{FF2B5EF4-FFF2-40B4-BE49-F238E27FC236}">
                  <a16:creationId xmlns:a16="http://schemas.microsoft.com/office/drawing/2014/main" id="{820F668C-1407-453A-99B9-AD2B11497459}"/>
                </a:ext>
              </a:extLst>
            </p:cNvPr>
            <p:cNvSpPr>
              <a:spLocks noChangeShapeType="1"/>
            </p:cNvSpPr>
            <p:nvPr/>
          </p:nvSpPr>
          <p:spPr bwMode="auto">
            <a:xfrm flipH="1">
              <a:off x="7053263" y="1401763"/>
              <a:ext cx="66675"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Line 67">
              <a:extLst>
                <a:ext uri="{FF2B5EF4-FFF2-40B4-BE49-F238E27FC236}">
                  <a16:creationId xmlns:a16="http://schemas.microsoft.com/office/drawing/2014/main" id="{2EC2D0BD-10A9-494D-889D-6064AC4E37AC}"/>
                </a:ext>
              </a:extLst>
            </p:cNvPr>
            <p:cNvSpPr>
              <a:spLocks noChangeShapeType="1"/>
            </p:cNvSpPr>
            <p:nvPr/>
          </p:nvSpPr>
          <p:spPr bwMode="auto">
            <a:xfrm flipH="1" flipV="1">
              <a:off x="7089775"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Line 68">
              <a:extLst>
                <a:ext uri="{FF2B5EF4-FFF2-40B4-BE49-F238E27FC236}">
                  <a16:creationId xmlns:a16="http://schemas.microsoft.com/office/drawing/2014/main" id="{15D2EE2E-B609-4519-A8AA-647806429F88}"/>
                </a:ext>
              </a:extLst>
            </p:cNvPr>
            <p:cNvSpPr>
              <a:spLocks noChangeShapeType="1"/>
            </p:cNvSpPr>
            <p:nvPr/>
          </p:nvSpPr>
          <p:spPr bwMode="auto">
            <a:xfrm flipH="1">
              <a:off x="7053263" y="1401763"/>
              <a:ext cx="66675"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69">
              <a:extLst>
                <a:ext uri="{FF2B5EF4-FFF2-40B4-BE49-F238E27FC236}">
                  <a16:creationId xmlns:a16="http://schemas.microsoft.com/office/drawing/2014/main" id="{71460C8D-31B2-48F2-8CBE-1222A7FDE366}"/>
                </a:ext>
              </a:extLst>
            </p:cNvPr>
            <p:cNvSpPr>
              <a:spLocks noChangeShapeType="1"/>
            </p:cNvSpPr>
            <p:nvPr/>
          </p:nvSpPr>
          <p:spPr bwMode="auto">
            <a:xfrm flipV="1">
              <a:off x="7339013" y="1431926"/>
              <a:ext cx="30163" cy="301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70">
              <a:extLst>
                <a:ext uri="{FF2B5EF4-FFF2-40B4-BE49-F238E27FC236}">
                  <a16:creationId xmlns:a16="http://schemas.microsoft.com/office/drawing/2014/main" id="{99B4FCC4-A32C-422B-B287-89AA3ACAC9CB}"/>
                </a:ext>
              </a:extLst>
            </p:cNvPr>
            <p:cNvSpPr>
              <a:spLocks noChangeShapeType="1"/>
            </p:cNvSpPr>
            <p:nvPr/>
          </p:nvSpPr>
          <p:spPr bwMode="auto">
            <a:xfrm>
              <a:off x="7339013" y="1401763"/>
              <a:ext cx="65088" cy="60325"/>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71">
              <a:extLst>
                <a:ext uri="{FF2B5EF4-FFF2-40B4-BE49-F238E27FC236}">
                  <a16:creationId xmlns:a16="http://schemas.microsoft.com/office/drawing/2014/main" id="{50261B12-6B60-46CC-84DD-C6666E753FAD}"/>
                </a:ext>
              </a:extLst>
            </p:cNvPr>
            <p:cNvSpPr>
              <a:spLocks/>
            </p:cNvSpPr>
            <p:nvPr/>
          </p:nvSpPr>
          <p:spPr bwMode="auto">
            <a:xfrm>
              <a:off x="7167563" y="1357313"/>
              <a:ext cx="123825" cy="34925"/>
            </a:xfrm>
            <a:custGeom>
              <a:avLst/>
              <a:gdLst>
                <a:gd name="T0" fmla="*/ 28 w 28"/>
                <a:gd name="T1" fmla="*/ 4 h 8"/>
                <a:gd name="T2" fmla="*/ 24 w 28"/>
                <a:gd name="T3" fmla="*/ 8 h 8"/>
                <a:gd name="T4" fmla="*/ 4 w 28"/>
                <a:gd name="T5" fmla="*/ 8 h 8"/>
                <a:gd name="T6" fmla="*/ 0 w 28"/>
                <a:gd name="T7" fmla="*/ 4 h 8"/>
                <a:gd name="T8" fmla="*/ 0 w 28"/>
                <a:gd name="T9" fmla="*/ 4 h 8"/>
                <a:gd name="T10" fmla="*/ 4 w 28"/>
                <a:gd name="T11" fmla="*/ 0 h 8"/>
                <a:gd name="T12" fmla="*/ 24 w 28"/>
                <a:gd name="T13" fmla="*/ 0 h 8"/>
                <a:gd name="T14" fmla="*/ 28 w 2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8">
                  <a:moveTo>
                    <a:pt x="28" y="4"/>
                  </a:moveTo>
                  <a:cubicBezTo>
                    <a:pt x="28" y="6"/>
                    <a:pt x="26" y="8"/>
                    <a:pt x="24" y="8"/>
                  </a:cubicBezTo>
                  <a:cubicBezTo>
                    <a:pt x="4" y="8"/>
                    <a:pt x="4" y="8"/>
                    <a:pt x="4" y="8"/>
                  </a:cubicBezTo>
                  <a:cubicBezTo>
                    <a:pt x="2" y="8"/>
                    <a:pt x="0" y="6"/>
                    <a:pt x="0" y="4"/>
                  </a:cubicBezTo>
                  <a:cubicBezTo>
                    <a:pt x="0" y="4"/>
                    <a:pt x="0" y="4"/>
                    <a:pt x="0" y="4"/>
                  </a:cubicBezTo>
                  <a:cubicBezTo>
                    <a:pt x="0" y="2"/>
                    <a:pt x="2" y="0"/>
                    <a:pt x="4" y="0"/>
                  </a:cubicBezTo>
                  <a:cubicBezTo>
                    <a:pt x="24" y="0"/>
                    <a:pt x="24" y="0"/>
                    <a:pt x="24" y="0"/>
                  </a:cubicBezTo>
                  <a:cubicBezTo>
                    <a:pt x="26" y="0"/>
                    <a:pt x="28" y="2"/>
                    <a:pt x="28" y="4"/>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Line 72">
              <a:extLst>
                <a:ext uri="{FF2B5EF4-FFF2-40B4-BE49-F238E27FC236}">
                  <a16:creationId xmlns:a16="http://schemas.microsoft.com/office/drawing/2014/main" id="{6E2EDA55-FA2D-4EAC-A788-0C13688F5B17}"/>
                </a:ext>
              </a:extLst>
            </p:cNvPr>
            <p:cNvSpPr>
              <a:spLocks noChangeShapeType="1"/>
            </p:cNvSpPr>
            <p:nvPr/>
          </p:nvSpPr>
          <p:spPr bwMode="auto">
            <a:xfrm>
              <a:off x="7202488" y="1366838"/>
              <a:ext cx="0" cy="174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ne 73">
              <a:extLst>
                <a:ext uri="{FF2B5EF4-FFF2-40B4-BE49-F238E27FC236}">
                  <a16:creationId xmlns:a16="http://schemas.microsoft.com/office/drawing/2014/main" id="{BD29C633-93D4-4552-A741-CCEB34E82F64}"/>
                </a:ext>
              </a:extLst>
            </p:cNvPr>
            <p:cNvSpPr>
              <a:spLocks noChangeShapeType="1"/>
            </p:cNvSpPr>
            <p:nvPr/>
          </p:nvSpPr>
          <p:spPr bwMode="auto">
            <a:xfrm>
              <a:off x="7254875" y="1366838"/>
              <a:ext cx="0" cy="17463"/>
            </a:xfrm>
            <a:prstGeom prst="line">
              <a:avLst/>
            </a:pr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Group 51">
            <a:extLst>
              <a:ext uri="{FF2B5EF4-FFF2-40B4-BE49-F238E27FC236}">
                <a16:creationId xmlns:a16="http://schemas.microsoft.com/office/drawing/2014/main" id="{F9742C47-ACEF-4788-816B-4F391BEA9E55}"/>
              </a:ext>
            </a:extLst>
          </p:cNvPr>
          <p:cNvGrpSpPr/>
          <p:nvPr/>
        </p:nvGrpSpPr>
        <p:grpSpPr>
          <a:xfrm>
            <a:off x="4400555" y="3105580"/>
            <a:ext cx="248383" cy="231962"/>
            <a:chOff x="10067926" y="1362076"/>
            <a:chExt cx="384175" cy="358775"/>
          </a:xfrm>
        </p:grpSpPr>
        <p:sp>
          <p:nvSpPr>
            <p:cNvPr id="53" name="Freeform 118">
              <a:extLst>
                <a:ext uri="{FF2B5EF4-FFF2-40B4-BE49-F238E27FC236}">
                  <a16:creationId xmlns:a16="http://schemas.microsoft.com/office/drawing/2014/main" id="{FCCC5640-7909-4013-8596-888DE9B5F091}"/>
                </a:ext>
              </a:extLst>
            </p:cNvPr>
            <p:cNvSpPr>
              <a:spLocks/>
            </p:cNvSpPr>
            <p:nvPr/>
          </p:nvSpPr>
          <p:spPr bwMode="auto">
            <a:xfrm>
              <a:off x="10172701" y="1457326"/>
              <a:ext cx="152400" cy="158750"/>
            </a:xfrm>
            <a:custGeom>
              <a:avLst/>
              <a:gdLst>
                <a:gd name="T0" fmla="*/ 14 w 35"/>
                <a:gd name="T1" fmla="*/ 36 h 36"/>
                <a:gd name="T2" fmla="*/ 0 w 35"/>
                <a:gd name="T3" fmla="*/ 18 h 36"/>
                <a:gd name="T4" fmla="*/ 18 w 35"/>
                <a:gd name="T5" fmla="*/ 0 h 36"/>
                <a:gd name="T6" fmla="*/ 35 w 35"/>
                <a:gd name="T7" fmla="*/ 11 h 36"/>
              </a:gdLst>
              <a:ahLst/>
              <a:cxnLst>
                <a:cxn ang="0">
                  <a:pos x="T0" y="T1"/>
                </a:cxn>
                <a:cxn ang="0">
                  <a:pos x="T2" y="T3"/>
                </a:cxn>
                <a:cxn ang="0">
                  <a:pos x="T4" y="T5"/>
                </a:cxn>
                <a:cxn ang="0">
                  <a:pos x="T6" y="T7"/>
                </a:cxn>
              </a:cxnLst>
              <a:rect l="0" t="0" r="r" b="b"/>
              <a:pathLst>
                <a:path w="35" h="36">
                  <a:moveTo>
                    <a:pt x="14" y="36"/>
                  </a:moveTo>
                  <a:cubicBezTo>
                    <a:pt x="6" y="34"/>
                    <a:pt x="0" y="27"/>
                    <a:pt x="0" y="18"/>
                  </a:cubicBezTo>
                  <a:cubicBezTo>
                    <a:pt x="0" y="8"/>
                    <a:pt x="8" y="0"/>
                    <a:pt x="18" y="0"/>
                  </a:cubicBezTo>
                  <a:cubicBezTo>
                    <a:pt x="26" y="0"/>
                    <a:pt x="32" y="4"/>
                    <a:pt x="35" y="11"/>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19">
              <a:extLst>
                <a:ext uri="{FF2B5EF4-FFF2-40B4-BE49-F238E27FC236}">
                  <a16:creationId xmlns:a16="http://schemas.microsoft.com/office/drawing/2014/main" id="{24A873C9-5D2A-4F5E-98F4-64030424245C}"/>
                </a:ext>
              </a:extLst>
            </p:cNvPr>
            <p:cNvSpPr>
              <a:spLocks/>
            </p:cNvSpPr>
            <p:nvPr/>
          </p:nvSpPr>
          <p:spPr bwMode="auto">
            <a:xfrm>
              <a:off x="10282238" y="1663701"/>
              <a:ext cx="42863" cy="17463"/>
            </a:xfrm>
            <a:custGeom>
              <a:avLst/>
              <a:gdLst>
                <a:gd name="T0" fmla="*/ 10 w 10"/>
                <a:gd name="T1" fmla="*/ 0 h 4"/>
                <a:gd name="T2" fmla="*/ 0 w 10"/>
                <a:gd name="T3" fmla="*/ 4 h 4"/>
                <a:gd name="T4" fmla="*/ 10 w 10"/>
                <a:gd name="T5" fmla="*/ 0 h 4"/>
              </a:gdLst>
              <a:ahLst/>
              <a:cxnLst>
                <a:cxn ang="0">
                  <a:pos x="T0" y="T1"/>
                </a:cxn>
                <a:cxn ang="0">
                  <a:pos x="T2" y="T3"/>
                </a:cxn>
                <a:cxn ang="0">
                  <a:pos x="T4" y="T5"/>
                </a:cxn>
              </a:cxnLst>
              <a:rect l="0" t="0" r="r" b="b"/>
              <a:pathLst>
                <a:path w="10" h="4">
                  <a:moveTo>
                    <a:pt x="10" y="0"/>
                  </a:moveTo>
                  <a:cubicBezTo>
                    <a:pt x="0" y="4"/>
                    <a:pt x="0" y="4"/>
                    <a:pt x="0" y="4"/>
                  </a:cubicBezTo>
                  <a:cubicBezTo>
                    <a:pt x="4" y="3"/>
                    <a:pt x="7" y="2"/>
                    <a:pt x="10" y="0"/>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20">
              <a:extLst>
                <a:ext uri="{FF2B5EF4-FFF2-40B4-BE49-F238E27FC236}">
                  <a16:creationId xmlns:a16="http://schemas.microsoft.com/office/drawing/2014/main" id="{A762ADF7-746B-4842-B7D0-BB2DE4B2BBB1}"/>
                </a:ext>
              </a:extLst>
            </p:cNvPr>
            <p:cNvSpPr>
              <a:spLocks/>
            </p:cNvSpPr>
            <p:nvPr/>
          </p:nvSpPr>
          <p:spPr bwMode="auto">
            <a:xfrm>
              <a:off x="10177463" y="1404938"/>
              <a:ext cx="38100" cy="14288"/>
            </a:xfrm>
            <a:custGeom>
              <a:avLst/>
              <a:gdLst>
                <a:gd name="T0" fmla="*/ 0 w 9"/>
                <a:gd name="T1" fmla="*/ 3 h 3"/>
                <a:gd name="T2" fmla="*/ 9 w 9"/>
                <a:gd name="T3" fmla="*/ 0 h 3"/>
                <a:gd name="T4" fmla="*/ 0 w 9"/>
                <a:gd name="T5" fmla="*/ 3 h 3"/>
              </a:gdLst>
              <a:ahLst/>
              <a:cxnLst>
                <a:cxn ang="0">
                  <a:pos x="T0" y="T1"/>
                </a:cxn>
                <a:cxn ang="0">
                  <a:pos x="T2" y="T3"/>
                </a:cxn>
                <a:cxn ang="0">
                  <a:pos x="T4" y="T5"/>
                </a:cxn>
              </a:cxnLst>
              <a:rect l="0" t="0" r="r" b="b"/>
              <a:pathLst>
                <a:path w="9" h="3">
                  <a:moveTo>
                    <a:pt x="0" y="3"/>
                  </a:moveTo>
                  <a:cubicBezTo>
                    <a:pt x="9" y="0"/>
                    <a:pt x="9" y="0"/>
                    <a:pt x="9" y="0"/>
                  </a:cubicBezTo>
                  <a:cubicBezTo>
                    <a:pt x="6" y="0"/>
                    <a:pt x="2" y="2"/>
                    <a:pt x="0" y="3"/>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21">
              <a:extLst>
                <a:ext uri="{FF2B5EF4-FFF2-40B4-BE49-F238E27FC236}">
                  <a16:creationId xmlns:a16="http://schemas.microsoft.com/office/drawing/2014/main" id="{EB3DD8BE-979D-4A32-83D6-0357E644339E}"/>
                </a:ext>
              </a:extLst>
            </p:cNvPr>
            <p:cNvSpPr>
              <a:spLocks/>
            </p:cNvSpPr>
            <p:nvPr/>
          </p:nvSpPr>
          <p:spPr bwMode="auto">
            <a:xfrm>
              <a:off x="10110788" y="1466851"/>
              <a:ext cx="17463" cy="39688"/>
            </a:xfrm>
            <a:custGeom>
              <a:avLst/>
              <a:gdLst>
                <a:gd name="T0" fmla="*/ 0 w 4"/>
                <a:gd name="T1" fmla="*/ 9 h 9"/>
                <a:gd name="T2" fmla="*/ 4 w 4"/>
                <a:gd name="T3" fmla="*/ 0 h 9"/>
                <a:gd name="T4" fmla="*/ 0 w 4"/>
                <a:gd name="T5" fmla="*/ 9 h 9"/>
              </a:gdLst>
              <a:ahLst/>
              <a:cxnLst>
                <a:cxn ang="0">
                  <a:pos x="T0" y="T1"/>
                </a:cxn>
                <a:cxn ang="0">
                  <a:pos x="T2" y="T3"/>
                </a:cxn>
                <a:cxn ang="0">
                  <a:pos x="T4" y="T5"/>
                </a:cxn>
              </a:cxnLst>
              <a:rect l="0" t="0" r="r" b="b"/>
              <a:pathLst>
                <a:path w="4" h="9">
                  <a:moveTo>
                    <a:pt x="0" y="9"/>
                  </a:moveTo>
                  <a:cubicBezTo>
                    <a:pt x="4" y="0"/>
                    <a:pt x="4" y="0"/>
                    <a:pt x="4" y="0"/>
                  </a:cubicBezTo>
                  <a:cubicBezTo>
                    <a:pt x="2" y="3"/>
                    <a:pt x="1" y="6"/>
                    <a:pt x="0" y="9"/>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22">
              <a:extLst>
                <a:ext uri="{FF2B5EF4-FFF2-40B4-BE49-F238E27FC236}">
                  <a16:creationId xmlns:a16="http://schemas.microsoft.com/office/drawing/2014/main" id="{ECC16ACD-5425-481C-8441-40219CD41574}"/>
                </a:ext>
              </a:extLst>
            </p:cNvPr>
            <p:cNvSpPr>
              <a:spLocks/>
            </p:cNvSpPr>
            <p:nvPr/>
          </p:nvSpPr>
          <p:spPr bwMode="auto">
            <a:xfrm>
              <a:off x="10172701" y="1663701"/>
              <a:ext cx="42863" cy="17463"/>
            </a:xfrm>
            <a:custGeom>
              <a:avLst/>
              <a:gdLst>
                <a:gd name="T0" fmla="*/ 10 w 10"/>
                <a:gd name="T1" fmla="*/ 4 h 4"/>
                <a:gd name="T2" fmla="*/ 0 w 10"/>
                <a:gd name="T3" fmla="*/ 0 h 4"/>
                <a:gd name="T4" fmla="*/ 10 w 10"/>
                <a:gd name="T5" fmla="*/ 4 h 4"/>
              </a:gdLst>
              <a:ahLst/>
              <a:cxnLst>
                <a:cxn ang="0">
                  <a:pos x="T0" y="T1"/>
                </a:cxn>
                <a:cxn ang="0">
                  <a:pos x="T2" y="T3"/>
                </a:cxn>
                <a:cxn ang="0">
                  <a:pos x="T4" y="T5"/>
                </a:cxn>
              </a:cxnLst>
              <a:rect l="0" t="0" r="r" b="b"/>
              <a:pathLst>
                <a:path w="10" h="4">
                  <a:moveTo>
                    <a:pt x="10" y="4"/>
                  </a:moveTo>
                  <a:cubicBezTo>
                    <a:pt x="0" y="0"/>
                    <a:pt x="0" y="0"/>
                    <a:pt x="0" y="0"/>
                  </a:cubicBezTo>
                  <a:cubicBezTo>
                    <a:pt x="3" y="2"/>
                    <a:pt x="6" y="3"/>
                    <a:pt x="10" y="4"/>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23">
              <a:extLst>
                <a:ext uri="{FF2B5EF4-FFF2-40B4-BE49-F238E27FC236}">
                  <a16:creationId xmlns:a16="http://schemas.microsoft.com/office/drawing/2014/main" id="{22DB79D9-4FB1-4BE0-A430-0FA03060840F}"/>
                </a:ext>
              </a:extLst>
            </p:cNvPr>
            <p:cNvSpPr>
              <a:spLocks/>
            </p:cNvSpPr>
            <p:nvPr/>
          </p:nvSpPr>
          <p:spPr bwMode="auto">
            <a:xfrm>
              <a:off x="10282238" y="1401763"/>
              <a:ext cx="42863" cy="17463"/>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10" y="4"/>
                    <a:pt x="10" y="4"/>
                    <a:pt x="10" y="4"/>
                  </a:cubicBezTo>
                  <a:cubicBezTo>
                    <a:pt x="7" y="2"/>
                    <a:pt x="3" y="1"/>
                    <a:pt x="0" y="0"/>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24">
              <a:extLst>
                <a:ext uri="{FF2B5EF4-FFF2-40B4-BE49-F238E27FC236}">
                  <a16:creationId xmlns:a16="http://schemas.microsoft.com/office/drawing/2014/main" id="{D4781AE9-510F-45C0-81B4-D3484CDC2762}"/>
                </a:ext>
              </a:extLst>
            </p:cNvPr>
            <p:cNvSpPr>
              <a:spLocks/>
            </p:cNvSpPr>
            <p:nvPr/>
          </p:nvSpPr>
          <p:spPr bwMode="auto">
            <a:xfrm>
              <a:off x="10369551" y="1466851"/>
              <a:ext cx="12700" cy="22225"/>
            </a:xfrm>
            <a:custGeom>
              <a:avLst/>
              <a:gdLst>
                <a:gd name="T0" fmla="*/ 3 w 3"/>
                <a:gd name="T1" fmla="*/ 5 h 5"/>
                <a:gd name="T2" fmla="*/ 0 w 3"/>
                <a:gd name="T3" fmla="*/ 0 h 5"/>
              </a:gdLst>
              <a:ahLst/>
              <a:cxnLst>
                <a:cxn ang="0">
                  <a:pos x="T0" y="T1"/>
                </a:cxn>
                <a:cxn ang="0">
                  <a:pos x="T2" y="T3"/>
                </a:cxn>
              </a:cxnLst>
              <a:rect l="0" t="0" r="r" b="b"/>
              <a:pathLst>
                <a:path w="3" h="5">
                  <a:moveTo>
                    <a:pt x="3" y="5"/>
                  </a:moveTo>
                  <a:cubicBezTo>
                    <a:pt x="2" y="3"/>
                    <a:pt x="1" y="1"/>
                    <a:pt x="0"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25">
              <a:extLst>
                <a:ext uri="{FF2B5EF4-FFF2-40B4-BE49-F238E27FC236}">
                  <a16:creationId xmlns:a16="http://schemas.microsoft.com/office/drawing/2014/main" id="{6285E857-877D-4486-BC4D-0420ADC12513}"/>
                </a:ext>
              </a:extLst>
            </p:cNvPr>
            <p:cNvSpPr>
              <a:spLocks/>
            </p:cNvSpPr>
            <p:nvPr/>
          </p:nvSpPr>
          <p:spPr bwMode="auto">
            <a:xfrm>
              <a:off x="10110788" y="1576388"/>
              <a:ext cx="17463" cy="39688"/>
            </a:xfrm>
            <a:custGeom>
              <a:avLst/>
              <a:gdLst>
                <a:gd name="T0" fmla="*/ 4 w 4"/>
                <a:gd name="T1" fmla="*/ 9 h 9"/>
                <a:gd name="T2" fmla="*/ 0 w 4"/>
                <a:gd name="T3" fmla="*/ 0 h 9"/>
                <a:gd name="T4" fmla="*/ 4 w 4"/>
                <a:gd name="T5" fmla="*/ 9 h 9"/>
              </a:gdLst>
              <a:ahLst/>
              <a:cxnLst>
                <a:cxn ang="0">
                  <a:pos x="T0" y="T1"/>
                </a:cxn>
                <a:cxn ang="0">
                  <a:pos x="T2" y="T3"/>
                </a:cxn>
                <a:cxn ang="0">
                  <a:pos x="T4" y="T5"/>
                </a:cxn>
              </a:cxnLst>
              <a:rect l="0" t="0" r="r" b="b"/>
              <a:pathLst>
                <a:path w="4" h="9">
                  <a:moveTo>
                    <a:pt x="4" y="9"/>
                  </a:moveTo>
                  <a:cubicBezTo>
                    <a:pt x="0" y="0"/>
                    <a:pt x="0" y="0"/>
                    <a:pt x="0" y="0"/>
                  </a:cubicBezTo>
                  <a:cubicBezTo>
                    <a:pt x="1" y="3"/>
                    <a:pt x="2" y="6"/>
                    <a:pt x="4" y="9"/>
                  </a:cubicBezTo>
                  <a:close/>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26">
              <a:extLst>
                <a:ext uri="{FF2B5EF4-FFF2-40B4-BE49-F238E27FC236}">
                  <a16:creationId xmlns:a16="http://schemas.microsoft.com/office/drawing/2014/main" id="{6D4A2D4B-2026-4ABD-A4DF-2112D16F30F5}"/>
                </a:ext>
              </a:extLst>
            </p:cNvPr>
            <p:cNvSpPr>
              <a:spLocks/>
            </p:cNvSpPr>
            <p:nvPr/>
          </p:nvSpPr>
          <p:spPr bwMode="auto">
            <a:xfrm>
              <a:off x="10215563" y="1362076"/>
              <a:ext cx="66675" cy="39688"/>
            </a:xfrm>
            <a:custGeom>
              <a:avLst/>
              <a:gdLst>
                <a:gd name="T0" fmla="*/ 15 w 15"/>
                <a:gd name="T1" fmla="*/ 9 h 9"/>
                <a:gd name="T2" fmla="*/ 15 w 15"/>
                <a:gd name="T3" fmla="*/ 6 h 9"/>
                <a:gd name="T4" fmla="*/ 8 w 15"/>
                <a:gd name="T5" fmla="*/ 0 h 9"/>
                <a:gd name="T6" fmla="*/ 7 w 15"/>
                <a:gd name="T7" fmla="*/ 0 h 9"/>
                <a:gd name="T8" fmla="*/ 0 w 15"/>
                <a:gd name="T9" fmla="*/ 6 h 9"/>
                <a:gd name="T10" fmla="*/ 0 w 15"/>
                <a:gd name="T11" fmla="*/ 9 h 9"/>
              </a:gdLst>
              <a:ahLst/>
              <a:cxnLst>
                <a:cxn ang="0">
                  <a:pos x="T0" y="T1"/>
                </a:cxn>
                <a:cxn ang="0">
                  <a:pos x="T2" y="T3"/>
                </a:cxn>
                <a:cxn ang="0">
                  <a:pos x="T4" y="T5"/>
                </a:cxn>
                <a:cxn ang="0">
                  <a:pos x="T6" y="T7"/>
                </a:cxn>
                <a:cxn ang="0">
                  <a:pos x="T8" y="T9"/>
                </a:cxn>
                <a:cxn ang="0">
                  <a:pos x="T10" y="T11"/>
                </a:cxn>
              </a:cxnLst>
              <a:rect l="0" t="0" r="r" b="b"/>
              <a:pathLst>
                <a:path w="15" h="9">
                  <a:moveTo>
                    <a:pt x="15" y="9"/>
                  </a:moveTo>
                  <a:cubicBezTo>
                    <a:pt x="15" y="6"/>
                    <a:pt x="15" y="6"/>
                    <a:pt x="15" y="6"/>
                  </a:cubicBezTo>
                  <a:cubicBezTo>
                    <a:pt x="15" y="3"/>
                    <a:pt x="12" y="0"/>
                    <a:pt x="8" y="0"/>
                  </a:cubicBezTo>
                  <a:cubicBezTo>
                    <a:pt x="7" y="0"/>
                    <a:pt x="7" y="0"/>
                    <a:pt x="7" y="0"/>
                  </a:cubicBezTo>
                  <a:cubicBezTo>
                    <a:pt x="3" y="0"/>
                    <a:pt x="0" y="3"/>
                    <a:pt x="0" y="6"/>
                  </a:cubicBezTo>
                  <a:cubicBezTo>
                    <a:pt x="0" y="9"/>
                    <a:pt x="0" y="9"/>
                    <a:pt x="0" y="9"/>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27">
              <a:extLst>
                <a:ext uri="{FF2B5EF4-FFF2-40B4-BE49-F238E27FC236}">
                  <a16:creationId xmlns:a16="http://schemas.microsoft.com/office/drawing/2014/main" id="{AD62D05C-B336-4F11-B0CD-21A0C00B0915}"/>
                </a:ext>
              </a:extLst>
            </p:cNvPr>
            <p:cNvSpPr>
              <a:spLocks/>
            </p:cNvSpPr>
            <p:nvPr/>
          </p:nvSpPr>
          <p:spPr bwMode="auto">
            <a:xfrm>
              <a:off x="10215563" y="1681163"/>
              <a:ext cx="66675" cy="39688"/>
            </a:xfrm>
            <a:custGeom>
              <a:avLst/>
              <a:gdLst>
                <a:gd name="T0" fmla="*/ 0 w 15"/>
                <a:gd name="T1" fmla="*/ 0 h 9"/>
                <a:gd name="T2" fmla="*/ 0 w 15"/>
                <a:gd name="T3" fmla="*/ 3 h 9"/>
                <a:gd name="T4" fmla="*/ 7 w 15"/>
                <a:gd name="T5" fmla="*/ 9 h 9"/>
                <a:gd name="T6" fmla="*/ 8 w 15"/>
                <a:gd name="T7" fmla="*/ 9 h 9"/>
                <a:gd name="T8" fmla="*/ 15 w 15"/>
                <a:gd name="T9" fmla="*/ 3 h 9"/>
                <a:gd name="T10" fmla="*/ 15 w 15"/>
                <a:gd name="T11" fmla="*/ 0 h 9"/>
              </a:gdLst>
              <a:ahLst/>
              <a:cxnLst>
                <a:cxn ang="0">
                  <a:pos x="T0" y="T1"/>
                </a:cxn>
                <a:cxn ang="0">
                  <a:pos x="T2" y="T3"/>
                </a:cxn>
                <a:cxn ang="0">
                  <a:pos x="T4" y="T5"/>
                </a:cxn>
                <a:cxn ang="0">
                  <a:pos x="T6" y="T7"/>
                </a:cxn>
                <a:cxn ang="0">
                  <a:pos x="T8" y="T9"/>
                </a:cxn>
                <a:cxn ang="0">
                  <a:pos x="T10" y="T11"/>
                </a:cxn>
              </a:cxnLst>
              <a:rect l="0" t="0" r="r" b="b"/>
              <a:pathLst>
                <a:path w="15" h="9">
                  <a:moveTo>
                    <a:pt x="0" y="0"/>
                  </a:moveTo>
                  <a:cubicBezTo>
                    <a:pt x="0" y="3"/>
                    <a:pt x="0" y="3"/>
                    <a:pt x="0" y="3"/>
                  </a:cubicBezTo>
                  <a:cubicBezTo>
                    <a:pt x="0" y="7"/>
                    <a:pt x="3" y="9"/>
                    <a:pt x="7" y="9"/>
                  </a:cubicBezTo>
                  <a:cubicBezTo>
                    <a:pt x="8" y="9"/>
                    <a:pt x="8" y="9"/>
                    <a:pt x="8" y="9"/>
                  </a:cubicBezTo>
                  <a:cubicBezTo>
                    <a:pt x="12" y="9"/>
                    <a:pt x="15" y="7"/>
                    <a:pt x="15" y="3"/>
                  </a:cubicBezTo>
                  <a:cubicBezTo>
                    <a:pt x="15" y="0"/>
                    <a:pt x="15" y="0"/>
                    <a:pt x="15"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28">
              <a:extLst>
                <a:ext uri="{FF2B5EF4-FFF2-40B4-BE49-F238E27FC236}">
                  <a16:creationId xmlns:a16="http://schemas.microsoft.com/office/drawing/2014/main" id="{F3AC70FC-BCE6-4674-B56A-012C68D26677}"/>
                </a:ext>
              </a:extLst>
            </p:cNvPr>
            <p:cNvSpPr>
              <a:spLocks/>
            </p:cNvSpPr>
            <p:nvPr/>
          </p:nvSpPr>
          <p:spPr bwMode="auto">
            <a:xfrm>
              <a:off x="10067926" y="1506538"/>
              <a:ext cx="39688" cy="69850"/>
            </a:xfrm>
            <a:custGeom>
              <a:avLst/>
              <a:gdLst>
                <a:gd name="T0" fmla="*/ 9 w 9"/>
                <a:gd name="T1" fmla="*/ 0 h 16"/>
                <a:gd name="T2" fmla="*/ 7 w 9"/>
                <a:gd name="T3" fmla="*/ 0 h 16"/>
                <a:gd name="T4" fmla="*/ 0 w 9"/>
                <a:gd name="T5" fmla="*/ 7 h 16"/>
                <a:gd name="T6" fmla="*/ 0 w 9"/>
                <a:gd name="T7" fmla="*/ 9 h 16"/>
                <a:gd name="T8" fmla="*/ 7 w 9"/>
                <a:gd name="T9" fmla="*/ 16 h 16"/>
                <a:gd name="T10" fmla="*/ 9 w 9"/>
                <a:gd name="T11" fmla="*/ 16 h 16"/>
              </a:gdLst>
              <a:ahLst/>
              <a:cxnLst>
                <a:cxn ang="0">
                  <a:pos x="T0" y="T1"/>
                </a:cxn>
                <a:cxn ang="0">
                  <a:pos x="T2" y="T3"/>
                </a:cxn>
                <a:cxn ang="0">
                  <a:pos x="T4" y="T5"/>
                </a:cxn>
                <a:cxn ang="0">
                  <a:pos x="T6" y="T7"/>
                </a:cxn>
                <a:cxn ang="0">
                  <a:pos x="T8" y="T9"/>
                </a:cxn>
                <a:cxn ang="0">
                  <a:pos x="T10" y="T11"/>
                </a:cxn>
              </a:cxnLst>
              <a:rect l="0" t="0" r="r" b="b"/>
              <a:pathLst>
                <a:path w="9" h="16">
                  <a:moveTo>
                    <a:pt x="9" y="0"/>
                  </a:moveTo>
                  <a:cubicBezTo>
                    <a:pt x="7" y="0"/>
                    <a:pt x="7" y="0"/>
                    <a:pt x="7" y="0"/>
                  </a:cubicBezTo>
                  <a:cubicBezTo>
                    <a:pt x="3" y="0"/>
                    <a:pt x="0" y="3"/>
                    <a:pt x="0" y="7"/>
                  </a:cubicBezTo>
                  <a:cubicBezTo>
                    <a:pt x="0" y="9"/>
                    <a:pt x="0" y="9"/>
                    <a:pt x="0" y="9"/>
                  </a:cubicBezTo>
                  <a:cubicBezTo>
                    <a:pt x="0" y="13"/>
                    <a:pt x="3" y="16"/>
                    <a:pt x="7" y="16"/>
                  </a:cubicBezTo>
                  <a:cubicBezTo>
                    <a:pt x="9" y="16"/>
                    <a:pt x="9" y="16"/>
                    <a:pt x="9" y="16"/>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29">
              <a:extLst>
                <a:ext uri="{FF2B5EF4-FFF2-40B4-BE49-F238E27FC236}">
                  <a16:creationId xmlns:a16="http://schemas.microsoft.com/office/drawing/2014/main" id="{8C8EBA7C-0626-4EA3-B97C-8AB8272C40AA}"/>
                </a:ext>
              </a:extLst>
            </p:cNvPr>
            <p:cNvSpPr>
              <a:spLocks/>
            </p:cNvSpPr>
            <p:nvPr/>
          </p:nvSpPr>
          <p:spPr bwMode="auto">
            <a:xfrm>
              <a:off x="10325101" y="1620838"/>
              <a:ext cx="66675" cy="65088"/>
            </a:xfrm>
            <a:custGeom>
              <a:avLst/>
              <a:gdLst>
                <a:gd name="T0" fmla="*/ 0 w 15"/>
                <a:gd name="T1" fmla="*/ 10 h 15"/>
                <a:gd name="T2" fmla="*/ 2 w 15"/>
                <a:gd name="T3" fmla="*/ 12 h 15"/>
                <a:gd name="T4" fmla="*/ 11 w 15"/>
                <a:gd name="T5" fmla="*/ 12 h 15"/>
                <a:gd name="T6" fmla="*/ 12 w 15"/>
                <a:gd name="T7" fmla="*/ 11 h 15"/>
                <a:gd name="T8" fmla="*/ 12 w 15"/>
                <a:gd name="T9" fmla="*/ 1 h 15"/>
                <a:gd name="T10" fmla="*/ 11 w 15"/>
                <a:gd name="T11" fmla="*/ 0 h 15"/>
              </a:gdLst>
              <a:ahLst/>
              <a:cxnLst>
                <a:cxn ang="0">
                  <a:pos x="T0" y="T1"/>
                </a:cxn>
                <a:cxn ang="0">
                  <a:pos x="T2" y="T3"/>
                </a:cxn>
                <a:cxn ang="0">
                  <a:pos x="T4" y="T5"/>
                </a:cxn>
                <a:cxn ang="0">
                  <a:pos x="T6" y="T7"/>
                </a:cxn>
                <a:cxn ang="0">
                  <a:pos x="T8" y="T9"/>
                </a:cxn>
                <a:cxn ang="0">
                  <a:pos x="T10" y="T11"/>
                </a:cxn>
              </a:cxnLst>
              <a:rect l="0" t="0" r="r" b="b"/>
              <a:pathLst>
                <a:path w="15" h="15">
                  <a:moveTo>
                    <a:pt x="0" y="10"/>
                  </a:moveTo>
                  <a:cubicBezTo>
                    <a:pt x="2" y="12"/>
                    <a:pt x="2" y="12"/>
                    <a:pt x="2" y="12"/>
                  </a:cubicBezTo>
                  <a:cubicBezTo>
                    <a:pt x="4" y="15"/>
                    <a:pt x="9" y="15"/>
                    <a:pt x="11" y="12"/>
                  </a:cubicBezTo>
                  <a:cubicBezTo>
                    <a:pt x="12" y="11"/>
                    <a:pt x="12" y="11"/>
                    <a:pt x="12" y="11"/>
                  </a:cubicBezTo>
                  <a:cubicBezTo>
                    <a:pt x="15" y="8"/>
                    <a:pt x="15" y="4"/>
                    <a:pt x="12" y="1"/>
                  </a:cubicBezTo>
                  <a:cubicBezTo>
                    <a:pt x="11" y="0"/>
                    <a:pt x="11" y="0"/>
                    <a:pt x="11"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30">
              <a:extLst>
                <a:ext uri="{FF2B5EF4-FFF2-40B4-BE49-F238E27FC236}">
                  <a16:creationId xmlns:a16="http://schemas.microsoft.com/office/drawing/2014/main" id="{C66D4EDF-6800-44A7-9A5D-AAEC881AB754}"/>
                </a:ext>
              </a:extLst>
            </p:cNvPr>
            <p:cNvSpPr>
              <a:spLocks/>
            </p:cNvSpPr>
            <p:nvPr/>
          </p:nvSpPr>
          <p:spPr bwMode="auto">
            <a:xfrm>
              <a:off x="10107613" y="1397001"/>
              <a:ext cx="69850" cy="69850"/>
            </a:xfrm>
            <a:custGeom>
              <a:avLst/>
              <a:gdLst>
                <a:gd name="T0" fmla="*/ 16 w 16"/>
                <a:gd name="T1" fmla="*/ 5 h 16"/>
                <a:gd name="T2" fmla="*/ 13 w 16"/>
                <a:gd name="T3" fmla="*/ 3 h 16"/>
                <a:gd name="T4" fmla="*/ 4 w 16"/>
                <a:gd name="T5" fmla="*/ 3 h 16"/>
                <a:gd name="T6" fmla="*/ 3 w 16"/>
                <a:gd name="T7" fmla="*/ 4 h 16"/>
                <a:gd name="T8" fmla="*/ 3 w 16"/>
                <a:gd name="T9" fmla="*/ 14 h 16"/>
                <a:gd name="T10" fmla="*/ 5 w 16"/>
                <a:gd name="T11" fmla="*/ 16 h 16"/>
              </a:gdLst>
              <a:ahLst/>
              <a:cxnLst>
                <a:cxn ang="0">
                  <a:pos x="T0" y="T1"/>
                </a:cxn>
                <a:cxn ang="0">
                  <a:pos x="T2" y="T3"/>
                </a:cxn>
                <a:cxn ang="0">
                  <a:pos x="T4" y="T5"/>
                </a:cxn>
                <a:cxn ang="0">
                  <a:pos x="T6" y="T7"/>
                </a:cxn>
                <a:cxn ang="0">
                  <a:pos x="T8" y="T9"/>
                </a:cxn>
                <a:cxn ang="0">
                  <a:pos x="T10" y="T11"/>
                </a:cxn>
              </a:cxnLst>
              <a:rect l="0" t="0" r="r" b="b"/>
              <a:pathLst>
                <a:path w="16" h="16">
                  <a:moveTo>
                    <a:pt x="16" y="5"/>
                  </a:moveTo>
                  <a:cubicBezTo>
                    <a:pt x="13" y="3"/>
                    <a:pt x="13" y="3"/>
                    <a:pt x="13" y="3"/>
                  </a:cubicBezTo>
                  <a:cubicBezTo>
                    <a:pt x="11" y="0"/>
                    <a:pt x="6" y="0"/>
                    <a:pt x="4" y="3"/>
                  </a:cubicBezTo>
                  <a:cubicBezTo>
                    <a:pt x="3" y="4"/>
                    <a:pt x="3" y="4"/>
                    <a:pt x="3" y="4"/>
                  </a:cubicBezTo>
                  <a:cubicBezTo>
                    <a:pt x="0" y="7"/>
                    <a:pt x="0" y="11"/>
                    <a:pt x="3" y="14"/>
                  </a:cubicBezTo>
                  <a:cubicBezTo>
                    <a:pt x="5" y="16"/>
                    <a:pt x="5" y="16"/>
                    <a:pt x="5" y="16"/>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31">
              <a:extLst>
                <a:ext uri="{FF2B5EF4-FFF2-40B4-BE49-F238E27FC236}">
                  <a16:creationId xmlns:a16="http://schemas.microsoft.com/office/drawing/2014/main" id="{7C6B0AA9-BF43-44D3-931A-A4CFE6C288AD}"/>
                </a:ext>
              </a:extLst>
            </p:cNvPr>
            <p:cNvSpPr>
              <a:spLocks/>
            </p:cNvSpPr>
            <p:nvPr/>
          </p:nvSpPr>
          <p:spPr bwMode="auto">
            <a:xfrm>
              <a:off x="10325101" y="1397001"/>
              <a:ext cx="66675" cy="69850"/>
            </a:xfrm>
            <a:custGeom>
              <a:avLst/>
              <a:gdLst>
                <a:gd name="T0" fmla="*/ 10 w 15"/>
                <a:gd name="T1" fmla="*/ 16 h 16"/>
                <a:gd name="T2" fmla="*/ 12 w 15"/>
                <a:gd name="T3" fmla="*/ 14 h 16"/>
                <a:gd name="T4" fmla="*/ 12 w 15"/>
                <a:gd name="T5" fmla="*/ 4 h 16"/>
                <a:gd name="T6" fmla="*/ 11 w 15"/>
                <a:gd name="T7" fmla="*/ 3 h 16"/>
                <a:gd name="T8" fmla="*/ 2 w 15"/>
                <a:gd name="T9" fmla="*/ 3 h 16"/>
                <a:gd name="T10" fmla="*/ 0 w 15"/>
                <a:gd name="T11" fmla="*/ 5 h 16"/>
              </a:gdLst>
              <a:ahLst/>
              <a:cxnLst>
                <a:cxn ang="0">
                  <a:pos x="T0" y="T1"/>
                </a:cxn>
                <a:cxn ang="0">
                  <a:pos x="T2" y="T3"/>
                </a:cxn>
                <a:cxn ang="0">
                  <a:pos x="T4" y="T5"/>
                </a:cxn>
                <a:cxn ang="0">
                  <a:pos x="T6" y="T7"/>
                </a:cxn>
                <a:cxn ang="0">
                  <a:pos x="T8" y="T9"/>
                </a:cxn>
                <a:cxn ang="0">
                  <a:pos x="T10" y="T11"/>
                </a:cxn>
              </a:cxnLst>
              <a:rect l="0" t="0" r="r" b="b"/>
              <a:pathLst>
                <a:path w="15" h="16">
                  <a:moveTo>
                    <a:pt x="10" y="16"/>
                  </a:moveTo>
                  <a:cubicBezTo>
                    <a:pt x="12" y="14"/>
                    <a:pt x="12" y="14"/>
                    <a:pt x="12" y="14"/>
                  </a:cubicBezTo>
                  <a:cubicBezTo>
                    <a:pt x="15" y="11"/>
                    <a:pt x="15" y="7"/>
                    <a:pt x="12" y="4"/>
                  </a:cubicBezTo>
                  <a:cubicBezTo>
                    <a:pt x="11" y="3"/>
                    <a:pt x="11" y="3"/>
                    <a:pt x="11" y="3"/>
                  </a:cubicBezTo>
                  <a:cubicBezTo>
                    <a:pt x="9" y="0"/>
                    <a:pt x="4" y="0"/>
                    <a:pt x="2" y="3"/>
                  </a:cubicBezTo>
                  <a:cubicBezTo>
                    <a:pt x="0" y="5"/>
                    <a:pt x="0" y="5"/>
                    <a:pt x="0" y="5"/>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32">
              <a:extLst>
                <a:ext uri="{FF2B5EF4-FFF2-40B4-BE49-F238E27FC236}">
                  <a16:creationId xmlns:a16="http://schemas.microsoft.com/office/drawing/2014/main" id="{9FEA9D6B-23E1-42E6-A4F7-57B9874C2F15}"/>
                </a:ext>
              </a:extLst>
            </p:cNvPr>
            <p:cNvSpPr>
              <a:spLocks/>
            </p:cNvSpPr>
            <p:nvPr/>
          </p:nvSpPr>
          <p:spPr bwMode="auto">
            <a:xfrm>
              <a:off x="10107613" y="1616076"/>
              <a:ext cx="65088" cy="69850"/>
            </a:xfrm>
            <a:custGeom>
              <a:avLst/>
              <a:gdLst>
                <a:gd name="T0" fmla="*/ 5 w 15"/>
                <a:gd name="T1" fmla="*/ 0 h 16"/>
                <a:gd name="T2" fmla="*/ 3 w 15"/>
                <a:gd name="T3" fmla="*/ 2 h 16"/>
                <a:gd name="T4" fmla="*/ 3 w 15"/>
                <a:gd name="T5" fmla="*/ 12 h 16"/>
                <a:gd name="T6" fmla="*/ 4 w 15"/>
                <a:gd name="T7" fmla="*/ 13 h 16"/>
                <a:gd name="T8" fmla="*/ 13 w 15"/>
                <a:gd name="T9" fmla="*/ 13 h 16"/>
                <a:gd name="T10" fmla="*/ 15 w 15"/>
                <a:gd name="T11" fmla="*/ 11 h 16"/>
              </a:gdLst>
              <a:ahLst/>
              <a:cxnLst>
                <a:cxn ang="0">
                  <a:pos x="T0" y="T1"/>
                </a:cxn>
                <a:cxn ang="0">
                  <a:pos x="T2" y="T3"/>
                </a:cxn>
                <a:cxn ang="0">
                  <a:pos x="T4" y="T5"/>
                </a:cxn>
                <a:cxn ang="0">
                  <a:pos x="T6" y="T7"/>
                </a:cxn>
                <a:cxn ang="0">
                  <a:pos x="T8" y="T9"/>
                </a:cxn>
                <a:cxn ang="0">
                  <a:pos x="T10" y="T11"/>
                </a:cxn>
              </a:cxnLst>
              <a:rect l="0" t="0" r="r" b="b"/>
              <a:pathLst>
                <a:path w="15" h="16">
                  <a:moveTo>
                    <a:pt x="5" y="0"/>
                  </a:moveTo>
                  <a:cubicBezTo>
                    <a:pt x="3" y="2"/>
                    <a:pt x="3" y="2"/>
                    <a:pt x="3" y="2"/>
                  </a:cubicBezTo>
                  <a:cubicBezTo>
                    <a:pt x="0" y="5"/>
                    <a:pt x="0" y="9"/>
                    <a:pt x="3" y="12"/>
                  </a:cubicBezTo>
                  <a:cubicBezTo>
                    <a:pt x="4" y="13"/>
                    <a:pt x="4" y="13"/>
                    <a:pt x="4" y="13"/>
                  </a:cubicBezTo>
                  <a:cubicBezTo>
                    <a:pt x="6" y="16"/>
                    <a:pt x="11" y="16"/>
                    <a:pt x="13" y="13"/>
                  </a:cubicBezTo>
                  <a:cubicBezTo>
                    <a:pt x="15" y="11"/>
                    <a:pt x="15" y="11"/>
                    <a:pt x="15" y="11"/>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33">
              <a:extLst>
                <a:ext uri="{FF2B5EF4-FFF2-40B4-BE49-F238E27FC236}">
                  <a16:creationId xmlns:a16="http://schemas.microsoft.com/office/drawing/2014/main" id="{2FCA20C0-6C41-486F-AF7C-E9390BD629F4}"/>
                </a:ext>
              </a:extLst>
            </p:cNvPr>
            <p:cNvSpPr>
              <a:spLocks/>
            </p:cNvSpPr>
            <p:nvPr/>
          </p:nvSpPr>
          <p:spPr bwMode="auto">
            <a:xfrm>
              <a:off x="10304463" y="1493838"/>
              <a:ext cx="147638" cy="134938"/>
            </a:xfrm>
            <a:custGeom>
              <a:avLst/>
              <a:gdLst>
                <a:gd name="T0" fmla="*/ 0 w 93"/>
                <a:gd name="T1" fmla="*/ 38 h 85"/>
                <a:gd name="T2" fmla="*/ 93 w 93"/>
                <a:gd name="T3" fmla="*/ 0 h 85"/>
                <a:gd name="T4" fmla="*/ 93 w 93"/>
                <a:gd name="T5" fmla="*/ 44 h 85"/>
                <a:gd name="T6" fmla="*/ 0 w 93"/>
                <a:gd name="T7" fmla="*/ 85 h 85"/>
                <a:gd name="T8" fmla="*/ 0 w 93"/>
                <a:gd name="T9" fmla="*/ 85 h 85"/>
              </a:gdLst>
              <a:ahLst/>
              <a:cxnLst>
                <a:cxn ang="0">
                  <a:pos x="T0" y="T1"/>
                </a:cxn>
                <a:cxn ang="0">
                  <a:pos x="T2" y="T3"/>
                </a:cxn>
                <a:cxn ang="0">
                  <a:pos x="T4" y="T5"/>
                </a:cxn>
                <a:cxn ang="0">
                  <a:pos x="T6" y="T7"/>
                </a:cxn>
                <a:cxn ang="0">
                  <a:pos x="T8" y="T9"/>
                </a:cxn>
              </a:cxnLst>
              <a:rect l="0" t="0" r="r" b="b"/>
              <a:pathLst>
                <a:path w="93" h="85">
                  <a:moveTo>
                    <a:pt x="0" y="38"/>
                  </a:moveTo>
                  <a:lnTo>
                    <a:pt x="93" y="0"/>
                  </a:lnTo>
                  <a:lnTo>
                    <a:pt x="93" y="44"/>
                  </a:lnTo>
                  <a:lnTo>
                    <a:pt x="0" y="85"/>
                  </a:lnTo>
                  <a:lnTo>
                    <a:pt x="0" y="85"/>
                  </a:ln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34">
              <a:extLst>
                <a:ext uri="{FF2B5EF4-FFF2-40B4-BE49-F238E27FC236}">
                  <a16:creationId xmlns:a16="http://schemas.microsoft.com/office/drawing/2014/main" id="{094CA2E3-62BE-46CD-B9DA-EF5CEABF98A0}"/>
                </a:ext>
              </a:extLst>
            </p:cNvPr>
            <p:cNvSpPr>
              <a:spLocks/>
            </p:cNvSpPr>
            <p:nvPr/>
          </p:nvSpPr>
          <p:spPr bwMode="auto">
            <a:xfrm>
              <a:off x="10215563" y="1489076"/>
              <a:ext cx="88900" cy="122238"/>
            </a:xfrm>
            <a:custGeom>
              <a:avLst/>
              <a:gdLst>
                <a:gd name="T0" fmla="*/ 10 w 20"/>
                <a:gd name="T1" fmla="*/ 28 h 28"/>
                <a:gd name="T2" fmla="*/ 2 w 20"/>
                <a:gd name="T3" fmla="*/ 11 h 28"/>
                <a:gd name="T4" fmla="*/ 5 w 20"/>
                <a:gd name="T5" fmla="*/ 2 h 28"/>
                <a:gd name="T6" fmla="*/ 6 w 20"/>
                <a:gd name="T7" fmla="*/ 1 h 28"/>
                <a:gd name="T8" fmla="*/ 15 w 20"/>
                <a:gd name="T9" fmla="*/ 5 h 28"/>
                <a:gd name="T10" fmla="*/ 20 w 20"/>
                <a:gd name="T11" fmla="*/ 15 h 28"/>
              </a:gdLst>
              <a:ahLst/>
              <a:cxnLst>
                <a:cxn ang="0">
                  <a:pos x="T0" y="T1"/>
                </a:cxn>
                <a:cxn ang="0">
                  <a:pos x="T2" y="T3"/>
                </a:cxn>
                <a:cxn ang="0">
                  <a:pos x="T4" y="T5"/>
                </a:cxn>
                <a:cxn ang="0">
                  <a:pos x="T6" y="T7"/>
                </a:cxn>
                <a:cxn ang="0">
                  <a:pos x="T8" y="T9"/>
                </a:cxn>
                <a:cxn ang="0">
                  <a:pos x="T10" y="T11"/>
                </a:cxn>
              </a:cxnLst>
              <a:rect l="0" t="0" r="r" b="b"/>
              <a:pathLst>
                <a:path w="20" h="28">
                  <a:moveTo>
                    <a:pt x="10" y="28"/>
                  </a:moveTo>
                  <a:cubicBezTo>
                    <a:pt x="2" y="11"/>
                    <a:pt x="2" y="11"/>
                    <a:pt x="2" y="11"/>
                  </a:cubicBezTo>
                  <a:cubicBezTo>
                    <a:pt x="0" y="8"/>
                    <a:pt x="1" y="4"/>
                    <a:pt x="5" y="2"/>
                  </a:cubicBezTo>
                  <a:cubicBezTo>
                    <a:pt x="6" y="1"/>
                    <a:pt x="6" y="1"/>
                    <a:pt x="6" y="1"/>
                  </a:cubicBezTo>
                  <a:cubicBezTo>
                    <a:pt x="9" y="0"/>
                    <a:pt x="13" y="1"/>
                    <a:pt x="15" y="5"/>
                  </a:cubicBezTo>
                  <a:cubicBezTo>
                    <a:pt x="20" y="15"/>
                    <a:pt x="20" y="15"/>
                    <a:pt x="20" y="15"/>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35">
              <a:extLst>
                <a:ext uri="{FF2B5EF4-FFF2-40B4-BE49-F238E27FC236}">
                  <a16:creationId xmlns:a16="http://schemas.microsoft.com/office/drawing/2014/main" id="{879B49F7-CAF5-4CFE-B503-5A39017E2C2C}"/>
                </a:ext>
              </a:extLst>
            </p:cNvPr>
            <p:cNvSpPr>
              <a:spLocks/>
            </p:cNvSpPr>
            <p:nvPr/>
          </p:nvSpPr>
          <p:spPr bwMode="auto">
            <a:xfrm>
              <a:off x="10260013" y="1611313"/>
              <a:ext cx="44450" cy="26988"/>
            </a:xfrm>
            <a:custGeom>
              <a:avLst/>
              <a:gdLst>
                <a:gd name="T0" fmla="*/ 10 w 10"/>
                <a:gd name="T1" fmla="*/ 4 h 6"/>
                <a:gd name="T2" fmla="*/ 10 w 10"/>
                <a:gd name="T3" fmla="*/ 4 h 6"/>
                <a:gd name="T4" fmla="*/ 0 w 10"/>
                <a:gd name="T5" fmla="*/ 1 h 6"/>
                <a:gd name="T6" fmla="*/ 0 w 10"/>
                <a:gd name="T7" fmla="*/ 0 h 6"/>
              </a:gdLst>
              <a:ahLst/>
              <a:cxnLst>
                <a:cxn ang="0">
                  <a:pos x="T0" y="T1"/>
                </a:cxn>
                <a:cxn ang="0">
                  <a:pos x="T2" y="T3"/>
                </a:cxn>
                <a:cxn ang="0">
                  <a:pos x="T4" y="T5"/>
                </a:cxn>
                <a:cxn ang="0">
                  <a:pos x="T6" y="T7"/>
                </a:cxn>
              </a:cxnLst>
              <a:rect l="0" t="0" r="r" b="b"/>
              <a:pathLst>
                <a:path w="10" h="6">
                  <a:moveTo>
                    <a:pt x="10" y="4"/>
                  </a:moveTo>
                  <a:cubicBezTo>
                    <a:pt x="10" y="4"/>
                    <a:pt x="10" y="4"/>
                    <a:pt x="10" y="4"/>
                  </a:cubicBezTo>
                  <a:cubicBezTo>
                    <a:pt x="6" y="6"/>
                    <a:pt x="2" y="5"/>
                    <a:pt x="0" y="1"/>
                  </a:cubicBezTo>
                  <a:cubicBezTo>
                    <a:pt x="0" y="0"/>
                    <a:pt x="0" y="0"/>
                    <a:pt x="0" y="0"/>
                  </a:cubicBezTo>
                </a:path>
              </a:pathLst>
            </a:custGeom>
            <a:noFill/>
            <a:ln w="1270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TextBox 70">
            <a:extLst>
              <a:ext uri="{FF2B5EF4-FFF2-40B4-BE49-F238E27FC236}">
                <a16:creationId xmlns:a16="http://schemas.microsoft.com/office/drawing/2014/main" id="{2EAD3825-A5D4-4D98-BD36-8BFEBD7068B6}"/>
              </a:ext>
            </a:extLst>
          </p:cNvPr>
          <p:cNvSpPr txBox="1"/>
          <p:nvPr/>
        </p:nvSpPr>
        <p:spPr>
          <a:xfrm>
            <a:off x="5287917" y="3715576"/>
            <a:ext cx="117729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Main Initiatives</a:t>
            </a:r>
          </a:p>
        </p:txBody>
      </p:sp>
      <p:grpSp>
        <p:nvGrpSpPr>
          <p:cNvPr id="74" name="Group 73">
            <a:extLst>
              <a:ext uri="{FF2B5EF4-FFF2-40B4-BE49-F238E27FC236}">
                <a16:creationId xmlns:a16="http://schemas.microsoft.com/office/drawing/2014/main" id="{F21E75BD-72A1-4FCF-BA9A-F0335BADB96F}"/>
              </a:ext>
            </a:extLst>
          </p:cNvPr>
          <p:cNvGrpSpPr/>
          <p:nvPr/>
        </p:nvGrpSpPr>
        <p:grpSpPr>
          <a:xfrm>
            <a:off x="7102957" y="1499366"/>
            <a:ext cx="3457825" cy="626599"/>
            <a:chOff x="8161755" y="2119925"/>
            <a:chExt cx="3457825" cy="626599"/>
          </a:xfrm>
        </p:grpSpPr>
        <p:sp>
          <p:nvSpPr>
            <p:cNvPr id="72" name="TextBox 71">
              <a:extLst>
                <a:ext uri="{FF2B5EF4-FFF2-40B4-BE49-F238E27FC236}">
                  <a16:creationId xmlns:a16="http://schemas.microsoft.com/office/drawing/2014/main" id="{608F384D-0EF5-40F7-B8FB-95D416711F87}"/>
                </a:ext>
              </a:extLst>
            </p:cNvPr>
            <p:cNvSpPr txBox="1"/>
            <p:nvPr/>
          </p:nvSpPr>
          <p:spPr>
            <a:xfrm>
              <a:off x="8161756" y="2469525"/>
              <a:ext cx="3457824"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Responding to new agile competition</a:t>
              </a:r>
            </a:p>
          </p:txBody>
        </p:sp>
        <p:sp>
          <p:nvSpPr>
            <p:cNvPr id="73" name="TextBox 72">
              <a:extLst>
                <a:ext uri="{FF2B5EF4-FFF2-40B4-BE49-F238E27FC236}">
                  <a16:creationId xmlns:a16="http://schemas.microsoft.com/office/drawing/2014/main" id="{D5E1E274-6F1F-4C44-A0F8-B87B00FD9B26}"/>
                </a:ext>
              </a:extLst>
            </p:cNvPr>
            <p:cNvSpPr txBox="1"/>
            <p:nvPr/>
          </p:nvSpPr>
          <p:spPr>
            <a:xfrm>
              <a:off x="8161755" y="2119925"/>
              <a:ext cx="19239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13AFF6"/>
                  </a:solidFill>
                  <a:effectLst/>
                  <a:uLnTx/>
                  <a:uFillTx/>
                  <a:latin typeface="Arial" panose="020B0604020202020204" pitchFamily="34" charset="0"/>
                  <a:ea typeface="+mn-ea"/>
                  <a:cs typeface="Arial" panose="020B0604020202020204" pitchFamily="34" charset="0"/>
                </a:rPr>
                <a:t>01.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Reactive Change</a:t>
              </a:r>
            </a:p>
          </p:txBody>
        </p:sp>
      </p:grpSp>
      <p:grpSp>
        <p:nvGrpSpPr>
          <p:cNvPr id="75" name="Group 74">
            <a:extLst>
              <a:ext uri="{FF2B5EF4-FFF2-40B4-BE49-F238E27FC236}">
                <a16:creationId xmlns:a16="http://schemas.microsoft.com/office/drawing/2014/main" id="{24D15C7B-676C-4F32-800F-97DD526571C9}"/>
              </a:ext>
            </a:extLst>
          </p:cNvPr>
          <p:cNvGrpSpPr/>
          <p:nvPr/>
        </p:nvGrpSpPr>
        <p:grpSpPr>
          <a:xfrm>
            <a:off x="8031336" y="4181803"/>
            <a:ext cx="3510681" cy="995931"/>
            <a:chOff x="8161755" y="2119925"/>
            <a:chExt cx="3510681" cy="995931"/>
          </a:xfrm>
        </p:grpSpPr>
        <p:sp>
          <p:nvSpPr>
            <p:cNvPr id="76" name="TextBox 75">
              <a:extLst>
                <a:ext uri="{FF2B5EF4-FFF2-40B4-BE49-F238E27FC236}">
                  <a16:creationId xmlns:a16="http://schemas.microsoft.com/office/drawing/2014/main" id="{41FFA744-2FFF-4167-9A95-81307D070AAA}"/>
                </a:ext>
              </a:extLst>
            </p:cNvPr>
            <p:cNvSpPr txBox="1"/>
            <p:nvPr/>
          </p:nvSpPr>
          <p:spPr>
            <a:xfrm>
              <a:off x="8161755" y="2469525"/>
              <a:ext cx="3510681"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Initiating a new line of busi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Expanding into new markets to seize a “green field” opportunity</a:t>
              </a:r>
            </a:p>
          </p:txBody>
        </p:sp>
        <p:sp>
          <p:nvSpPr>
            <p:cNvPr id="77" name="TextBox 76">
              <a:extLst>
                <a:ext uri="{FF2B5EF4-FFF2-40B4-BE49-F238E27FC236}">
                  <a16:creationId xmlns:a16="http://schemas.microsoft.com/office/drawing/2014/main" id="{3F43D0E4-95C5-4E50-B70A-908054740688}"/>
                </a:ext>
              </a:extLst>
            </p:cNvPr>
            <p:cNvSpPr txBox="1"/>
            <p:nvPr/>
          </p:nvSpPr>
          <p:spPr>
            <a:xfrm>
              <a:off x="8161755" y="2119925"/>
              <a:ext cx="19944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E5770"/>
                  </a:solidFill>
                  <a:effectLst/>
                  <a:uLnTx/>
                  <a:uFillTx/>
                  <a:latin typeface="Arial" panose="020B0604020202020204" pitchFamily="34" charset="0"/>
                  <a:ea typeface="+mn-ea"/>
                  <a:cs typeface="Arial" panose="020B0604020202020204" pitchFamily="34" charset="0"/>
                </a:rPr>
                <a:t>02.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Proactive Change</a:t>
              </a:r>
            </a:p>
          </p:txBody>
        </p:sp>
      </p:grpSp>
      <p:grpSp>
        <p:nvGrpSpPr>
          <p:cNvPr id="78" name="Group 77">
            <a:extLst>
              <a:ext uri="{FF2B5EF4-FFF2-40B4-BE49-F238E27FC236}">
                <a16:creationId xmlns:a16="http://schemas.microsoft.com/office/drawing/2014/main" id="{CEB762A4-7854-4FB2-BA53-3DD48273E4E6}"/>
              </a:ext>
            </a:extLst>
          </p:cNvPr>
          <p:cNvGrpSpPr/>
          <p:nvPr/>
        </p:nvGrpSpPr>
        <p:grpSpPr>
          <a:xfrm>
            <a:off x="143414" y="4121607"/>
            <a:ext cx="3524433" cy="811265"/>
            <a:chOff x="8289619" y="2119925"/>
            <a:chExt cx="3524433" cy="811265"/>
          </a:xfrm>
        </p:grpSpPr>
        <p:sp>
          <p:nvSpPr>
            <p:cNvPr id="79" name="TextBox 78">
              <a:extLst>
                <a:ext uri="{FF2B5EF4-FFF2-40B4-BE49-F238E27FC236}">
                  <a16:creationId xmlns:a16="http://schemas.microsoft.com/office/drawing/2014/main" id="{0920109E-C84F-4D90-ADF2-9F484C51FBE8}"/>
                </a:ext>
              </a:extLst>
            </p:cNvPr>
            <p:cNvSpPr txBox="1"/>
            <p:nvPr/>
          </p:nvSpPr>
          <p:spPr>
            <a:xfrm>
              <a:off x="8289619" y="2469525"/>
              <a:ext cx="3524433" cy="461665"/>
            </a:xfrm>
            <a:prstGeom prst="rect">
              <a:avLst/>
            </a:prstGeom>
            <a:noFill/>
          </p:spPr>
          <p:txBody>
            <a:bodyPr wrap="square" rtlCol="0">
              <a:spAutoFit/>
            </a:bodyPr>
            <a:lstStyle/>
            <a:p>
              <a:pPr marL="171450" marR="0" lvl="0" indent="-1714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Pressure to eliminate inefficiencies and redundancies during economic downturn </a:t>
              </a:r>
            </a:p>
          </p:txBody>
        </p:sp>
        <p:sp>
          <p:nvSpPr>
            <p:cNvPr id="80" name="TextBox 79">
              <a:extLst>
                <a:ext uri="{FF2B5EF4-FFF2-40B4-BE49-F238E27FC236}">
                  <a16:creationId xmlns:a16="http://schemas.microsoft.com/office/drawing/2014/main" id="{66371E25-BD9C-46DE-95C0-B2EE26E6341C}"/>
                </a:ext>
              </a:extLst>
            </p:cNvPr>
            <p:cNvSpPr txBox="1"/>
            <p:nvPr/>
          </p:nvSpPr>
          <p:spPr>
            <a:xfrm>
              <a:off x="9749537" y="2119925"/>
              <a:ext cx="206451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C22D8F"/>
                  </a:solidFill>
                  <a:effectLst/>
                  <a:uLnTx/>
                  <a:uFillTx/>
                  <a:latin typeface="Arial" panose="020B0604020202020204" pitchFamily="34" charset="0"/>
                  <a:ea typeface="+mn-ea"/>
                  <a:cs typeface="Arial" panose="020B0604020202020204" pitchFamily="34" charset="0"/>
                </a:rPr>
                <a:t>03. </a:t>
              </a:r>
              <a:r>
                <a:rPr kumimoji="0" lang="en-IN" sz="1400" b="1"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External Changes</a:t>
              </a:r>
            </a:p>
          </p:txBody>
        </p:sp>
      </p:grpSp>
      <p:sp>
        <p:nvSpPr>
          <p:cNvPr id="3" name="Titel 2">
            <a:extLst>
              <a:ext uri="{FF2B5EF4-FFF2-40B4-BE49-F238E27FC236}">
                <a16:creationId xmlns:a16="http://schemas.microsoft.com/office/drawing/2014/main" id="{71C39E3B-97B7-457E-9947-8B2493931AB2}"/>
              </a:ext>
            </a:extLst>
          </p:cNvPr>
          <p:cNvSpPr>
            <a:spLocks noGrp="1"/>
          </p:cNvSpPr>
          <p:nvPr>
            <p:ph type="title"/>
          </p:nvPr>
        </p:nvSpPr>
        <p:spPr/>
        <p:txBody>
          <a:bodyPr/>
          <a:lstStyle/>
          <a:p>
            <a:r>
              <a:rPr lang="de-DE"/>
              <a:t>Motivation </a:t>
            </a:r>
            <a:r>
              <a:rPr lang="de-DE" err="1"/>
              <a:t>for</a:t>
            </a:r>
            <a:r>
              <a:rPr lang="de-DE"/>
              <a:t> Data Culture Adoption</a:t>
            </a:r>
          </a:p>
        </p:txBody>
      </p:sp>
    </p:spTree>
    <p:extLst>
      <p:ext uri="{BB962C8B-B14F-4D97-AF65-F5344CB8AC3E}">
        <p14:creationId xmlns:p14="http://schemas.microsoft.com/office/powerpoint/2010/main" val="185393844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Monitoring</a:t>
            </a:r>
          </a:p>
        </p:txBody>
      </p:sp>
      <p:pic>
        <p:nvPicPr>
          <p:cNvPr id="11" name="Graphic 10" descr="Security Camera">
            <a:extLst>
              <a:ext uri="{FF2B5EF4-FFF2-40B4-BE49-F238E27FC236}">
                <a16:creationId xmlns:a16="http://schemas.microsoft.com/office/drawing/2014/main" id="{EBC33011-2523-4279-8FBB-0C498347D4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4917" y="679675"/>
            <a:ext cx="914400" cy="914400"/>
          </a:xfrm>
          <a:prstGeom prst="rect">
            <a:avLst/>
          </a:prstGeom>
        </p:spPr>
      </p:pic>
      <p:sp>
        <p:nvSpPr>
          <p:cNvPr id="4" name="Textfeld 3">
            <a:extLst>
              <a:ext uri="{FF2B5EF4-FFF2-40B4-BE49-F238E27FC236}">
                <a16:creationId xmlns:a16="http://schemas.microsoft.com/office/drawing/2014/main" id="{2CC0AB62-A2F2-454E-9EF7-8B7C5F3C5343}"/>
              </a:ext>
            </a:extLst>
          </p:cNvPr>
          <p:cNvSpPr txBox="1"/>
          <p:nvPr/>
        </p:nvSpPr>
        <p:spPr>
          <a:xfrm>
            <a:off x="5638800" y="1929161"/>
            <a:ext cx="5980772" cy="4727448"/>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Use </a:t>
            </a:r>
            <a:r>
              <a:rPr kumimoji="0" lang="de-DE" sz="1800" b="0" i="0" u="none" strike="noStrike" kern="1200" cap="none" spc="0" normalizeH="0" baseline="0" noProof="0" err="1">
                <a:ln>
                  <a:noFill/>
                </a:ln>
                <a:solidFill>
                  <a:prstClr val="black"/>
                </a:solidFill>
                <a:effectLst/>
                <a:uLnTx/>
                <a:uFillTx/>
                <a:latin typeface="Segoe UI"/>
                <a:ea typeface="+mn-ea"/>
                <a:cs typeface="+mn-cs"/>
              </a:rPr>
              <a:t>tool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monitor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Mak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erformanc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unter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nderstan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ypes</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volum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f</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ctivities</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Check </a:t>
            </a:r>
            <a:r>
              <a:rPr kumimoji="0" lang="de-DE" sz="1800" b="0" i="0" u="none" strike="noStrike" kern="1200" cap="none" spc="0" normalizeH="0" baseline="0" noProof="0" err="1">
                <a:ln>
                  <a:noFill/>
                </a:ln>
                <a:solidFill>
                  <a:prstClr val="black"/>
                </a:solidFill>
                <a:effectLst/>
                <a:uLnTx/>
                <a:uFillTx/>
                <a:latin typeface="Segoe UI"/>
                <a:ea typeface="+mn-ea"/>
                <a:cs typeface="+mn-cs"/>
              </a:rPr>
              <a:t>configuration</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service</a:t>
            </a:r>
            <a:r>
              <a:rPr kumimoji="0" lang="de-DE" sz="1800" b="0" i="0" u="none" strike="noStrike" kern="1200" cap="none" spc="0" normalizeH="0" baseline="0" noProof="0">
                <a:ln>
                  <a:noFill/>
                </a:ln>
                <a:solidFill>
                  <a:prstClr val="black"/>
                </a:solidFill>
                <a:effectLst/>
                <a:uLnTx/>
                <a:uFillTx/>
                <a:latin typeface="Segoe UI"/>
                <a:ea typeface="+mn-ea"/>
                <a:cs typeface="+mn-cs"/>
              </a:rPr>
              <a:t> logs.</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Check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logs </a:t>
            </a:r>
            <a:r>
              <a:rPr kumimoji="0" lang="de-DE" sz="1800" b="0" i="0" u="none" strike="noStrike" kern="1200" cap="none" spc="0" normalizeH="0" baseline="0" noProof="0" err="1">
                <a:ln>
                  <a:noFill/>
                </a:ln>
                <a:solidFill>
                  <a:prstClr val="black"/>
                </a:solidFill>
                <a:effectLst/>
                <a:uLnTx/>
                <a:uFillTx/>
                <a:latin typeface="Segoe UI"/>
                <a:ea typeface="+mn-ea"/>
                <a:cs typeface="+mn-cs"/>
              </a:rPr>
              <a:t>whe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not </a:t>
            </a:r>
            <a:r>
              <a:rPr kumimoji="0" lang="de-DE" sz="1800" b="0" i="0" u="none" strike="noStrike" kern="1200" cap="none" spc="0" normalizeH="0" baseline="0" noProof="0" err="1">
                <a:ln>
                  <a:noFill/>
                </a:ln>
                <a:solidFill>
                  <a:prstClr val="black"/>
                </a:solidFill>
                <a:effectLst/>
                <a:uLnTx/>
                <a:uFillTx/>
                <a:latin typeface="Segoe UI"/>
                <a:ea typeface="+mn-ea"/>
                <a:cs typeface="+mn-cs"/>
              </a:rPr>
              <a:t>work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xpected</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Export all log </a:t>
            </a:r>
            <a:r>
              <a:rPr kumimoji="0" lang="de-DE" sz="1800" b="0" i="0" u="none" strike="noStrike" kern="1200" cap="none" spc="0" normalizeH="0" baseline="0" noProof="0" err="1">
                <a:ln>
                  <a:noFill/>
                </a:ln>
                <a:solidFill>
                  <a:prstClr val="black"/>
                </a:solidFill>
                <a:effectLst/>
                <a:uLnTx/>
                <a:uFillTx/>
                <a:latin typeface="Segoe UI"/>
                <a:ea typeface="+mn-ea"/>
                <a:cs typeface="+mn-cs"/>
              </a:rPr>
              <a:t>file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ith</a:t>
            </a:r>
            <a:r>
              <a:rPr kumimoji="0" lang="de-DE" sz="1800" b="0" i="0" u="none" strike="noStrike" kern="1200" cap="none" spc="0" normalizeH="0" baseline="0" noProof="0">
                <a:ln>
                  <a:noFill/>
                </a:ln>
                <a:solidFill>
                  <a:prstClr val="black"/>
                </a:solidFill>
                <a:effectLst/>
                <a:uLnTx/>
                <a:uFillTx/>
                <a:latin typeface="Segoe UI"/>
                <a:ea typeface="+mn-ea"/>
                <a:cs typeface="+mn-cs"/>
              </a:rPr>
              <a:t> Export logs </a:t>
            </a:r>
            <a:r>
              <a:rPr kumimoji="0" lang="de-DE" sz="1800" b="0" i="0" u="none" strike="noStrike" kern="1200" cap="none" spc="0" normalizeH="0" baseline="0" noProof="0" err="1">
                <a:ln>
                  <a:noFill/>
                </a:ln>
                <a:solidFill>
                  <a:prstClr val="black"/>
                </a:solidFill>
                <a:effectLst/>
                <a:uLnTx/>
                <a:uFillTx/>
                <a:latin typeface="Segoe UI"/>
                <a:ea typeface="+mn-ea"/>
                <a:cs typeface="+mn-cs"/>
              </a:rPr>
              <a:t>button</a:t>
            </a:r>
            <a:r>
              <a:rPr kumimoji="0" lang="de-DE" sz="1800" b="0" i="0" u="none" strike="noStrike" kern="1200" cap="none" spc="0" normalizeH="0" baseline="0" noProof="0">
                <a:ln>
                  <a:noFill/>
                </a:ln>
                <a:solidFill>
                  <a:prstClr val="black"/>
                </a:solidFill>
                <a:effectLst/>
                <a:uLnTx/>
                <a:uFillTx/>
                <a:latin typeface="Segoe UI"/>
                <a:ea typeface="+mn-ea"/>
                <a:cs typeface="+mn-cs"/>
              </a:rPr>
              <a:t> on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on-</a:t>
            </a:r>
            <a:r>
              <a:rPr kumimoji="0" lang="de-DE" sz="1800" b="0" i="0" u="none" strike="noStrike" kern="1200" cap="none" spc="0" normalizeH="0" baseline="0" noProof="0" err="1">
                <a:ln>
                  <a:noFill/>
                </a:ln>
                <a:solidFill>
                  <a:prstClr val="black"/>
                </a:solidFill>
                <a:effectLst/>
                <a:uLnTx/>
                <a:uFillTx/>
                <a:latin typeface="Segoe UI"/>
                <a:ea typeface="+mn-ea"/>
                <a:cs typeface="+mn-cs"/>
              </a:rPr>
              <a:t>premis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Enable</a:t>
            </a:r>
            <a:r>
              <a:rPr kumimoji="0" lang="de-DE" sz="1800" b="0" i="0" u="none" strike="noStrike" kern="1200" cap="none" spc="0" normalizeH="0" baseline="0" noProof="0">
                <a:ln>
                  <a:noFill/>
                </a:ln>
                <a:solidFill>
                  <a:prstClr val="black"/>
                </a:solidFill>
                <a:effectLst/>
                <a:uLnTx/>
                <a:uFillTx/>
                <a:latin typeface="Segoe UI"/>
                <a:ea typeface="+mn-ea"/>
                <a:cs typeface="+mn-cs"/>
              </a:rPr>
              <a:t> verbose </a:t>
            </a:r>
            <a:r>
              <a:rPr kumimoji="0" lang="de-DE" sz="1800" b="0" i="0" u="none" strike="noStrike" kern="1200" cap="none" spc="0" normalizeH="0" baseline="0" noProof="0" err="1">
                <a:ln>
                  <a:noFill/>
                </a:ln>
                <a:solidFill>
                  <a:prstClr val="black"/>
                </a:solidFill>
                <a:effectLst/>
                <a:uLnTx/>
                <a:uFillTx/>
                <a:latin typeface="Segoe UI"/>
                <a:ea typeface="+mn-ea"/>
                <a:cs typeface="+mn-cs"/>
              </a:rPr>
              <a:t>logg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or</a:t>
            </a:r>
            <a:r>
              <a:rPr kumimoji="0" lang="de-DE" sz="1800" b="0" i="0" u="none" strike="noStrike" kern="1200" cap="none" spc="0" normalizeH="0" baseline="0" noProof="0">
                <a:ln>
                  <a:noFill/>
                </a:ln>
                <a:solidFill>
                  <a:prstClr val="black"/>
                </a:solidFill>
                <a:effectLst/>
                <a:uLnTx/>
                <a:uFillTx/>
                <a:latin typeface="Segoe UI"/>
                <a:ea typeface="+mn-ea"/>
                <a:cs typeface="+mn-cs"/>
              </a:rPr>
              <a:t> additional </a:t>
            </a:r>
            <a:r>
              <a:rPr kumimoji="0" lang="de-DE" sz="1800" b="0" i="0" u="none" strike="noStrike" kern="1200" cap="none" spc="0" normalizeH="0" baseline="0" noProof="0" err="1">
                <a:ln>
                  <a:noFill/>
                </a:ln>
                <a:solidFill>
                  <a:prstClr val="black"/>
                </a:solidFill>
                <a:effectLst/>
                <a:uLnTx/>
                <a:uFillTx/>
                <a:latin typeface="Segoe UI"/>
                <a:ea typeface="+mn-ea"/>
                <a:cs typeface="+mn-cs"/>
              </a:rPr>
              <a:t>informa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abou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qu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onnection</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etails</a:t>
            </a:r>
            <a:r>
              <a:rPr kumimoji="0" lang="de-DE" sz="1800" b="0" i="0" u="none" strike="noStrike" kern="1200" cap="none" spc="0" normalizeH="0" baseline="0" noProof="0">
                <a:ln>
                  <a:noFill/>
                </a:ln>
                <a:solidFill>
                  <a:prstClr val="black"/>
                </a:solidFill>
                <a:effectLst/>
                <a:uLnTx/>
                <a:uFillTx/>
                <a:latin typeface="Segoe UI"/>
                <a:ea typeface="+mn-ea"/>
                <a:cs typeface="+mn-cs"/>
              </a:rPr>
              <a:t>.</a:t>
            </a:r>
          </a:p>
        </p:txBody>
      </p:sp>
    </p:spTree>
    <p:custDataLst>
      <p:tags r:id="rId1"/>
    </p:custDataLst>
    <p:extLst>
      <p:ext uri="{BB962C8B-B14F-4D97-AF65-F5344CB8AC3E}">
        <p14:creationId xmlns:p14="http://schemas.microsoft.com/office/powerpoint/2010/main" val="310030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Guidance for On-Premises Data Gateways</a:t>
            </a:r>
            <a:endParaRPr lang="en-US"/>
          </a:p>
        </p:txBody>
      </p:sp>
      <p:sp>
        <p:nvSpPr>
          <p:cNvPr id="3" name="Text Placeholder 2">
            <a:extLst>
              <a:ext uri="{FF2B5EF4-FFF2-40B4-BE49-F238E27FC236}">
                <a16:creationId xmlns:a16="http://schemas.microsoft.com/office/drawing/2014/main" id="{75DDB4D6-7CDF-4127-807B-EC3DA37B0641}"/>
              </a:ext>
            </a:extLst>
          </p:cNvPr>
          <p:cNvSpPr>
            <a:spLocks noGrp="1"/>
          </p:cNvSpPr>
          <p:nvPr>
            <p:ph type="body" sz="quarter" idx="10"/>
          </p:nvPr>
        </p:nvSpPr>
        <p:spPr>
          <a:xfrm>
            <a:off x="6787979" y="284480"/>
            <a:ext cx="4980404" cy="1230978"/>
          </a:xfrm>
        </p:spPr>
        <p:txBody>
          <a:bodyPr/>
          <a:lstStyle/>
          <a:p>
            <a:pPr>
              <a:lnSpc>
                <a:spcPct val="200000"/>
              </a:lnSpc>
            </a:pPr>
            <a:r>
              <a:rPr lang="en-GB"/>
              <a:t>Recovery</a:t>
            </a:r>
            <a:endParaRPr lang="en-US"/>
          </a:p>
        </p:txBody>
      </p:sp>
      <p:pic>
        <p:nvPicPr>
          <p:cNvPr id="13" name="Graphic 12" descr="Key">
            <a:extLst>
              <a:ext uri="{FF2B5EF4-FFF2-40B4-BE49-F238E27FC236}">
                <a16:creationId xmlns:a16="http://schemas.microsoft.com/office/drawing/2014/main" id="{55153076-38D7-4A57-BD96-46538C8538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665863"/>
            <a:ext cx="914400" cy="914400"/>
          </a:xfrm>
          <a:prstGeom prst="rect">
            <a:avLst/>
          </a:prstGeom>
        </p:spPr>
      </p:pic>
      <p:sp>
        <p:nvSpPr>
          <p:cNvPr id="4" name="Textfeld 3">
            <a:extLst>
              <a:ext uri="{FF2B5EF4-FFF2-40B4-BE49-F238E27FC236}">
                <a16:creationId xmlns:a16="http://schemas.microsoft.com/office/drawing/2014/main" id="{38850EEA-57A8-4FBC-B1F9-F4258A2CD7A4}"/>
              </a:ext>
            </a:extLst>
          </p:cNvPr>
          <p:cNvSpPr txBox="1"/>
          <p:nvPr/>
        </p:nvSpPr>
        <p:spPr>
          <a:xfrm>
            <a:off x="5638800" y="1929161"/>
            <a:ext cx="5980772" cy="2511457"/>
          </a:xfrm>
          <a:prstGeom prst="rect">
            <a:avLst/>
          </a:prstGeom>
          <a:noFill/>
        </p:spPr>
        <p:txBody>
          <a:bodyPr wrap="square" lIns="182880" tIns="146304" rIns="182880" bIns="146304" rtlCol="0">
            <a:spAutoFit/>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prstClr val="black"/>
                </a:solidFill>
                <a:effectLst/>
                <a:uLnTx/>
                <a:uFillTx/>
                <a:latin typeface="Segoe UI"/>
                <a:ea typeface="+mn-ea"/>
                <a:cs typeface="+mn-cs"/>
              </a:rPr>
              <a:t>Recove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you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xist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mov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 </a:t>
            </a:r>
            <a:r>
              <a:rPr kumimoji="0" lang="de-DE" sz="1800" b="0" i="0" u="none" strike="noStrike" kern="1200" cap="none" spc="0" normalizeH="0" baseline="0" noProof="0" err="1">
                <a:ln>
                  <a:noFill/>
                </a:ln>
                <a:solidFill>
                  <a:prstClr val="black"/>
                </a:solidFill>
                <a:effectLst/>
                <a:uLnTx/>
                <a:uFillTx/>
                <a:latin typeface="Segoe UI"/>
                <a:ea typeface="+mn-ea"/>
                <a:cs typeface="+mn-cs"/>
              </a:rPr>
              <a:t>new</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machin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ing</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cover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Recovery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provid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who</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nstall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th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cannot</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be</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chang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later</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prstClr val="black"/>
              </a:solidFill>
              <a:effectLst/>
              <a:uLnTx/>
              <a:uFillTx/>
              <a:latin typeface="Segoe UI"/>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prstClr val="black"/>
                </a:solidFill>
                <a:effectLst/>
                <a:uLnTx/>
                <a:uFillTx/>
                <a:latin typeface="Segoe UI"/>
                <a:ea typeface="+mn-ea"/>
                <a:cs typeface="+mn-cs"/>
              </a:rPr>
              <a:t>Recovery </a:t>
            </a:r>
            <a:r>
              <a:rPr kumimoji="0" lang="de-DE" sz="1800" b="0" i="0" u="none" strike="noStrike" kern="1200" cap="none" spc="0" normalizeH="0" baseline="0" noProof="0" err="1">
                <a:ln>
                  <a:noFill/>
                </a:ln>
                <a:solidFill>
                  <a:prstClr val="black"/>
                </a:solidFill>
                <a:effectLst/>
                <a:uLnTx/>
                <a:uFillTx/>
                <a:latin typeface="Segoe UI"/>
                <a:ea typeface="+mn-ea"/>
                <a:cs typeface="+mn-cs"/>
              </a:rPr>
              <a:t>ke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is</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used</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for</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data</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encryption</a:t>
            </a:r>
            <a:r>
              <a:rPr kumimoji="0" lang="de-DE" sz="1800" b="0" i="0" u="none" strike="noStrike" kern="1200" cap="none" spc="0" normalizeH="0" baseline="0" noProof="0">
                <a:ln>
                  <a:noFill/>
                </a:ln>
                <a:solidFill>
                  <a:prstClr val="black"/>
                </a:solidFill>
                <a:effectLst/>
                <a:uLnTx/>
                <a:uFillTx/>
                <a:latin typeface="Segoe UI"/>
                <a:ea typeface="+mn-ea"/>
                <a:cs typeface="+mn-cs"/>
              </a:rPr>
              <a:t> and </a:t>
            </a:r>
            <a:r>
              <a:rPr kumimoji="0" lang="de-DE" sz="1800" b="0" i="0" u="none" strike="noStrike" kern="1200" cap="none" spc="0" normalizeH="0" baseline="0" noProof="0" err="1">
                <a:ln>
                  <a:noFill/>
                </a:ln>
                <a:solidFill>
                  <a:prstClr val="black"/>
                </a:solidFill>
                <a:effectLst/>
                <a:uLnTx/>
                <a:uFillTx/>
                <a:latin typeface="Segoe UI"/>
                <a:ea typeface="+mn-ea"/>
                <a:cs typeface="+mn-cs"/>
              </a:rPr>
              <a:t>gateway</a:t>
            </a:r>
            <a:r>
              <a:rPr kumimoji="0" lang="de-DE" sz="1800" b="0" i="0" u="none" strike="noStrike" kern="1200" cap="none" spc="0" normalizeH="0" baseline="0" noProof="0">
                <a:ln>
                  <a:noFill/>
                </a:ln>
                <a:solidFill>
                  <a:prstClr val="black"/>
                </a:solidFill>
                <a:effectLst/>
                <a:uLnTx/>
                <a:uFillTx/>
                <a:latin typeface="Segoe UI"/>
                <a:ea typeface="+mn-ea"/>
                <a:cs typeface="+mn-cs"/>
              </a:rPr>
              <a:t> </a:t>
            </a:r>
            <a:r>
              <a:rPr kumimoji="0" lang="de-DE" sz="1800" b="0" i="0" u="none" strike="noStrike" kern="1200" cap="none" spc="0" normalizeH="0" baseline="0" noProof="0" err="1">
                <a:ln>
                  <a:noFill/>
                </a:ln>
                <a:solidFill>
                  <a:prstClr val="black"/>
                </a:solidFill>
                <a:effectLst/>
                <a:uLnTx/>
                <a:uFillTx/>
                <a:latin typeface="Segoe UI"/>
                <a:ea typeface="+mn-ea"/>
                <a:cs typeface="+mn-cs"/>
              </a:rPr>
              <a:t>recovery</a:t>
            </a:r>
            <a:endParaRPr kumimoji="0" lang="de-DE" sz="18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80707958"/>
      </p:ext>
    </p:extLst>
  </p:cSld>
  <p:clrMapOvr>
    <a:masterClrMapping/>
  </p:clrMapOvr>
  <mc:AlternateContent xmlns:mc="http://schemas.openxmlformats.org/markup-compatibility/2006" xmlns:p14="http://schemas.microsoft.com/office/powerpoint/2010/main">
    <mc:Choice Requires="p14">
      <p:transition spd="med" p14:dur="700" advTm="149931">
        <p:fade/>
      </p:transition>
    </mc:Choice>
    <mc:Fallback xmlns="">
      <p:transition spd="med" advTm="14993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ateway Management</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8271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Gateway Management</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1389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o will be responsible for administering and monitoring Gateways?</a:t>
            </a:r>
          </a:p>
        </p:txBody>
      </p:sp>
      <p:sp>
        <p:nvSpPr>
          <p:cNvPr id="4" name="Text Placeholder 1">
            <a:extLst>
              <a:ext uri="{FF2B5EF4-FFF2-40B4-BE49-F238E27FC236}">
                <a16:creationId xmlns:a16="http://schemas.microsoft.com/office/drawing/2014/main" id="{35FA8E11-AF05-4C83-9394-55A154F117F0}"/>
              </a:ext>
            </a:extLst>
          </p:cNvPr>
          <p:cNvSpPr>
            <a:spLocks noGrp="1"/>
          </p:cNvSpPr>
          <p:nvPr>
            <p:ph type="body" sz="quarter" idx="10"/>
          </p:nvPr>
        </p:nvSpPr>
        <p:spPr>
          <a:xfrm>
            <a:off x="302482" y="3178513"/>
            <a:ext cx="11587037" cy="3480144"/>
          </a:xfrm>
        </p:spPr>
        <p:txBody>
          <a:bodyPr/>
          <a:lstStyle/>
          <a:p>
            <a:r>
              <a:rPr lang="en-GB"/>
              <a:t>Options</a:t>
            </a:r>
          </a:p>
          <a:p>
            <a:pPr lvl="2"/>
            <a:r>
              <a:rPr lang="en-GB">
                <a:solidFill>
                  <a:srgbClr val="EDC30D"/>
                </a:solidFill>
              </a:rPr>
              <a:t>Office 365 Administrators</a:t>
            </a:r>
          </a:p>
          <a:p>
            <a:pPr lvl="2"/>
            <a:r>
              <a:rPr lang="en-GB">
                <a:solidFill>
                  <a:srgbClr val="EDC30D"/>
                </a:solidFill>
              </a:rPr>
              <a:t>BI Team</a:t>
            </a:r>
          </a:p>
          <a:p>
            <a:pPr lvl="2"/>
            <a:r>
              <a:rPr lang="en-GB">
                <a:solidFill>
                  <a:srgbClr val="EDC30D"/>
                </a:solidFill>
              </a:rPr>
              <a:t>Support Team</a:t>
            </a:r>
            <a:endParaRPr lang="en-US">
              <a:solidFill>
                <a:srgbClr val="EDC30D"/>
              </a:solidFill>
            </a:endParaRPr>
          </a:p>
        </p:txBody>
      </p:sp>
    </p:spTree>
    <p:custDataLst>
      <p:tags r:id="rId1"/>
    </p:custDataLst>
    <p:extLst>
      <p:ext uri="{BB962C8B-B14F-4D97-AF65-F5344CB8AC3E}">
        <p14:creationId xmlns:p14="http://schemas.microsoft.com/office/powerpoint/2010/main" val="414239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US" sz="3000">
                <a:latin typeface="Segoe UI Semibold" panose="020B0702040204020203" pitchFamily="34" charset="0"/>
                <a:cs typeface="Segoe UI Semibold" panose="020B0702040204020203" pitchFamily="34" charset="0"/>
              </a:rPr>
              <a:t>Where will Gateways be installed and how will they be configured?</a:t>
            </a: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758499"/>
          </a:xfrm>
        </p:spPr>
        <p:txBody>
          <a:bodyPr vert="horz" wrap="square" lIns="182880" tIns="146304" rIns="182880" bIns="146304" rtlCol="0" anchor="t">
            <a:spAutoFit/>
          </a:bodyPr>
          <a:lstStyle/>
          <a:p>
            <a:pPr marL="342900" indent="-342900">
              <a:buFont typeface="Arial" panose="020B0604020202020204" pitchFamily="34" charset="0"/>
              <a:buChar char="•"/>
            </a:pPr>
            <a:r>
              <a:rPr lang="en-GB" sz="1800">
                <a:hlinkClick r:id="rId3">
                  <a:extLst>
                    <a:ext uri="{A12FA001-AC4F-418D-AE19-62706E023703}">
                      <ahyp:hlinkClr xmlns:ahyp="http://schemas.microsoft.com/office/drawing/2018/hyperlinkcolor" val="tx"/>
                    </a:ext>
                  </a:extLst>
                </a:hlinkClick>
              </a:rPr>
              <a:t>Install</a:t>
            </a:r>
            <a:r>
              <a:rPr lang="en-GB" sz="1800"/>
              <a:t> new Gateway or add Gateway to existing cluster</a:t>
            </a:r>
          </a:p>
          <a:p>
            <a:pPr marL="846455" lvl="2" indent="-342900">
              <a:buFont typeface="Arial" panose="020B0604020202020204" pitchFamily="34" charset="0"/>
              <a:buChar char="•"/>
            </a:pPr>
            <a:r>
              <a:rPr lang="en-GB" sz="1400">
                <a:latin typeface="+mj-lt"/>
              </a:rPr>
              <a:t>Creation of new Server / VM – </a:t>
            </a:r>
            <a:r>
              <a:rPr lang="en-GB" sz="1400">
                <a:latin typeface="+mj-lt"/>
                <a:hlinkClick r:id="rId4">
                  <a:extLst>
                    <a:ext uri="{A12FA001-AC4F-418D-AE19-62706E023703}">
                      <ahyp:hlinkClr xmlns:ahyp="http://schemas.microsoft.com/office/drawing/2018/hyperlinkcolor" val="tx"/>
                    </a:ext>
                  </a:extLst>
                </a:hlinkClick>
              </a:rPr>
              <a:t>minimum spec</a:t>
            </a:r>
            <a:endParaRPr lang="en-GB" sz="1400">
              <a:latin typeface="+mj-lt"/>
              <a:cs typeface="Segoe UI Light"/>
            </a:endParaRPr>
          </a:p>
          <a:p>
            <a:pPr marL="846455" lvl="2" indent="-342900">
              <a:buFont typeface="Arial" panose="020B0604020202020204" pitchFamily="34" charset="0"/>
              <a:buChar char="•"/>
            </a:pPr>
            <a:r>
              <a:rPr lang="en-GB" sz="1400">
                <a:latin typeface="+mj-lt"/>
              </a:rPr>
              <a:t>Install software</a:t>
            </a:r>
            <a:endParaRPr lang="en-GB" sz="1400">
              <a:latin typeface="+mj-lt"/>
              <a:cs typeface="Segoe UI Light"/>
            </a:endParaRPr>
          </a:p>
          <a:p>
            <a:pPr marL="846455" lvl="2" indent="-342900">
              <a:buFont typeface="Arial" panose="020B0604020202020204" pitchFamily="34" charset="0"/>
              <a:buChar char="•"/>
            </a:pPr>
            <a:r>
              <a:rPr lang="en-GB" sz="1400">
                <a:latin typeface="+mj-lt"/>
                <a:cs typeface="Segoe UI Light"/>
              </a:rPr>
              <a:t>Backup the Key</a:t>
            </a:r>
            <a:endParaRPr lang="en-GB" sz="1400">
              <a:latin typeface="+mj-lt"/>
            </a:endParaRPr>
          </a:p>
          <a:p>
            <a:pPr marL="846455" lvl="2" indent="-342900">
              <a:buFont typeface="Arial" panose="020B0604020202020204" pitchFamily="34" charset="0"/>
              <a:buChar char="•"/>
            </a:pPr>
            <a:r>
              <a:rPr lang="en-GB" sz="1400">
                <a:latin typeface="+mj-lt"/>
              </a:rPr>
              <a:t>Install drivers (if required, e.g. SAP)</a:t>
            </a:r>
            <a:endParaRPr lang="en-GB" sz="1400">
              <a:latin typeface="+mj-lt"/>
              <a:cs typeface="Segoe UI Light"/>
            </a:endParaRPr>
          </a:p>
          <a:p>
            <a:pPr marL="846455" lvl="2" indent="-342900">
              <a:buFont typeface="Arial" panose="020B0604020202020204" pitchFamily="34" charset="0"/>
              <a:buChar char="•"/>
            </a:pPr>
            <a:r>
              <a:rPr lang="en-GB" sz="1400">
                <a:latin typeface="+mj-lt"/>
              </a:rPr>
              <a:t>Firewall or Port changes</a:t>
            </a:r>
            <a:endParaRPr lang="en-GB" sz="1400">
              <a:latin typeface="+mj-lt"/>
              <a:cs typeface="Segoe UI Light"/>
            </a:endParaRPr>
          </a:p>
          <a:p>
            <a:pPr marL="846455" lvl="2" indent="-342900">
              <a:buFont typeface="Arial" panose="020B0604020202020204" pitchFamily="34" charset="0"/>
              <a:buChar char="•"/>
            </a:pPr>
            <a:r>
              <a:rPr lang="en-GB" sz="1400">
                <a:latin typeface="+mj-lt"/>
              </a:rPr>
              <a:t>Migrate / add connections if a new gateway</a:t>
            </a:r>
            <a:endParaRPr lang="en-GB" sz="1400">
              <a:latin typeface="+mj-lt"/>
              <a:cs typeface="Segoe UI Light"/>
            </a:endParaRPr>
          </a:p>
          <a:p>
            <a:pPr marL="342900" indent="-342900">
              <a:buFont typeface="Arial" panose="020B0604020202020204" pitchFamily="34" charset="0"/>
              <a:buChar char="•"/>
            </a:pPr>
            <a:r>
              <a:rPr lang="en-GB" sz="1800"/>
              <a:t>Decide if appropriate and </a:t>
            </a:r>
            <a:r>
              <a:rPr lang="en-GB" sz="1800">
                <a:hlinkClick r:id="rId5">
                  <a:extLst>
                    <a:ext uri="{A12FA001-AC4F-418D-AE19-62706E023703}">
                      <ahyp:hlinkClr xmlns:ahyp="http://schemas.microsoft.com/office/drawing/2018/hyperlinkcolor" val="tx"/>
                    </a:ext>
                  </a:extLst>
                </a:hlinkClick>
              </a:rPr>
              <a:t>add a user as an admin</a:t>
            </a:r>
            <a:r>
              <a:rPr lang="en-GB" sz="1800"/>
              <a:t> to a Gateway</a:t>
            </a:r>
          </a:p>
          <a:p>
            <a:pPr marL="846455" lvl="2" indent="-342900">
              <a:buFont typeface="Arial" panose="020B0604020202020204" pitchFamily="34" charset="0"/>
              <a:buChar char="•"/>
            </a:pPr>
            <a:r>
              <a:rPr lang="en-GB" sz="1400">
                <a:latin typeface="+mj-lt"/>
              </a:rPr>
              <a:t>They will add Data Sources and Add Users to existing data sources</a:t>
            </a:r>
            <a:endParaRPr lang="en-GB" sz="1400">
              <a:latin typeface="+mj-lt"/>
              <a:cs typeface="Segoe UI Light"/>
            </a:endParaRPr>
          </a:p>
          <a:p>
            <a:pPr marL="342900" indent="-342900">
              <a:buFont typeface="Arial" panose="020B0604020202020204" pitchFamily="34" charset="0"/>
              <a:buChar char="•"/>
            </a:pPr>
            <a:r>
              <a:rPr lang="en-GB" sz="1800">
                <a:hlinkClick r:id="rId6">
                  <a:extLst>
                    <a:ext uri="{A12FA001-AC4F-418D-AE19-62706E023703}">
                      <ahyp:hlinkClr xmlns:ahyp="http://schemas.microsoft.com/office/drawing/2018/hyperlinkcolor" val="tx"/>
                    </a:ext>
                  </a:extLst>
                </a:hlinkClick>
              </a:rPr>
              <a:t>Add data sources</a:t>
            </a:r>
            <a:r>
              <a:rPr lang="en-GB" sz="1800"/>
              <a:t> to a Gateway</a:t>
            </a:r>
          </a:p>
          <a:p>
            <a:pPr marL="342900" indent="-342900">
              <a:buFont typeface="Arial" panose="020B0604020202020204" pitchFamily="34" charset="0"/>
              <a:buChar char="•"/>
            </a:pPr>
            <a:r>
              <a:rPr lang="en-US" sz="1800">
                <a:hlinkClick r:id="rId7">
                  <a:extLst>
                    <a:ext uri="{A12FA001-AC4F-418D-AE19-62706E023703}">
                      <ahyp:hlinkClr xmlns:ahyp="http://schemas.microsoft.com/office/drawing/2018/hyperlinkcolor" val="tx"/>
                    </a:ext>
                  </a:extLst>
                </a:hlinkClick>
              </a:rPr>
              <a:t>Add users to a data source</a:t>
            </a:r>
            <a:r>
              <a:rPr lang="en-US" sz="1800"/>
              <a:t> </a:t>
            </a:r>
            <a:r>
              <a:rPr lang="en-GB" sz="1800"/>
              <a:t>on a Gateway</a:t>
            </a:r>
          </a:p>
          <a:p>
            <a:pPr marL="846455" lvl="2" indent="-342900">
              <a:buFont typeface="Arial" panose="020B0604020202020204" pitchFamily="34" charset="0"/>
              <a:buChar char="•"/>
            </a:pPr>
            <a:r>
              <a:rPr lang="en-GB" sz="1400">
                <a:latin typeface="+mj-lt"/>
              </a:rPr>
              <a:t>These users can schedule a refresh for this data source using this gateway</a:t>
            </a:r>
            <a:endParaRPr lang="en-GB" sz="1400">
              <a:latin typeface="+mj-lt"/>
              <a:cs typeface="Segoe UI Light"/>
            </a:endParaRPr>
          </a:p>
          <a:p>
            <a:pPr marL="342900" indent="-342900">
              <a:buFont typeface="Arial" panose="020B0604020202020204" pitchFamily="34" charset="0"/>
              <a:buChar char="•"/>
            </a:pPr>
            <a:r>
              <a:rPr lang="en-GB" sz="1800"/>
              <a:t>Monitor</a:t>
            </a:r>
          </a:p>
          <a:p>
            <a:pPr marL="846455" lvl="2" indent="-342900">
              <a:buFont typeface="Arial" panose="020B0604020202020204" pitchFamily="34" charset="0"/>
              <a:buChar char="•"/>
            </a:pPr>
            <a:r>
              <a:rPr lang="en-GB" sz="1400">
                <a:latin typeface="+mj-lt"/>
              </a:rPr>
              <a:t>Use </a:t>
            </a:r>
            <a:r>
              <a:rPr lang="en-US" sz="1400">
                <a:latin typeface="+mj-lt"/>
                <a:hlinkClick r:id="rId8">
                  <a:extLst>
                    <a:ext uri="{A12FA001-AC4F-418D-AE19-62706E023703}">
                      <ahyp:hlinkClr xmlns:ahyp="http://schemas.microsoft.com/office/drawing/2018/hyperlinkcolor" val="tx"/>
                    </a:ext>
                  </a:extLst>
                </a:hlinkClick>
              </a:rPr>
              <a:t>Windows Performance Monitor</a:t>
            </a:r>
            <a:endParaRPr lang="en-US" sz="1400">
              <a:latin typeface="+mj-lt"/>
              <a:cs typeface="Segoe UI Light"/>
            </a:endParaRPr>
          </a:p>
          <a:p>
            <a:pPr marL="846455" lvl="2" indent="-342900">
              <a:buFont typeface="Arial" panose="020B0604020202020204" pitchFamily="34" charset="0"/>
              <a:buChar char="•"/>
            </a:pPr>
            <a:r>
              <a:rPr lang="en-US" sz="1400">
                <a:latin typeface="+mj-lt"/>
              </a:rPr>
              <a:t>Determine Baseline for “Normal” Load</a:t>
            </a:r>
            <a:endParaRPr lang="en-GB" sz="1400">
              <a:latin typeface="+mj-lt"/>
              <a:cs typeface="Segoe UI Light"/>
            </a:endParaRPr>
          </a:p>
          <a:p>
            <a:pPr marL="846455" lvl="2" indent="-342900">
              <a:buFont typeface="Arial" panose="020B0604020202020204" pitchFamily="34" charset="0"/>
              <a:buChar char="•"/>
            </a:pPr>
            <a:r>
              <a:rPr lang="en-GB" sz="1400">
                <a:latin typeface="+mj-lt"/>
              </a:rPr>
              <a:t>Review </a:t>
            </a:r>
            <a:r>
              <a:rPr lang="en-GB" sz="1400">
                <a:latin typeface="+mj-lt"/>
                <a:hlinkClick r:id="rId9">
                  <a:extLst>
                    <a:ext uri="{A12FA001-AC4F-418D-AE19-62706E023703}">
                      <ahyp:hlinkClr xmlns:ahyp="http://schemas.microsoft.com/office/drawing/2018/hyperlinkcolor" val="tx"/>
                    </a:ext>
                  </a:extLst>
                </a:hlinkClick>
              </a:rPr>
              <a:t>slow performing queries </a:t>
            </a:r>
            <a:r>
              <a:rPr lang="en-GB" sz="1400">
                <a:latin typeface="+mj-lt"/>
              </a:rPr>
              <a:t>by turning on tracing and checking logs</a:t>
            </a:r>
            <a:endParaRPr lang="en-GB" sz="1400">
              <a:latin typeface="+mj-lt"/>
              <a:cs typeface="Segoe UI Light"/>
            </a:endParaRPr>
          </a:p>
          <a:p>
            <a:pPr marL="846455" lvl="2" indent="-342900">
              <a:buFont typeface="Arial" panose="020B0604020202020204" pitchFamily="34" charset="0"/>
              <a:buChar char="•"/>
            </a:pPr>
            <a:r>
              <a:rPr lang="en-GB" sz="1400">
                <a:latin typeface="+mj-lt"/>
              </a:rPr>
              <a:t>Take Action</a:t>
            </a:r>
            <a:endParaRPr lang="en-GB" sz="1400">
              <a:latin typeface="+mj-lt"/>
              <a:cs typeface="Segoe UI Light"/>
            </a:endParaRPr>
          </a:p>
          <a:p>
            <a:pPr marL="1062355" lvl="3" indent="-342900">
              <a:buFont typeface="Arial" panose="020B0604020202020204" pitchFamily="34" charset="0"/>
              <a:buChar char="•"/>
            </a:pPr>
            <a:r>
              <a:rPr lang="en-GB" sz="1200">
                <a:latin typeface="+mj-lt"/>
              </a:rPr>
              <a:t>Scale the gateway server</a:t>
            </a:r>
            <a:endParaRPr lang="en-GB" sz="1200">
              <a:latin typeface="+mj-lt"/>
              <a:cs typeface="Segoe UI Light"/>
            </a:endParaRPr>
          </a:p>
          <a:p>
            <a:pPr marL="1062355" lvl="3" indent="-342900">
              <a:buFont typeface="Arial" panose="020B0604020202020204" pitchFamily="34" charset="0"/>
              <a:buChar char="•"/>
            </a:pPr>
            <a:r>
              <a:rPr lang="en-GB" sz="1200">
                <a:latin typeface="+mj-lt"/>
              </a:rPr>
              <a:t>Add a new gateway</a:t>
            </a:r>
            <a:endParaRPr lang="en-GB" sz="1200">
              <a:latin typeface="+mj-lt"/>
              <a:cs typeface="Segoe UI Light"/>
            </a:endParaRPr>
          </a:p>
          <a:p>
            <a:pPr marL="1062355" lvl="3" indent="-342900">
              <a:buFont typeface="Arial" panose="020B0604020202020204" pitchFamily="34" charset="0"/>
              <a:buChar char="•"/>
            </a:pPr>
            <a:r>
              <a:rPr lang="en-GB" sz="1200">
                <a:latin typeface="+mj-lt"/>
              </a:rPr>
              <a:t>Add a new cluster to an existing gateway</a:t>
            </a:r>
            <a:endParaRPr lang="en-GB" sz="1200">
              <a:latin typeface="+mj-lt"/>
              <a:cs typeface="Segoe UI Light"/>
            </a:endParaRPr>
          </a:p>
          <a:p>
            <a:pPr marL="1062355" lvl="3" indent="-342900">
              <a:buFont typeface="Arial" panose="020B0604020202020204" pitchFamily="34" charset="0"/>
              <a:buChar char="•"/>
            </a:pPr>
            <a:r>
              <a:rPr lang="en-GB" sz="1200">
                <a:latin typeface="+mj-lt"/>
              </a:rPr>
              <a:t>Feedback to users to change refresh time or performance tune report</a:t>
            </a:r>
            <a:endParaRPr lang="en-GB" sz="1200">
              <a:latin typeface="+mj-lt"/>
              <a:cs typeface="Segoe UI Ligh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46707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sz="5400" err="1"/>
              <a:t>Considerations</a:t>
            </a:r>
            <a:r>
              <a:rPr lang="de-DE" sz="5400"/>
              <a:t> </a:t>
            </a:r>
            <a:r>
              <a:rPr lang="de-DE" sz="5400" err="1"/>
              <a:t>for</a:t>
            </a:r>
            <a:r>
              <a:rPr lang="de-DE" sz="5400"/>
              <a:t> Data Architecture </a:t>
            </a:r>
            <a:r>
              <a:rPr lang="de-DE" sz="5400" err="1"/>
              <a:t>Planning</a:t>
            </a:r>
            <a:endParaRPr lang="en-US" sz="5400"/>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452945" y="109958"/>
            <a:ext cx="6573955" cy="5496889"/>
          </a:xfrm>
        </p:spPr>
        <p:txBody>
          <a:bodyPr/>
          <a:lstStyle/>
          <a:p>
            <a:pPr marL="342900" indent="-342900">
              <a:buFont typeface="Arial" panose="020B0604020202020204" pitchFamily="34" charset="0"/>
              <a:buChar char="•"/>
            </a:pPr>
            <a:r>
              <a:rPr lang="en-US" sz="2000"/>
              <a:t>Assess what your end-to-end data architecture:</a:t>
            </a:r>
          </a:p>
          <a:p>
            <a:pPr marL="846900" lvl="2" indent="-342900">
              <a:buFont typeface="Arial" panose="020B0604020202020204" pitchFamily="34" charset="0"/>
              <a:buChar char="•"/>
            </a:pPr>
            <a:r>
              <a:rPr lang="en-US">
                <a:latin typeface="+mj-lt"/>
              </a:rPr>
              <a:t>How Power BI is currently used by the different business units in your organization versus how you want Power BI to be used. Determine if there's a gap.</a:t>
            </a:r>
          </a:p>
          <a:p>
            <a:pPr marL="846900" lvl="2" indent="-342900">
              <a:buFont typeface="Arial" panose="020B0604020202020204" pitchFamily="34" charset="0"/>
              <a:buChar char="•"/>
            </a:pPr>
            <a:r>
              <a:rPr lang="en-US">
                <a:latin typeface="+mj-lt"/>
              </a:rPr>
              <a:t>If there are any risks that should be addressed.</a:t>
            </a:r>
          </a:p>
          <a:p>
            <a:pPr marL="846900" lvl="2" indent="-342900">
              <a:buFont typeface="Arial" panose="020B0604020202020204" pitchFamily="34" charset="0"/>
              <a:buChar char="•"/>
            </a:pPr>
            <a:r>
              <a:rPr lang="en-US">
                <a:latin typeface="+mj-lt"/>
              </a:rPr>
              <a:t>If there are any high-maintenance situations to be addressed.</a:t>
            </a:r>
          </a:p>
          <a:p>
            <a:pPr marL="846900" lvl="2" indent="-342900">
              <a:buFont typeface="Arial" panose="020B0604020202020204" pitchFamily="34" charset="0"/>
              <a:buChar char="•"/>
            </a:pPr>
            <a:r>
              <a:rPr lang="en-US">
                <a:latin typeface="+mj-lt"/>
              </a:rPr>
              <a:t>What data sources are important for Power BI users, and how they are documented and discovered.</a:t>
            </a:r>
          </a:p>
          <a:p>
            <a:pPr lvl="2" indent="0">
              <a:buNone/>
            </a:pPr>
            <a:endParaRPr lang="en-US">
              <a:latin typeface="+mj-lt"/>
            </a:endParaRPr>
          </a:p>
          <a:p>
            <a:pPr marL="342900" indent="-342900">
              <a:buFont typeface="Arial" panose="020B0604020202020204" pitchFamily="34" charset="0"/>
              <a:buChar char="•"/>
            </a:pPr>
            <a:r>
              <a:rPr lang="en-US" sz="2000"/>
              <a:t>Review existing gateways that are used in your organization. </a:t>
            </a:r>
          </a:p>
          <a:p>
            <a:pPr marL="342900" indent="-342900">
              <a:buFont typeface="Arial" panose="020B0604020202020204" pitchFamily="34" charset="0"/>
              <a:buChar char="•"/>
            </a:pPr>
            <a:endParaRPr lang="en-US" sz="2000"/>
          </a:p>
          <a:p>
            <a:pPr marL="342900" indent="-342900">
              <a:buFont typeface="Arial" panose="020B0604020202020204" pitchFamily="34" charset="0"/>
              <a:buChar char="•"/>
            </a:pPr>
            <a:r>
              <a:rPr lang="en-US" sz="2000"/>
              <a:t>Check number of personal gateways that are in use, and by whom.</a:t>
            </a:r>
          </a:p>
        </p:txBody>
      </p:sp>
    </p:spTree>
    <p:extLst>
      <p:ext uri="{BB962C8B-B14F-4D97-AF65-F5344CB8AC3E}">
        <p14:creationId xmlns:p14="http://schemas.microsoft.com/office/powerpoint/2010/main" val="103508421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657F21E-799D-4157-B1B0-CF8A74F7D331}"/>
              </a:ext>
            </a:extLst>
          </p:cNvPr>
          <p:cNvSpPr>
            <a:spLocks noGrp="1"/>
          </p:cNvSpPr>
          <p:nvPr>
            <p:ph type="ctrTitle"/>
          </p:nvPr>
        </p:nvSpPr>
        <p:spPr/>
        <p:txBody>
          <a:bodyPr/>
          <a:lstStyle/>
          <a:p>
            <a:r>
              <a:rPr lang="en-GB"/>
              <a:t>Power BI Premium</a:t>
            </a:r>
          </a:p>
        </p:txBody>
      </p:sp>
    </p:spTree>
    <p:extLst>
      <p:ext uri="{BB962C8B-B14F-4D97-AF65-F5344CB8AC3E}">
        <p14:creationId xmlns:p14="http://schemas.microsoft.com/office/powerpoint/2010/main" val="2469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4200">
                <a:latin typeface="Segoe UI Semibold" panose="020B0702040204020203" pitchFamily="34" charset="0"/>
                <a:cs typeface="Segoe UI Semibold" panose="020B0702040204020203" pitchFamily="34" charset="0"/>
              </a:rPr>
              <a:t>How will you purchase and configure Premium?</a:t>
            </a:r>
            <a:endParaRPr lang="en-US" sz="4200">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4782848"/>
          </a:xfrm>
        </p:spPr>
        <p:txBody>
          <a:bodyPr/>
          <a:lstStyle/>
          <a:p>
            <a:pPr marL="342900" indent="-342900">
              <a:buFont typeface="Arial" panose="020B0604020202020204" pitchFamily="34" charset="0"/>
              <a:buChar char="•"/>
            </a:pPr>
            <a:r>
              <a:rPr lang="en-GB" sz="2000"/>
              <a:t>Decide and </a:t>
            </a:r>
            <a:r>
              <a:rPr lang="en-GB" sz="2000">
                <a:hlinkClick r:id="rId3">
                  <a:extLst>
                    <a:ext uri="{A12FA001-AC4F-418D-AE19-62706E023703}">
                      <ahyp:hlinkClr xmlns:ahyp="http://schemas.microsoft.com/office/drawing/2018/hyperlinkcolor" val="tx"/>
                    </a:ext>
                  </a:extLst>
                </a:hlinkClick>
              </a:rPr>
              <a:t>purchase</a:t>
            </a:r>
            <a:r>
              <a:rPr lang="en-GB" sz="2000"/>
              <a:t> new Premium nodes</a:t>
            </a:r>
          </a:p>
          <a:p>
            <a:pPr marL="846900" lvl="2" indent="-342900">
              <a:buFont typeface="Arial" panose="020B0604020202020204" pitchFamily="34" charset="0"/>
              <a:buChar char="•"/>
            </a:pPr>
            <a:r>
              <a:rPr lang="en-GB" sz="1800">
                <a:latin typeface="+mj-lt"/>
              </a:rPr>
              <a:t>Purchase via Admin Portal or via partner</a:t>
            </a:r>
            <a:endParaRPr lang="en-GB" sz="800">
              <a:latin typeface="+mj-lt"/>
            </a:endParaRPr>
          </a:p>
          <a:p>
            <a:pPr marL="342900" indent="-342900">
              <a:buFont typeface="Arial" panose="020B0604020202020204" pitchFamily="34" charset="0"/>
              <a:buChar char="•"/>
            </a:pPr>
            <a:r>
              <a:rPr lang="en-GB" sz="2000"/>
              <a:t>Decide if appropriate and add a user as an admin to a capacity</a:t>
            </a:r>
          </a:p>
          <a:p>
            <a:pPr marL="846900" lvl="2" indent="-342900">
              <a:buFont typeface="Arial" panose="020B0604020202020204" pitchFamily="34" charset="0"/>
              <a:buChar char="•"/>
            </a:pPr>
            <a:r>
              <a:rPr lang="en-GB" sz="1800">
                <a:latin typeface="+mj-lt"/>
              </a:rPr>
              <a:t>Office 365 Global Administrators and Power BI Service Administrators are automatically granted this</a:t>
            </a:r>
          </a:p>
          <a:p>
            <a:pPr marL="846900" lvl="2" indent="-342900">
              <a:buFont typeface="Arial" panose="020B0604020202020204" pitchFamily="34" charset="0"/>
              <a:buChar char="•"/>
            </a:pPr>
            <a:r>
              <a:rPr lang="en-GB" sz="1800">
                <a:latin typeface="+mj-lt"/>
              </a:rPr>
              <a:t>Recommend adding BI Team and support to help, reducing dependency on only admins</a:t>
            </a:r>
          </a:p>
          <a:p>
            <a:pPr marL="846900" lvl="2" indent="-342900">
              <a:buFont typeface="Arial" panose="020B0604020202020204" pitchFamily="34" charset="0"/>
              <a:buChar char="•"/>
            </a:pPr>
            <a:r>
              <a:rPr lang="en-GB" sz="1800">
                <a:latin typeface="+mj-lt"/>
              </a:rPr>
              <a:t>Grants a user the ability to assign a Workspace to a Premium capacity – users without a Pro license can view content shared to them from that Workspace</a:t>
            </a:r>
            <a:endParaRPr lang="en-GB" sz="800">
              <a:latin typeface="+mj-lt"/>
            </a:endParaRPr>
          </a:p>
          <a:p>
            <a:pPr marL="342900" indent="-342900">
              <a:buFont typeface="Arial" panose="020B0604020202020204" pitchFamily="34" charset="0"/>
              <a:buChar char="•"/>
            </a:pPr>
            <a:r>
              <a:rPr lang="en-GB" sz="2000"/>
              <a:t>Set up a </a:t>
            </a:r>
            <a:r>
              <a:rPr lang="en-GB" sz="2000">
                <a:hlinkClick r:id="rId4">
                  <a:extLst>
                    <a:ext uri="{A12FA001-AC4F-418D-AE19-62706E023703}">
                      <ahyp:hlinkClr xmlns:ahyp="http://schemas.microsoft.com/office/drawing/2018/hyperlinkcolor" val="tx"/>
                    </a:ext>
                  </a:extLst>
                </a:hlinkClick>
              </a:rPr>
              <a:t>new capacity</a:t>
            </a:r>
            <a:endParaRPr lang="en-GB" sz="2000"/>
          </a:p>
          <a:p>
            <a:pPr marL="846900" lvl="2" indent="-342900">
              <a:buFont typeface="Arial" panose="020B0604020202020204" pitchFamily="34" charset="0"/>
              <a:buChar char="•"/>
            </a:pPr>
            <a:r>
              <a:rPr lang="en-GB" sz="1800">
                <a:latin typeface="+mj-lt"/>
              </a:rPr>
              <a:t>Go to Admin Portal in Power BI Service</a:t>
            </a:r>
          </a:p>
          <a:p>
            <a:pPr marL="846900" lvl="2" indent="-342900">
              <a:buFont typeface="Arial" panose="020B0604020202020204" pitchFamily="34" charset="0"/>
              <a:buChar char="•"/>
            </a:pPr>
            <a:r>
              <a:rPr lang="en-GB" sz="1800">
                <a:latin typeface="+mj-lt"/>
              </a:rPr>
              <a:t>Go to Capacity Settings</a:t>
            </a:r>
          </a:p>
          <a:p>
            <a:pPr marL="846900" lvl="2" indent="-342900">
              <a:buFont typeface="Arial" panose="020B0604020202020204" pitchFamily="34" charset="0"/>
              <a:buChar char="•"/>
            </a:pPr>
            <a:r>
              <a:rPr lang="en-GB" sz="1800">
                <a:latin typeface="+mj-lt"/>
              </a:rPr>
              <a:t>Select Set up new capacity</a:t>
            </a:r>
          </a:p>
          <a:p>
            <a:pPr marL="846900" lvl="2" indent="-342900">
              <a:buFont typeface="Arial" panose="020B0604020202020204" pitchFamily="34" charset="0"/>
              <a:buChar char="•"/>
            </a:pPr>
            <a:r>
              <a:rPr lang="en-GB" sz="1800">
                <a:latin typeface="+mj-lt"/>
              </a:rPr>
              <a:t>Select Capacity Size</a:t>
            </a:r>
          </a:p>
          <a:p>
            <a:pPr marL="1062900" lvl="3" indent="-342900">
              <a:buFont typeface="Arial" panose="020B0604020202020204" pitchFamily="34" charset="0"/>
              <a:buChar char="•"/>
            </a:pPr>
            <a:r>
              <a:rPr lang="en-GB" sz="1600">
                <a:latin typeface="+mj-lt"/>
              </a:rPr>
              <a:t>Consider which Workspaces will be on this Capacity</a:t>
            </a:r>
          </a:p>
          <a:p>
            <a:pPr marL="1278900" lvl="4" indent="-342900">
              <a:buFont typeface="Arial" panose="020B0604020202020204" pitchFamily="34" charset="0"/>
              <a:buChar char="•"/>
            </a:pPr>
            <a:r>
              <a:rPr lang="en-GB" sz="1400">
                <a:latin typeface="+mj-lt"/>
              </a:rPr>
              <a:t>See </a:t>
            </a:r>
            <a:r>
              <a:rPr lang="en-GB" sz="1400">
                <a:latin typeface="+mj-lt"/>
                <a:hlinkClick r:id="rId5" action="ppaction://hlinksldjump">
                  <a:extLst>
                    <a:ext uri="{A12FA001-AC4F-418D-AE19-62706E023703}">
                      <ahyp:hlinkClr xmlns:ahyp="http://schemas.microsoft.com/office/drawing/2018/hyperlinkcolor" val="tx"/>
                    </a:ext>
                  </a:extLst>
                </a:hlinkClick>
              </a:rPr>
              <a:t>When to create an App Workspaces</a:t>
            </a:r>
            <a:r>
              <a:rPr lang="en-GB" sz="1400">
                <a:latin typeface="+mj-lt"/>
              </a:rPr>
              <a:t> and </a:t>
            </a:r>
            <a:r>
              <a:rPr lang="en-GB" sz="1400">
                <a:latin typeface="+mj-lt"/>
                <a:hlinkClick r:id="" action="ppaction://noaction">
                  <a:extLst>
                    <a:ext uri="{A12FA001-AC4F-418D-AE19-62706E023703}">
                      <ahyp:hlinkClr xmlns:ahyp="http://schemas.microsoft.com/office/drawing/2018/hyperlinkcolor" val="tx"/>
                    </a:ext>
                  </a:extLst>
                </a:hlinkClick>
              </a:rPr>
              <a:t>When to add a Workspaces to Premium</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2044510119"/>
      </p:ext>
    </p:extLst>
  </p:cSld>
  <p:clrMapOvr>
    <a:masterClrMapping/>
  </p:clrMapOvr>
  <mc:AlternateContent xmlns:mc="http://schemas.openxmlformats.org/markup-compatibility/2006" xmlns:p14="http://schemas.microsoft.com/office/powerpoint/2010/main">
    <mc:Choice Requires="p14">
      <p:transition spd="med" p14:dur="700" advTm="19570">
        <p:fade/>
      </p:transition>
    </mc:Choice>
    <mc:Fallback xmlns="">
      <p:transition spd="med" advTm="19570">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Premium Capacity Management</a:t>
            </a:r>
            <a:endParaRPr lang="en-US"/>
          </a:p>
        </p:txBody>
      </p:sp>
      <p:pic>
        <p:nvPicPr>
          <p:cNvPr id="15366" name="Picture 6" descr="Power BI capacity settings screen">
            <a:extLst>
              <a:ext uri="{FF2B5EF4-FFF2-40B4-BE49-F238E27FC236}">
                <a16:creationId xmlns:a16="http://schemas.microsoft.com/office/drawing/2014/main" id="{D7E0A490-CE46-4A74-A88E-1388B80A95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0594" y="2081212"/>
            <a:ext cx="4781550" cy="2695575"/>
          </a:xfrm>
          <a:prstGeom prst="rect">
            <a:avLst/>
          </a:prstGeom>
          <a:noFill/>
          <a:extLst>
            <a:ext uri="{909E8E84-426E-40DD-AFC4-6F175D3DCCD1}">
              <a14:hiddenFill xmlns:a14="http://schemas.microsoft.com/office/drawing/2010/main">
                <a:solidFill>
                  <a:srgbClr val="FFFFFF"/>
                </a:solidFill>
              </a14:hiddenFill>
            </a:ext>
          </a:extLst>
        </p:spPr>
      </p:pic>
      <p:pic>
        <p:nvPicPr>
          <p:cNvPr id="15372" name="Picture 12" descr="Capacity settings within the admin portal">
            <a:extLst>
              <a:ext uri="{FF2B5EF4-FFF2-40B4-BE49-F238E27FC236}">
                <a16:creationId xmlns:a16="http://schemas.microsoft.com/office/drawing/2014/main" id="{DA5EFA7C-0E3D-45E4-8503-4856CD6203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8397" y="1838324"/>
            <a:ext cx="4629150" cy="2984819"/>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Set up a new capacity">
            <a:extLst>
              <a:ext uri="{FF2B5EF4-FFF2-40B4-BE49-F238E27FC236}">
                <a16:creationId xmlns:a16="http://schemas.microsoft.com/office/drawing/2014/main" id="{26782EA4-D1A1-4777-B284-ED707F21F9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8397" y="1562100"/>
            <a:ext cx="4629150" cy="47625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98812551"/>
      </p:ext>
    </p:extLst>
  </p:cSld>
  <p:clrMapOvr>
    <a:masterClrMapping/>
  </p:clrMapOvr>
  <mc:AlternateContent xmlns:mc="http://schemas.openxmlformats.org/markup-compatibility/2006" xmlns:p14="http://schemas.microsoft.com/office/powerpoint/2010/main">
    <mc:Choice Requires="p14">
      <p:transition spd="med" p14:dur="700" advTm="318726">
        <p:fade/>
      </p:transition>
    </mc:Choice>
    <mc:Fallback xmlns="">
      <p:transition spd="med" advTm="31872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3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chemeClr val="accent2">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635690"/>
                <a:ext cx="1713267" cy="52322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Healthy Data Culture</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6127" y="2404736"/>
            <a:ext cx="3249319"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Originate from the executive level.</a:t>
            </a: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1026826" y="5322311"/>
            <a:ext cx="3249319" cy="49244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Directly influence your adoption strategy.</a:t>
            </a: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68611" y="2373580"/>
            <a:ext cx="3249319"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Align</a:t>
            </a:r>
            <a:r>
              <a:rPr kumimoji="0" lang="de-DE"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with organizational </a:t>
            </a:r>
            <a:r>
              <a:rPr kumimoji="0" lang="de-DE" sz="16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objectives</a:t>
            </a:r>
            <a:r>
              <a:rPr kumimoji="0" lang="de-DE"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5734" y="5199200"/>
            <a:ext cx="3249319" cy="7386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erve as the high-level guiding principles for enacting governance policies and guidelines.</a:t>
            </a:r>
          </a:p>
        </p:txBody>
      </p:sp>
      <p:sp>
        <p:nvSpPr>
          <p:cNvPr id="2" name="Titel 1">
            <a:extLst>
              <a:ext uri="{FF2B5EF4-FFF2-40B4-BE49-F238E27FC236}">
                <a16:creationId xmlns:a16="http://schemas.microsoft.com/office/drawing/2014/main" id="{511C5C82-0180-421F-BEB9-99CDF41A8B1E}"/>
              </a:ext>
            </a:extLst>
          </p:cNvPr>
          <p:cNvSpPr>
            <a:spLocks noGrp="1"/>
          </p:cNvSpPr>
          <p:nvPr>
            <p:ph type="title"/>
          </p:nvPr>
        </p:nvSpPr>
        <p:spPr/>
        <p:txBody>
          <a:bodyPr/>
          <a:lstStyle/>
          <a:p>
            <a:r>
              <a:rPr lang="de-DE" b="1"/>
              <a:t>Components </a:t>
            </a:r>
            <a:r>
              <a:rPr lang="de-DE" b="1" err="1"/>
              <a:t>of</a:t>
            </a:r>
            <a:r>
              <a:rPr lang="de-DE" b="1"/>
              <a:t> </a:t>
            </a:r>
            <a:r>
              <a:rPr lang="de-DE" b="1" err="1"/>
              <a:t>the</a:t>
            </a:r>
            <a:r>
              <a:rPr lang="de-DE" b="1"/>
              <a:t> </a:t>
            </a:r>
            <a:r>
              <a:rPr lang="de-DE" b="1" err="1"/>
              <a:t>Healthy</a:t>
            </a:r>
            <a:r>
              <a:rPr lang="de-DE" b="1"/>
              <a:t> Data Culture</a:t>
            </a:r>
          </a:p>
        </p:txBody>
      </p:sp>
    </p:spTree>
    <p:extLst>
      <p:ext uri="{BB962C8B-B14F-4D97-AF65-F5344CB8AC3E}">
        <p14:creationId xmlns:p14="http://schemas.microsoft.com/office/powerpoint/2010/main" val="2500901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sz="3600"/>
              <a:t>How to use Premium Capacity- Recommendation</a:t>
            </a:r>
            <a:endParaRPr lang="en-US" sz="3600"/>
          </a:p>
        </p:txBody>
      </p:sp>
      <p:graphicFrame>
        <p:nvGraphicFramePr>
          <p:cNvPr id="6" name="Table 5">
            <a:extLst>
              <a:ext uri="{FF2B5EF4-FFF2-40B4-BE49-F238E27FC236}">
                <a16:creationId xmlns:a16="http://schemas.microsoft.com/office/drawing/2014/main" id="{0C86BC29-3586-4A61-A917-E831CDDB2BA6}"/>
              </a:ext>
            </a:extLst>
          </p:cNvPr>
          <p:cNvGraphicFramePr>
            <a:graphicFrameLocks noGrp="1"/>
          </p:cNvGraphicFramePr>
          <p:nvPr/>
        </p:nvGraphicFramePr>
        <p:xfrm>
          <a:off x="269240" y="1247074"/>
          <a:ext cx="11655840" cy="5497115"/>
        </p:xfrm>
        <a:graphic>
          <a:graphicData uri="http://schemas.openxmlformats.org/drawingml/2006/table">
            <a:tbl>
              <a:tblPr firstRow="1" bandRow="1">
                <a:tableStyleId>{F5AB1C69-6EDB-4FF4-983F-18BD219EF322}</a:tableStyleId>
              </a:tblPr>
              <a:tblGrid>
                <a:gridCol w="2529612">
                  <a:extLst>
                    <a:ext uri="{9D8B030D-6E8A-4147-A177-3AD203B41FA5}">
                      <a16:colId xmlns:a16="http://schemas.microsoft.com/office/drawing/2014/main" val="519669272"/>
                    </a:ext>
                  </a:extLst>
                </a:gridCol>
                <a:gridCol w="2193278">
                  <a:extLst>
                    <a:ext uri="{9D8B030D-6E8A-4147-A177-3AD203B41FA5}">
                      <a16:colId xmlns:a16="http://schemas.microsoft.com/office/drawing/2014/main" val="277234858"/>
                    </a:ext>
                  </a:extLst>
                </a:gridCol>
                <a:gridCol w="2261286">
                  <a:extLst>
                    <a:ext uri="{9D8B030D-6E8A-4147-A177-3AD203B41FA5}">
                      <a16:colId xmlns:a16="http://schemas.microsoft.com/office/drawing/2014/main" val="3134779182"/>
                    </a:ext>
                  </a:extLst>
                </a:gridCol>
                <a:gridCol w="4671664">
                  <a:extLst>
                    <a:ext uri="{9D8B030D-6E8A-4147-A177-3AD203B41FA5}">
                      <a16:colId xmlns:a16="http://schemas.microsoft.com/office/drawing/2014/main" val="1870900502"/>
                    </a:ext>
                  </a:extLst>
                </a:gridCol>
              </a:tblGrid>
              <a:tr h="395358">
                <a:tc>
                  <a:txBody>
                    <a:bodyPr/>
                    <a:lstStyle/>
                    <a:p>
                      <a:r>
                        <a:rPr lang="en-GB" sz="2000"/>
                        <a:t>Option</a:t>
                      </a:r>
                      <a:endParaRPr lang="en-US" sz="2000"/>
                    </a:p>
                  </a:txBody>
                  <a:tcPr/>
                </a:tc>
                <a:tc>
                  <a:txBody>
                    <a:bodyPr/>
                    <a:lstStyle/>
                    <a:p>
                      <a:r>
                        <a:rPr lang="en-GB" sz="2000"/>
                        <a:t>No. Workspaces</a:t>
                      </a:r>
                      <a:endParaRPr lang="en-US" sz="2000"/>
                    </a:p>
                  </a:txBody>
                  <a:tcPr/>
                </a:tc>
                <a:tc>
                  <a:txBody>
                    <a:bodyPr/>
                    <a:lstStyle/>
                    <a:p>
                      <a:r>
                        <a:rPr lang="en-GB" sz="2000"/>
                        <a:t>Add to Premium</a:t>
                      </a:r>
                      <a:endParaRPr lang="en-US" sz="2000"/>
                    </a:p>
                  </a:txBody>
                  <a:tcPr/>
                </a:tc>
                <a:tc>
                  <a:txBody>
                    <a:bodyPr/>
                    <a:lstStyle/>
                    <a:p>
                      <a:r>
                        <a:rPr lang="en-GB" sz="2000"/>
                        <a:t>Which Capacity</a:t>
                      </a:r>
                      <a:endParaRPr lang="en-US" sz="2000"/>
                    </a:p>
                  </a:txBody>
                  <a:tcPr/>
                </a:tc>
                <a:extLst>
                  <a:ext uri="{0D108BD9-81ED-4DB2-BD59-A6C34878D82A}">
                    <a16:rowId xmlns:a16="http://schemas.microsoft.com/office/drawing/2014/main" val="168812664"/>
                  </a:ext>
                </a:extLst>
              </a:tr>
              <a:tr h="821129">
                <a:tc>
                  <a:txBody>
                    <a:bodyPr/>
                    <a:lstStyle/>
                    <a:p>
                      <a:pPr marL="0" indent="0">
                        <a:buFont typeface="Arial" panose="020B0604020202020204" pitchFamily="34" charset="0"/>
                        <a:buNone/>
                      </a:pPr>
                      <a:r>
                        <a:rPr lang="en-GB" sz="1600">
                          <a:latin typeface="+mj-lt"/>
                        </a:rPr>
                        <a:t>BI Team Development</a:t>
                      </a:r>
                      <a:endParaRPr lang="en-US" sz="1600">
                        <a:latin typeface="+mj-lt"/>
                      </a:endParaRPr>
                    </a:p>
                  </a:txBody>
                  <a:tcPr/>
                </a:tc>
                <a:tc>
                  <a:txBody>
                    <a:bodyPr/>
                    <a:lstStyle/>
                    <a:p>
                      <a:pPr marL="0" lvl="0" indent="0">
                        <a:buFont typeface="Arial" panose="020B0604020202020204" pitchFamily="34" charset="0"/>
                        <a:buNone/>
                      </a:pPr>
                      <a:r>
                        <a:rPr lang="en-GB" sz="1600" kern="1200">
                          <a:effectLst/>
                          <a:latin typeface="+mj-lt"/>
                        </a:rPr>
                        <a:t>1</a:t>
                      </a:r>
                      <a:endParaRPr lang="en-US" sz="1600" kern="1200">
                        <a:effectLst/>
                        <a:latin typeface="+mj-lt"/>
                      </a:endParaRPr>
                    </a:p>
                    <a:p>
                      <a:pPr marL="285750" indent="-285750">
                        <a:buFont typeface="Arial" panose="020B0604020202020204" pitchFamily="34" charset="0"/>
                        <a:buChar char="•"/>
                      </a:pPr>
                      <a:endParaRPr lang="en-US" sz="1600">
                        <a:latin typeface="+mj-lt"/>
                      </a:endParaRPr>
                    </a:p>
                  </a:txBody>
                  <a:tcPr/>
                </a:tc>
                <a:tc>
                  <a:txBody>
                    <a:bodyPr/>
                    <a:lstStyle/>
                    <a:p>
                      <a:pPr marL="0" indent="0">
                        <a:buFont typeface="Arial" panose="020B0604020202020204" pitchFamily="34" charset="0"/>
                        <a:buNone/>
                      </a:pPr>
                      <a:r>
                        <a:rPr lang="en-GB" sz="1600">
                          <a:latin typeface="+mj-lt"/>
                        </a:rPr>
                        <a:t>No</a:t>
                      </a:r>
                    </a:p>
                  </a:txBody>
                  <a:tcPr/>
                </a:tc>
                <a:tc>
                  <a:txBody>
                    <a:bodyPr/>
                    <a:lstStyle/>
                    <a:p>
                      <a:pPr marL="285750" indent="-285750">
                        <a:buFont typeface="Arial" panose="020B0604020202020204" pitchFamily="34" charset="0"/>
                        <a:buChar char="•"/>
                      </a:pPr>
                      <a:r>
                        <a:rPr lang="en-GB" sz="1600">
                          <a:latin typeface="+mj-lt"/>
                        </a:rPr>
                        <a:t>All users will have Pro license</a:t>
                      </a:r>
                    </a:p>
                  </a:txBody>
                  <a:tcPr/>
                </a:tc>
                <a:extLst>
                  <a:ext uri="{0D108BD9-81ED-4DB2-BD59-A6C34878D82A}">
                    <a16:rowId xmlns:a16="http://schemas.microsoft.com/office/drawing/2014/main" val="2464792612"/>
                  </a:ext>
                </a:extLst>
              </a:tr>
              <a:tr h="783513">
                <a:tc>
                  <a:txBody>
                    <a:bodyPr/>
                    <a:lstStyle/>
                    <a:p>
                      <a:pPr marL="0" indent="0">
                        <a:buFont typeface="Arial" panose="020B0604020202020204" pitchFamily="34" charset="0"/>
                        <a:buNone/>
                      </a:pPr>
                      <a:r>
                        <a:rPr lang="en-GB" sz="1600">
                          <a:latin typeface="+mj-lt"/>
                        </a:rPr>
                        <a:t>BI Team Test</a:t>
                      </a:r>
                      <a:endParaRPr lang="en-US" sz="1600">
                        <a:latin typeface="+mj-lt"/>
                      </a:endParaRPr>
                    </a:p>
                  </a:txBody>
                  <a:tcPr/>
                </a:tc>
                <a:tc>
                  <a:txBody>
                    <a:bodyPr/>
                    <a:lstStyle/>
                    <a:p>
                      <a:pPr marL="0" indent="0">
                        <a:buFont typeface="Arial" panose="020B0604020202020204" pitchFamily="34" charset="0"/>
                        <a:buNone/>
                      </a:pPr>
                      <a:r>
                        <a:rPr lang="en-GB" sz="1600">
                          <a:latin typeface="+mj-lt"/>
                        </a:rPr>
                        <a:t>1</a:t>
                      </a:r>
                      <a:endParaRPr lang="en-US" sz="1600">
                        <a:latin typeface="+mj-lt"/>
                      </a:endParaRPr>
                    </a:p>
                  </a:txBody>
                  <a:tcPr/>
                </a:tc>
                <a:tc>
                  <a:txBody>
                    <a:bodyPr/>
                    <a:lstStyle/>
                    <a:p>
                      <a:pPr marL="0" indent="0">
                        <a:buFont typeface="Arial" panose="020B0604020202020204" pitchFamily="34" charset="0"/>
                        <a:buNone/>
                      </a:pPr>
                      <a:r>
                        <a:rPr lang="en-GB" sz="1600" kern="1200">
                          <a:solidFill>
                            <a:schemeClr val="dk1"/>
                          </a:solidFill>
                          <a:latin typeface="+mj-lt"/>
                          <a:ea typeface="+mn-ea"/>
                          <a:cs typeface="+mn-cs"/>
                        </a:rPr>
                        <a:t>No</a:t>
                      </a: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users will have Pro license</a:t>
                      </a:r>
                    </a:p>
                    <a:p>
                      <a:pPr marL="285750" indent="-285750">
                        <a:buFont typeface="Arial" panose="020B0604020202020204" pitchFamily="34" charset="0"/>
                        <a:buChar char="•"/>
                      </a:pPr>
                      <a:r>
                        <a:rPr lang="en-GB" sz="1600" kern="1200">
                          <a:solidFill>
                            <a:schemeClr val="dk1"/>
                          </a:solidFill>
                          <a:latin typeface="+mj-lt"/>
                          <a:ea typeface="+mn-ea"/>
                          <a:cs typeface="+mn-cs"/>
                        </a:rPr>
                        <a:t>If testing is done via an app and Testers do not have a Pro license then Add to Premium</a:t>
                      </a:r>
                    </a:p>
                  </a:txBody>
                  <a:tcPr/>
                </a:tc>
                <a:extLst>
                  <a:ext uri="{0D108BD9-81ED-4DB2-BD59-A6C34878D82A}">
                    <a16:rowId xmlns:a16="http://schemas.microsoft.com/office/drawing/2014/main" val="2363728252"/>
                  </a:ext>
                </a:extLst>
              </a:tr>
              <a:tr h="783513">
                <a:tc>
                  <a:txBody>
                    <a:bodyPr/>
                    <a:lstStyle/>
                    <a:p>
                      <a:pPr marL="0" indent="0">
                        <a:buFont typeface="Arial" panose="020B0604020202020204" pitchFamily="34" charset="0"/>
                        <a:buNone/>
                      </a:pPr>
                      <a:r>
                        <a:rPr lang="en-GB" sz="1600">
                          <a:latin typeface="+mj-lt"/>
                        </a:rPr>
                        <a:t>BI Team QA</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a single QA Capacity</a:t>
                      </a:r>
                    </a:p>
                    <a:p>
                      <a:pPr marL="285750" indent="-285750">
                        <a:buFont typeface="Arial" panose="020B0604020202020204" pitchFamily="34" charset="0"/>
                        <a:buChar char="•"/>
                      </a:pPr>
                      <a:r>
                        <a:rPr lang="en-GB" sz="1600" kern="1200">
                          <a:solidFill>
                            <a:schemeClr val="dk1"/>
                          </a:solidFill>
                          <a:latin typeface="+mj-lt"/>
                          <a:ea typeface="+mn-ea"/>
                          <a:cs typeface="+mn-cs"/>
                        </a:rPr>
                        <a:t>Small reports share 1 capacity</a:t>
                      </a:r>
                    </a:p>
                  </a:txBody>
                  <a:tcPr/>
                </a:tc>
                <a:extLst>
                  <a:ext uri="{0D108BD9-81ED-4DB2-BD59-A6C34878D82A}">
                    <a16:rowId xmlns:a16="http://schemas.microsoft.com/office/drawing/2014/main" val="2825348448"/>
                  </a:ext>
                </a:extLst>
              </a:tr>
              <a:tr h="783513">
                <a:tc>
                  <a:txBody>
                    <a:bodyPr/>
                    <a:lstStyle/>
                    <a:p>
                      <a:pPr marL="0" indent="0">
                        <a:buFont typeface="Arial" panose="020B0604020202020204" pitchFamily="34" charset="0"/>
                        <a:buNone/>
                      </a:pPr>
                      <a:r>
                        <a:rPr lang="en-GB" sz="1600">
                          <a:latin typeface="+mj-lt"/>
                        </a:rPr>
                        <a:t>BI Team Production</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report category / solution</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capacity for small reports</a:t>
                      </a:r>
                    </a:p>
                    <a:p>
                      <a:pPr marL="285750" indent="-285750">
                        <a:buFont typeface="Arial" panose="020B0604020202020204" pitchFamily="34" charset="0"/>
                        <a:buChar char="•"/>
                      </a:pPr>
                      <a:r>
                        <a:rPr lang="en-GB" sz="1600" kern="1200">
                          <a:solidFill>
                            <a:schemeClr val="dk1"/>
                          </a:solidFill>
                          <a:latin typeface="+mj-lt"/>
                          <a:ea typeface="+mn-ea"/>
                          <a:cs typeface="+mn-cs"/>
                        </a:rPr>
                        <a:t>Important or heavy reports in separate capacity</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887410271"/>
                  </a:ext>
                </a:extLst>
              </a:tr>
              <a:tr h="783513">
                <a:tc>
                  <a:txBody>
                    <a:bodyPr/>
                    <a:lstStyle/>
                    <a:p>
                      <a:pPr marL="0" indent="0">
                        <a:buFont typeface="Arial" panose="020B0604020202020204" pitchFamily="34" charset="0"/>
                        <a:buNone/>
                      </a:pPr>
                      <a:r>
                        <a:rPr lang="en-GB" sz="1600">
                          <a:latin typeface="+mj-lt"/>
                        </a:rPr>
                        <a:t>Business Self-Service Development</a:t>
                      </a:r>
                      <a:endParaRPr lang="en-US" sz="1600">
                        <a:latin typeface="+mj-lt"/>
                      </a:endParaRPr>
                    </a:p>
                  </a:txBody>
                  <a:tcPr/>
                </a:tc>
                <a:tc>
                  <a:txBody>
                    <a:bodyPr/>
                    <a:lstStyle/>
                    <a:p>
                      <a:pPr marL="0" indent="0">
                        <a:buFont typeface="Arial" panose="020B0604020202020204" pitchFamily="34" charset="0"/>
                        <a:buNone/>
                      </a:pPr>
                      <a:r>
                        <a:rPr lang="en-GB" sz="1600">
                          <a:latin typeface="+mj-lt"/>
                        </a:rPr>
                        <a:t>1 per department</a:t>
                      </a: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No</a:t>
                      </a: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All users will have Pro license</a:t>
                      </a:r>
                    </a:p>
                  </a:txBody>
                  <a:tcPr/>
                </a:tc>
                <a:extLst>
                  <a:ext uri="{0D108BD9-81ED-4DB2-BD59-A6C34878D82A}">
                    <a16:rowId xmlns:a16="http://schemas.microsoft.com/office/drawing/2014/main" val="2952617399"/>
                  </a:ext>
                </a:extLst>
              </a:tr>
              <a:tr h="783513">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Business Self-Service Produc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a:solidFill>
                            <a:schemeClr val="dk1"/>
                          </a:solidFill>
                          <a:latin typeface="+mj-lt"/>
                          <a:ea typeface="+mn-ea"/>
                          <a:cs typeface="+mn-cs"/>
                        </a:rPr>
                        <a:t>1 per report category / solution</a:t>
                      </a:r>
                      <a:endParaRPr lang="en-US" sz="1600" kern="1200">
                        <a:solidFill>
                          <a:schemeClr val="dk1"/>
                        </a:solidFill>
                        <a:latin typeface="+mj-lt"/>
                        <a:ea typeface="+mn-ea"/>
                        <a:cs typeface="+mn-cs"/>
                      </a:endParaRPr>
                    </a:p>
                    <a:p>
                      <a:pPr marL="0" indent="0">
                        <a:buFont typeface="Arial" panose="020B0604020202020204" pitchFamily="34" charset="0"/>
                        <a:buNone/>
                      </a:pP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endParaRPr lang="en-US" sz="1600">
                        <a:latin typeface="+mj-lt"/>
                      </a:endParaRPr>
                    </a:p>
                  </a:txBody>
                  <a:tcPr/>
                </a:tc>
                <a:tc>
                  <a:txBody>
                    <a:bodyPr/>
                    <a:lstStyle/>
                    <a:p>
                      <a:pPr marL="285750" indent="-285750">
                        <a:buFont typeface="Arial" panose="020B0604020202020204" pitchFamily="34" charset="0"/>
                        <a:buChar char="•"/>
                      </a:pPr>
                      <a:r>
                        <a:rPr lang="en-GB" sz="1600" kern="1200">
                          <a:solidFill>
                            <a:schemeClr val="dk1"/>
                          </a:solidFill>
                          <a:latin typeface="+mj-lt"/>
                          <a:ea typeface="+mn-ea"/>
                          <a:cs typeface="+mn-cs"/>
                        </a:rPr>
                        <a:t>Share 1 capacity</a:t>
                      </a:r>
                    </a:p>
                    <a:p>
                      <a:pPr marL="285750" indent="-285750">
                        <a:buFont typeface="Arial" panose="020B0604020202020204" pitchFamily="34" charset="0"/>
                        <a:buChar char="•"/>
                      </a:pPr>
                      <a:r>
                        <a:rPr lang="en-GB" sz="1600" kern="1200">
                          <a:solidFill>
                            <a:schemeClr val="dk1"/>
                          </a:solidFill>
                          <a:latin typeface="+mj-lt"/>
                          <a:ea typeface="+mn-ea"/>
                          <a:cs typeface="+mn-cs"/>
                        </a:rPr>
                        <a:t>Important or heavy reports should be considered for migration to a BI Team Production workspace</a:t>
                      </a:r>
                      <a:endParaRPr lang="en-US" sz="1600" kern="1200">
                        <a:solidFill>
                          <a:schemeClr val="dk1"/>
                        </a:solidFill>
                        <a:latin typeface="+mj-lt"/>
                        <a:ea typeface="+mn-ea"/>
                        <a:cs typeface="+mn-cs"/>
                      </a:endParaRPr>
                    </a:p>
                    <a:p>
                      <a:pPr marL="285750" indent="-285750">
                        <a:buFont typeface="Arial" panose="020B0604020202020204" pitchFamily="34" charset="0"/>
                        <a:buChar char="•"/>
                      </a:pPr>
                      <a:endParaRPr lang="en-US" sz="1600">
                        <a:latin typeface="+mj-lt"/>
                      </a:endParaRPr>
                    </a:p>
                  </a:txBody>
                  <a:tcPr/>
                </a:tc>
                <a:extLst>
                  <a:ext uri="{0D108BD9-81ED-4DB2-BD59-A6C34878D82A}">
                    <a16:rowId xmlns:a16="http://schemas.microsoft.com/office/drawing/2014/main" val="2023544477"/>
                  </a:ext>
                </a:extLst>
              </a:tr>
            </a:tbl>
          </a:graphicData>
        </a:graphic>
      </p:graphicFrame>
    </p:spTree>
    <p:extLst>
      <p:ext uri="{BB962C8B-B14F-4D97-AF65-F5344CB8AC3E}">
        <p14:creationId xmlns:p14="http://schemas.microsoft.com/office/powerpoint/2010/main" val="2852808739"/>
      </p:ext>
    </p:extLst>
  </p:cSld>
  <p:clrMapOvr>
    <a:masterClrMapping/>
  </p:clrMapOvr>
  <mc:AlternateContent xmlns:mc="http://schemas.openxmlformats.org/markup-compatibility/2006" xmlns:p14="http://schemas.microsoft.com/office/powerpoint/2010/main">
    <mc:Choice Requires="p14">
      <p:transition spd="med" p14:dur="700" advTm="31609">
        <p:fade/>
      </p:transition>
    </mc:Choice>
    <mc:Fallback xmlns="">
      <p:transition spd="med" advTm="31609">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a:xfrm>
            <a:off x="269240" y="123092"/>
            <a:ext cx="11655840" cy="956908"/>
          </a:xfrm>
        </p:spPr>
        <p:txBody>
          <a:bodyPr/>
          <a:lstStyle/>
          <a:p>
            <a:r>
              <a:rPr lang="en-GB" sz="4200">
                <a:latin typeface="Segoe UI Semibold" panose="020B0702040204020203" pitchFamily="34" charset="0"/>
                <a:cs typeface="Segoe UI Semibold" panose="020B0702040204020203" pitchFamily="34" charset="0"/>
              </a:rPr>
              <a:t>How will you purchase and configure Premium?</a:t>
            </a:r>
            <a:endParaRPr lang="en-US" sz="4200">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4782848"/>
          </a:xfrm>
        </p:spPr>
        <p:txBody>
          <a:bodyPr/>
          <a:lstStyle/>
          <a:p>
            <a:pPr marL="342900" indent="-342900">
              <a:buFont typeface="Arial" panose="020B0604020202020204" pitchFamily="34" charset="0"/>
              <a:buChar char="•"/>
            </a:pPr>
            <a:r>
              <a:rPr lang="en-GB" sz="2000"/>
              <a:t>Decide and </a:t>
            </a:r>
            <a:r>
              <a:rPr lang="en-GB" sz="2000">
                <a:hlinkClick r:id="rId3">
                  <a:extLst>
                    <a:ext uri="{A12FA001-AC4F-418D-AE19-62706E023703}">
                      <ahyp:hlinkClr xmlns:ahyp="http://schemas.microsoft.com/office/drawing/2018/hyperlinkcolor" val="tx"/>
                    </a:ext>
                  </a:extLst>
                </a:hlinkClick>
              </a:rPr>
              <a:t>purchase</a:t>
            </a:r>
            <a:r>
              <a:rPr lang="en-GB" sz="2000"/>
              <a:t> new Premium nodes</a:t>
            </a:r>
          </a:p>
          <a:p>
            <a:pPr marL="846900" lvl="2" indent="-342900">
              <a:buFont typeface="Arial" panose="020B0604020202020204" pitchFamily="34" charset="0"/>
              <a:buChar char="•"/>
            </a:pPr>
            <a:r>
              <a:rPr lang="en-GB" sz="1800">
                <a:latin typeface="+mj-lt"/>
              </a:rPr>
              <a:t>Purchase via Admin Portal or via partner</a:t>
            </a:r>
            <a:endParaRPr lang="en-GB" sz="800">
              <a:latin typeface="+mj-lt"/>
            </a:endParaRPr>
          </a:p>
          <a:p>
            <a:pPr marL="342900" indent="-342900">
              <a:buFont typeface="Arial" panose="020B0604020202020204" pitchFamily="34" charset="0"/>
              <a:buChar char="•"/>
            </a:pPr>
            <a:r>
              <a:rPr lang="en-GB" sz="2000"/>
              <a:t>Decide if appropriate and add a user as an admin to a capacity</a:t>
            </a:r>
          </a:p>
          <a:p>
            <a:pPr marL="846900" lvl="2" indent="-342900">
              <a:buFont typeface="Arial" panose="020B0604020202020204" pitchFamily="34" charset="0"/>
              <a:buChar char="•"/>
            </a:pPr>
            <a:r>
              <a:rPr lang="en-GB" sz="1800">
                <a:latin typeface="+mj-lt"/>
              </a:rPr>
              <a:t>Office 365 Global Administrators and Power BI Service Administrators are automatically granted this</a:t>
            </a:r>
          </a:p>
          <a:p>
            <a:pPr marL="846900" lvl="2" indent="-342900">
              <a:buFont typeface="Arial" panose="020B0604020202020204" pitchFamily="34" charset="0"/>
              <a:buChar char="•"/>
            </a:pPr>
            <a:r>
              <a:rPr lang="en-GB" sz="1800">
                <a:latin typeface="+mj-lt"/>
              </a:rPr>
              <a:t>Recommend adding BI Team and support to help, reducing dependency on only admins</a:t>
            </a:r>
          </a:p>
          <a:p>
            <a:pPr marL="846900" lvl="2" indent="-342900">
              <a:buFont typeface="Arial" panose="020B0604020202020204" pitchFamily="34" charset="0"/>
              <a:buChar char="•"/>
            </a:pPr>
            <a:r>
              <a:rPr lang="en-GB" sz="1800">
                <a:latin typeface="+mj-lt"/>
              </a:rPr>
              <a:t>Grants a user the ability to assign a Workspace to a Premium capacity – users without a Pro license can view content shared to them from that Workspace</a:t>
            </a:r>
            <a:endParaRPr lang="en-GB" sz="800">
              <a:latin typeface="+mj-lt"/>
            </a:endParaRPr>
          </a:p>
          <a:p>
            <a:pPr marL="342900" indent="-342900">
              <a:buFont typeface="Arial" panose="020B0604020202020204" pitchFamily="34" charset="0"/>
              <a:buChar char="•"/>
            </a:pPr>
            <a:r>
              <a:rPr lang="en-GB" sz="2000"/>
              <a:t>Set up a </a:t>
            </a:r>
            <a:r>
              <a:rPr lang="en-GB" sz="2000">
                <a:hlinkClick r:id="rId4">
                  <a:extLst>
                    <a:ext uri="{A12FA001-AC4F-418D-AE19-62706E023703}">
                      <ahyp:hlinkClr xmlns:ahyp="http://schemas.microsoft.com/office/drawing/2018/hyperlinkcolor" val="tx"/>
                    </a:ext>
                  </a:extLst>
                </a:hlinkClick>
              </a:rPr>
              <a:t>new capacity</a:t>
            </a:r>
            <a:endParaRPr lang="en-GB" sz="2000"/>
          </a:p>
          <a:p>
            <a:pPr marL="846900" lvl="2" indent="-342900">
              <a:buFont typeface="Arial" panose="020B0604020202020204" pitchFamily="34" charset="0"/>
              <a:buChar char="•"/>
            </a:pPr>
            <a:r>
              <a:rPr lang="en-GB" sz="1800">
                <a:latin typeface="+mj-lt"/>
              </a:rPr>
              <a:t>Go to Admin Portal in Power BI Service</a:t>
            </a:r>
          </a:p>
          <a:p>
            <a:pPr marL="846900" lvl="2" indent="-342900">
              <a:buFont typeface="Arial" panose="020B0604020202020204" pitchFamily="34" charset="0"/>
              <a:buChar char="•"/>
            </a:pPr>
            <a:r>
              <a:rPr lang="en-GB" sz="1800">
                <a:latin typeface="+mj-lt"/>
              </a:rPr>
              <a:t>Go to Capacity Settings</a:t>
            </a:r>
          </a:p>
          <a:p>
            <a:pPr marL="846900" lvl="2" indent="-342900">
              <a:buFont typeface="Arial" panose="020B0604020202020204" pitchFamily="34" charset="0"/>
              <a:buChar char="•"/>
            </a:pPr>
            <a:r>
              <a:rPr lang="en-GB" sz="1800">
                <a:latin typeface="+mj-lt"/>
              </a:rPr>
              <a:t>Select Set up new capacity</a:t>
            </a:r>
          </a:p>
          <a:p>
            <a:pPr marL="846900" lvl="2" indent="-342900">
              <a:buFont typeface="Arial" panose="020B0604020202020204" pitchFamily="34" charset="0"/>
              <a:buChar char="•"/>
            </a:pPr>
            <a:r>
              <a:rPr lang="en-GB" sz="1800">
                <a:latin typeface="+mj-lt"/>
              </a:rPr>
              <a:t>Select Capacity Size</a:t>
            </a:r>
          </a:p>
          <a:p>
            <a:pPr marL="1062900" lvl="3" indent="-342900">
              <a:buFont typeface="Arial" panose="020B0604020202020204" pitchFamily="34" charset="0"/>
              <a:buChar char="•"/>
            </a:pPr>
            <a:r>
              <a:rPr lang="en-GB" sz="1600">
                <a:latin typeface="+mj-lt"/>
              </a:rPr>
              <a:t>Consider which Workspaces will be on this Capacity</a:t>
            </a:r>
          </a:p>
          <a:p>
            <a:pPr marL="1278900" lvl="4" indent="-342900">
              <a:buFont typeface="Arial" panose="020B0604020202020204" pitchFamily="34" charset="0"/>
              <a:buChar char="•"/>
            </a:pPr>
            <a:r>
              <a:rPr lang="en-GB" sz="1400">
                <a:latin typeface="+mj-lt"/>
              </a:rPr>
              <a:t>See </a:t>
            </a:r>
            <a:r>
              <a:rPr lang="en-GB" sz="1400">
                <a:latin typeface="+mj-lt"/>
                <a:hlinkClick r:id="rId5" action="ppaction://hlinksldjump">
                  <a:extLst>
                    <a:ext uri="{A12FA001-AC4F-418D-AE19-62706E023703}">
                      <ahyp:hlinkClr xmlns:ahyp="http://schemas.microsoft.com/office/drawing/2018/hyperlinkcolor" val="tx"/>
                    </a:ext>
                  </a:extLst>
                </a:hlinkClick>
              </a:rPr>
              <a:t>When to create an App Workspaces</a:t>
            </a:r>
            <a:r>
              <a:rPr lang="en-GB" sz="1400">
                <a:latin typeface="+mj-lt"/>
              </a:rPr>
              <a:t> and </a:t>
            </a:r>
            <a:r>
              <a:rPr lang="en-GB" sz="1400">
                <a:latin typeface="+mj-lt"/>
                <a:hlinkClick r:id="" action="ppaction://noaction">
                  <a:extLst>
                    <a:ext uri="{A12FA001-AC4F-418D-AE19-62706E023703}">
                      <ahyp:hlinkClr xmlns:ahyp="http://schemas.microsoft.com/office/drawing/2018/hyperlinkcolor" val="tx"/>
                    </a:ext>
                  </a:extLst>
                </a:hlinkClick>
              </a:rPr>
              <a:t>When to add a Workspaces to Premium</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76358118"/>
      </p:ext>
    </p:extLst>
  </p:cSld>
  <p:clrMapOvr>
    <a:masterClrMapping/>
  </p:clrMapOvr>
  <mc:AlternateContent xmlns:mc="http://schemas.openxmlformats.org/markup-compatibility/2006" xmlns:p14="http://schemas.microsoft.com/office/powerpoint/2010/main">
    <mc:Choice Requires="p14">
      <p:transition spd="med" p14:dur="700" advTm="31695">
        <p:fade/>
      </p:transition>
    </mc:Choice>
    <mc:Fallback xmlns="">
      <p:transition spd="med" advTm="31695">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BBC6-E6B2-4FE2-A023-4774FA3E1D1D}"/>
              </a:ext>
            </a:extLst>
          </p:cNvPr>
          <p:cNvSpPr>
            <a:spLocks noGrp="1"/>
          </p:cNvSpPr>
          <p:nvPr>
            <p:ph type="title"/>
          </p:nvPr>
        </p:nvSpPr>
        <p:spPr/>
        <p:txBody>
          <a:bodyPr/>
          <a:lstStyle/>
          <a:p>
            <a:r>
              <a:rPr lang="en-GB"/>
              <a:t>Premium Capacity Monitoring</a:t>
            </a:r>
            <a:endParaRPr lang="en-US"/>
          </a:p>
        </p:txBody>
      </p:sp>
      <p:pic>
        <p:nvPicPr>
          <p:cNvPr id="10" name="Picture 9" descr="A screenshot of a cell phone&#10;&#10;Description automatically generated">
            <a:extLst>
              <a:ext uri="{FF2B5EF4-FFF2-40B4-BE49-F238E27FC236}">
                <a16:creationId xmlns:a16="http://schemas.microsoft.com/office/drawing/2014/main" id="{31D31C72-F75E-414B-8E5B-02659F3E8A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4350" y="1498694"/>
            <a:ext cx="8623300" cy="2361937"/>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0EB45CFA-AE48-467B-AC60-6BD4705528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84350" y="1510124"/>
            <a:ext cx="8623300" cy="4893850"/>
          </a:xfrm>
          <a:prstGeom prst="rect">
            <a:avLst/>
          </a:prstGeom>
        </p:spPr>
      </p:pic>
    </p:spTree>
    <p:custDataLst>
      <p:tags r:id="rId1"/>
    </p:custDataLst>
    <p:extLst>
      <p:ext uri="{BB962C8B-B14F-4D97-AF65-F5344CB8AC3E}">
        <p14:creationId xmlns:p14="http://schemas.microsoft.com/office/powerpoint/2010/main" val="1867090512"/>
      </p:ext>
    </p:extLst>
  </p:cSld>
  <p:clrMapOvr>
    <a:masterClrMapping/>
  </p:clrMapOvr>
  <mc:AlternateContent xmlns:mc="http://schemas.openxmlformats.org/markup-compatibility/2006" xmlns:p14="http://schemas.microsoft.com/office/powerpoint/2010/main">
    <mc:Choice Requires="p14">
      <p:transition spd="med" p14:dur="700" advTm="153531">
        <p:fade/>
      </p:transition>
    </mc:Choice>
    <mc:Fallback xmlns="">
      <p:transition spd="med" advTm="15353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latin typeface="Segoe UI Semibold" panose="020B0702040204020203" pitchFamily="34" charset="0"/>
                <a:cs typeface="Segoe UI Semibold" panose="020B0702040204020203" pitchFamily="34" charset="0"/>
              </a:rPr>
              <a:t>How will you monitor Premium?</a:t>
            </a:r>
            <a:endParaRPr lang="en-US">
              <a:latin typeface="Segoe UI Semibold" panose="020B0702040204020203" pitchFamily="34" charset="0"/>
              <a:cs typeface="Segoe UI Semibold" panose="020B0702040204020203" pitchFamily="34" charset="0"/>
            </a:endParaRPr>
          </a:p>
        </p:txBody>
      </p:sp>
      <p:sp>
        <p:nvSpPr>
          <p:cNvPr id="5" name="Text Placeholder 4">
            <a:extLst>
              <a:ext uri="{FF2B5EF4-FFF2-40B4-BE49-F238E27FC236}">
                <a16:creationId xmlns:a16="http://schemas.microsoft.com/office/drawing/2014/main" id="{55E0E5A1-A557-4556-BB1A-1FB70666E060}"/>
              </a:ext>
            </a:extLst>
          </p:cNvPr>
          <p:cNvSpPr>
            <a:spLocks noGrp="1"/>
          </p:cNvSpPr>
          <p:nvPr>
            <p:ph type="body" sz="quarter" idx="10"/>
          </p:nvPr>
        </p:nvSpPr>
        <p:spPr>
          <a:xfrm>
            <a:off x="274638" y="1212850"/>
            <a:ext cx="11887200" cy="5684633"/>
          </a:xfrm>
        </p:spPr>
        <p:txBody>
          <a:bodyPr/>
          <a:lstStyle/>
          <a:p>
            <a:pPr marL="342900" indent="-342900">
              <a:buFont typeface="Arial" panose="020B0604020202020204" pitchFamily="34" charset="0"/>
              <a:buChar char="•"/>
            </a:pPr>
            <a:r>
              <a:rPr lang="en-GB" sz="2000">
                <a:hlinkClick r:id="rId3">
                  <a:extLst>
                    <a:ext uri="{A12FA001-AC4F-418D-AE19-62706E023703}">
                      <ahyp:hlinkClr xmlns:ahyp="http://schemas.microsoft.com/office/drawing/2018/hyperlinkcolor" val="tx"/>
                    </a:ext>
                  </a:extLst>
                </a:hlinkClick>
              </a:rPr>
              <a:t>Monitoring</a:t>
            </a:r>
            <a:r>
              <a:rPr lang="en-GB" sz="2000"/>
              <a:t> a Premium capacity</a:t>
            </a:r>
          </a:p>
          <a:p>
            <a:pPr marL="846900" lvl="2" indent="-342900">
              <a:buFont typeface="Arial" panose="020B0604020202020204" pitchFamily="34" charset="0"/>
              <a:buChar char="•"/>
            </a:pPr>
            <a:r>
              <a:rPr lang="en-GB" sz="1800">
                <a:latin typeface="+mj-lt"/>
              </a:rPr>
              <a:t>Install the Premium Capacity Metrics App</a:t>
            </a:r>
          </a:p>
          <a:p>
            <a:pPr marL="1062900" lvl="3" indent="-342900">
              <a:buFont typeface="Arial" panose="020B0604020202020204" pitchFamily="34" charset="0"/>
              <a:buChar char="•"/>
            </a:pPr>
            <a:r>
              <a:rPr lang="en-GB" sz="1600">
                <a:latin typeface="+mj-lt"/>
              </a:rPr>
              <a:t>In Power BI, click Apps</a:t>
            </a:r>
          </a:p>
          <a:p>
            <a:pPr marL="1062900" lvl="3" indent="-342900">
              <a:buFont typeface="Arial" panose="020B0604020202020204" pitchFamily="34" charset="0"/>
              <a:buChar char="•"/>
            </a:pPr>
            <a:r>
              <a:rPr lang="en-GB" sz="1600">
                <a:latin typeface="+mj-lt"/>
              </a:rPr>
              <a:t>On the right side, click Get apps</a:t>
            </a:r>
          </a:p>
          <a:p>
            <a:pPr marL="1062900" lvl="3" indent="-342900">
              <a:buFont typeface="Arial" panose="020B0604020202020204" pitchFamily="34" charset="0"/>
              <a:buChar char="•"/>
            </a:pPr>
            <a:r>
              <a:rPr lang="en-US" sz="1600">
                <a:latin typeface="+mj-lt"/>
              </a:rPr>
              <a:t>In the Apps category, search for Power BI Premium Capacity Metrics app</a:t>
            </a:r>
          </a:p>
          <a:p>
            <a:pPr marL="1062900" lvl="3" indent="-342900">
              <a:buFont typeface="Arial" panose="020B0604020202020204" pitchFamily="34" charset="0"/>
              <a:buChar char="•"/>
            </a:pPr>
            <a:r>
              <a:rPr lang="en-US" sz="1600">
                <a:latin typeface="+mj-lt"/>
              </a:rPr>
              <a:t>Subscribe to install the app</a:t>
            </a:r>
            <a:endParaRPr lang="en-GB" sz="1600">
              <a:latin typeface="+mj-lt"/>
            </a:endParaRPr>
          </a:p>
          <a:p>
            <a:pPr marL="846900" lvl="2" indent="-342900">
              <a:buFont typeface="Arial" panose="020B0604020202020204" pitchFamily="34" charset="0"/>
              <a:buChar char="•"/>
            </a:pPr>
            <a:r>
              <a:rPr lang="en-GB">
                <a:latin typeface="+mj-lt"/>
              </a:rPr>
              <a:t>Review Performance</a:t>
            </a:r>
          </a:p>
          <a:p>
            <a:pPr marL="1062900" lvl="3" indent="-342900">
              <a:buFont typeface="Arial" panose="020B0604020202020204" pitchFamily="34" charset="0"/>
              <a:buChar char="•"/>
            </a:pPr>
            <a:r>
              <a:rPr lang="en-US">
                <a:latin typeface="+mj-lt"/>
              </a:rPr>
              <a:t>Datasets: detailed metrics on the health of the Power BI datasets in your capacities.</a:t>
            </a:r>
          </a:p>
          <a:p>
            <a:pPr marL="1062900" lvl="3" indent="-342900">
              <a:buFont typeface="Arial" panose="020B0604020202020204" pitchFamily="34" charset="0"/>
              <a:buChar char="•"/>
            </a:pPr>
            <a:r>
              <a:rPr lang="en-US">
                <a:latin typeface="+mj-lt"/>
              </a:rPr>
              <a:t>Paginated Reports: detailed metrics on the health of the paginated reports in your capacities.</a:t>
            </a:r>
          </a:p>
          <a:p>
            <a:pPr marL="1062900" lvl="3" indent="-342900">
              <a:buFont typeface="Arial" panose="020B0604020202020204" pitchFamily="34" charset="0"/>
              <a:buChar char="•"/>
            </a:pPr>
            <a:r>
              <a:rPr lang="en-US">
                <a:latin typeface="+mj-lt"/>
              </a:rPr>
              <a:t>Dataflows: detailed refresh metrics for dataflows in your capacities.</a:t>
            </a:r>
          </a:p>
          <a:p>
            <a:pPr marL="1062900" lvl="3" indent="-342900">
              <a:buFont typeface="Arial" panose="020B0604020202020204" pitchFamily="34" charset="0"/>
              <a:buChar char="•"/>
            </a:pPr>
            <a:r>
              <a:rPr lang="en-US">
                <a:latin typeface="+mj-lt"/>
              </a:rPr>
              <a:t>Resource Consumption: overall capacity metrics including memory and CPU high utilization.</a:t>
            </a:r>
          </a:p>
          <a:p>
            <a:pPr marL="1062900" lvl="3" indent="-342900">
              <a:buFont typeface="Arial" panose="020B0604020202020204" pitchFamily="34" charset="0"/>
              <a:buChar char="•"/>
            </a:pPr>
            <a:r>
              <a:rPr lang="en-US">
                <a:latin typeface="+mj-lt"/>
              </a:rPr>
              <a:t>IDs and Info: names, IDs, and owners for capacities, workspaces, and workloads.</a:t>
            </a:r>
            <a:endParaRPr lang="en-GB">
              <a:latin typeface="+mj-lt"/>
            </a:endParaRPr>
          </a:p>
          <a:p>
            <a:pPr marL="846900" lvl="2" indent="-342900">
              <a:buFont typeface="Arial" panose="020B0604020202020204" pitchFamily="34" charset="0"/>
              <a:buChar char="•"/>
            </a:pPr>
            <a:r>
              <a:rPr lang="en-GB">
                <a:latin typeface="+mj-lt"/>
                <a:hlinkClick r:id="rId4">
                  <a:extLst>
                    <a:ext uri="{A12FA001-AC4F-418D-AE19-62706E023703}">
                      <ahyp:hlinkClr xmlns:ahyp="http://schemas.microsoft.com/office/drawing/2018/hyperlinkcolor" val="tx"/>
                    </a:ext>
                  </a:extLst>
                </a:hlinkClick>
              </a:rPr>
              <a:t>Manage and Optimize Premium capacities</a:t>
            </a:r>
            <a:endParaRPr lang="en-GB">
              <a:latin typeface="+mj-lt"/>
            </a:endParaRPr>
          </a:p>
          <a:p>
            <a:pPr marL="846900" lvl="2" indent="-342900">
              <a:buFont typeface="Arial" panose="020B0604020202020204" pitchFamily="34" charset="0"/>
              <a:buChar char="•"/>
            </a:pPr>
            <a:r>
              <a:rPr lang="en-GB">
                <a:latin typeface="+mj-lt"/>
              </a:rPr>
              <a:t>Based on monitoring consider the following actions:</a:t>
            </a:r>
          </a:p>
          <a:p>
            <a:pPr marL="1062900" lvl="3" indent="-342900">
              <a:buFont typeface="Arial" panose="020B0604020202020204" pitchFamily="34" charset="0"/>
              <a:buChar char="•"/>
            </a:pPr>
            <a:r>
              <a:rPr lang="en-GB">
                <a:latin typeface="+mj-lt"/>
              </a:rPr>
              <a:t>Purchase a new Premium capacity</a:t>
            </a:r>
          </a:p>
          <a:p>
            <a:pPr marL="1062900" lvl="3" indent="-342900">
              <a:buFont typeface="Arial" panose="020B0604020202020204" pitchFamily="34" charset="0"/>
              <a:buChar char="•"/>
            </a:pPr>
            <a:r>
              <a:rPr lang="en-GB" sz="1600">
                <a:latin typeface="+mj-lt"/>
              </a:rPr>
              <a:t>Move workspaces / reports to different capacities</a:t>
            </a:r>
          </a:p>
          <a:p>
            <a:pPr marL="1062900" lvl="3" indent="-342900">
              <a:buFont typeface="Arial" panose="020B0604020202020204" pitchFamily="34" charset="0"/>
              <a:buChar char="•"/>
            </a:pPr>
            <a:r>
              <a:rPr lang="en-GB" sz="1600">
                <a:latin typeface="+mj-lt"/>
              </a:rPr>
              <a:t>Feedback to users to change refresh time or </a:t>
            </a:r>
            <a:r>
              <a:rPr lang="en-GB" sz="1600">
                <a:latin typeface="+mj-lt"/>
                <a:hlinkClick r:id="rId5">
                  <a:extLst>
                    <a:ext uri="{A12FA001-AC4F-418D-AE19-62706E023703}">
                      <ahyp:hlinkClr xmlns:ahyp="http://schemas.microsoft.com/office/drawing/2018/hyperlinkcolor" val="tx"/>
                    </a:ext>
                  </a:extLst>
                </a:hlinkClick>
              </a:rPr>
              <a:t>performance tune report</a:t>
            </a:r>
            <a:endParaRPr lang="en-GB" sz="1600">
              <a:latin typeface="+mj-lt"/>
            </a:endParaRPr>
          </a:p>
          <a:p>
            <a:pPr marL="342900" indent="-342900">
              <a:buFont typeface="Arial" panose="020B0604020202020204" pitchFamily="34" charset="0"/>
              <a:buChar char="•"/>
            </a:pPr>
            <a:endParaRPr lang="en-US" sz="2000"/>
          </a:p>
        </p:txBody>
      </p:sp>
    </p:spTree>
    <p:extLst>
      <p:ext uri="{BB962C8B-B14F-4D97-AF65-F5344CB8AC3E}">
        <p14:creationId xmlns:p14="http://schemas.microsoft.com/office/powerpoint/2010/main" val="2340933294"/>
      </p:ext>
    </p:extLst>
  </p:cSld>
  <p:clrMapOvr>
    <a:masterClrMapping/>
  </p:clrMapOvr>
  <mc:AlternateContent xmlns:mc="http://schemas.openxmlformats.org/markup-compatibility/2006" xmlns:p14="http://schemas.microsoft.com/office/powerpoint/2010/main">
    <mc:Choice Requires="p14">
      <p:transition spd="med" p14:dur="700" advTm="34292">
        <p:fade/>
      </p:transition>
    </mc:Choice>
    <mc:Fallback xmlns="">
      <p:transition spd="med" advTm="34292">
        <p:fade/>
      </p:transition>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357616" y="1422389"/>
            <a:ext cx="10408581" cy="1655108"/>
          </a:xfrm>
        </p:spPr>
        <p:txBody>
          <a:bodyPr/>
          <a:lstStyle/>
          <a:p>
            <a:r>
              <a:rPr lang="de-DE" sz="16000"/>
              <a:t> </a:t>
            </a:r>
            <a:r>
              <a:rPr lang="de-DE"/>
              <a:t> </a:t>
            </a:r>
            <a:r>
              <a:rPr lang="de-DE" sz="6600"/>
              <a:t>Security</a:t>
            </a:r>
            <a:endParaRPr lang="de-DE"/>
          </a:p>
        </p:txBody>
      </p:sp>
    </p:spTree>
    <p:extLst>
      <p:ext uri="{BB962C8B-B14F-4D97-AF65-F5344CB8AC3E}">
        <p14:creationId xmlns:p14="http://schemas.microsoft.com/office/powerpoint/2010/main" val="135557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915546-2A29-4895-8750-D4ED4504078F}"/>
              </a:ext>
            </a:extLst>
          </p:cNvPr>
          <p:cNvSpPr>
            <a:spLocks noGrp="1"/>
          </p:cNvSpPr>
          <p:nvPr>
            <p:ph type="ctrTitle"/>
          </p:nvPr>
        </p:nvSpPr>
        <p:spPr/>
        <p:txBody>
          <a:bodyPr/>
          <a:lstStyle/>
          <a:p>
            <a:r>
              <a:rPr lang="de-DE" err="1"/>
              <a:t>PowerBI</a:t>
            </a:r>
            <a:r>
              <a:rPr lang="de-DE"/>
              <a:t> Security:</a:t>
            </a:r>
            <a:br>
              <a:rPr lang="de-DE"/>
            </a:br>
            <a:r>
              <a:rPr lang="de-DE"/>
              <a:t>User Identity</a:t>
            </a:r>
          </a:p>
        </p:txBody>
      </p:sp>
      <p:sp>
        <p:nvSpPr>
          <p:cNvPr id="3" name="Textplatzhalter 2">
            <a:extLst>
              <a:ext uri="{FF2B5EF4-FFF2-40B4-BE49-F238E27FC236}">
                <a16:creationId xmlns:a16="http://schemas.microsoft.com/office/drawing/2014/main" id="{E5816791-6A30-44FF-9CF7-25A867270B9B}"/>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15322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User Ident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uns on Azure</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Azure Active Director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s and Groups</a:t>
            </a:r>
          </a:p>
        </p:txBody>
      </p:sp>
      <p:pic>
        <p:nvPicPr>
          <p:cNvPr id="3" name="Picture 2" descr="A picture containing object&#10;&#10;Description generated with high confidence">
            <a:extLst>
              <a:ext uri="{FF2B5EF4-FFF2-40B4-BE49-F238E27FC236}">
                <a16:creationId xmlns:a16="http://schemas.microsoft.com/office/drawing/2014/main" id="{C21C6A1C-3477-467F-9FB3-B82E17F58738}"/>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692486" y="3038855"/>
            <a:ext cx="780290" cy="780290"/>
          </a:xfrm>
          <a:prstGeom prst="rect">
            <a:avLst/>
          </a:prstGeom>
        </p:spPr>
      </p:pic>
      <p:pic>
        <p:nvPicPr>
          <p:cNvPr id="12" name="Picture 11">
            <a:extLst>
              <a:ext uri="{FF2B5EF4-FFF2-40B4-BE49-F238E27FC236}">
                <a16:creationId xmlns:a16="http://schemas.microsoft.com/office/drawing/2014/main" id="{7B361BE4-6012-463F-AA7B-32AA35E33B74}"/>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559413" y="1728219"/>
            <a:ext cx="1046436" cy="780291"/>
          </a:xfrm>
          <a:prstGeom prst="rect">
            <a:avLst/>
          </a:prstGeom>
        </p:spPr>
      </p:pic>
      <p:pic>
        <p:nvPicPr>
          <p:cNvPr id="15" name="Graphic 14" descr="Users">
            <a:extLst>
              <a:ext uri="{FF2B5EF4-FFF2-40B4-BE49-F238E27FC236}">
                <a16:creationId xmlns:a16="http://schemas.microsoft.com/office/drawing/2014/main" id="{F3C02EC3-C90E-49F9-B441-67F6E5F502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25431" y="4176289"/>
            <a:ext cx="914400" cy="914400"/>
          </a:xfrm>
          <a:prstGeom prst="rect">
            <a:avLst/>
          </a:prstGeom>
        </p:spPr>
      </p:pic>
    </p:spTree>
    <p:custDataLst>
      <p:tags r:id="rId1"/>
    </p:custDataLst>
    <p:extLst>
      <p:ext uri="{BB962C8B-B14F-4D97-AF65-F5344CB8AC3E}">
        <p14:creationId xmlns:p14="http://schemas.microsoft.com/office/powerpoint/2010/main" val="844301539"/>
      </p:ext>
    </p:extLst>
  </p:cSld>
  <p:clrMapOvr>
    <a:masterClrMapping/>
  </p:clrMapOvr>
  <mc:AlternateContent xmlns:mc="http://schemas.openxmlformats.org/markup-compatibility/2006" xmlns:p14="http://schemas.microsoft.com/office/powerpoint/2010/main">
    <mc:Choice Requires="p14">
      <p:transition spd="med" p14:dur="700" advTm="132130">
        <p:fade/>
      </p:transition>
    </mc:Choice>
    <mc:Fallback xmlns="">
      <p:transition spd="med" advTm="13213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2" end="2"/>
                                            </p:txEl>
                                          </p:spTgt>
                                        </p:tgtEl>
                                        <p:attrNameLst>
                                          <p:attrName>style.visibility</p:attrName>
                                        </p:attrNameLst>
                                      </p:cBhvr>
                                      <p:to>
                                        <p:strVal val="visible"/>
                                      </p:to>
                                    </p:set>
                                    <p:animEffect transition="in" filter="fade">
                                      <p:cBhvr>
                                        <p:cTn id="26"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User Ident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anaged Identiti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Federated Identiti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n-Premises Directory</a:t>
            </a:r>
          </a:p>
        </p:txBody>
      </p:sp>
      <p:pic>
        <p:nvPicPr>
          <p:cNvPr id="5" name="Graphic 4" descr="Building">
            <a:extLst>
              <a:ext uri="{FF2B5EF4-FFF2-40B4-BE49-F238E27FC236}">
                <a16:creationId xmlns:a16="http://schemas.microsoft.com/office/drawing/2014/main" id="{18112B56-7E44-411E-BC06-E4B6D9BFC0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4242623"/>
            <a:ext cx="914400" cy="914400"/>
          </a:xfrm>
          <a:prstGeom prst="rect">
            <a:avLst/>
          </a:prstGeom>
        </p:spPr>
      </p:pic>
      <p:pic>
        <p:nvPicPr>
          <p:cNvPr id="7" name="Graphic 6" descr="Marker">
            <a:extLst>
              <a:ext uri="{FF2B5EF4-FFF2-40B4-BE49-F238E27FC236}">
                <a16:creationId xmlns:a16="http://schemas.microsoft.com/office/drawing/2014/main" id="{2A43A9CE-70AD-4731-B342-5385E086C9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10" name="Graphic 9" descr="User">
            <a:extLst>
              <a:ext uri="{FF2B5EF4-FFF2-40B4-BE49-F238E27FC236}">
                <a16:creationId xmlns:a16="http://schemas.microsoft.com/office/drawing/2014/main" id="{DED8F361-A41A-4D03-A438-117A36F9B1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1700977"/>
            <a:ext cx="914400" cy="914400"/>
          </a:xfrm>
          <a:prstGeom prst="rect">
            <a:avLst/>
          </a:prstGeom>
        </p:spPr>
      </p:pic>
    </p:spTree>
    <p:custDataLst>
      <p:tags r:id="rId1"/>
    </p:custDataLst>
    <p:extLst>
      <p:ext uri="{BB962C8B-B14F-4D97-AF65-F5344CB8AC3E}">
        <p14:creationId xmlns:p14="http://schemas.microsoft.com/office/powerpoint/2010/main" val="2177540266"/>
      </p:ext>
    </p:extLst>
  </p:cSld>
  <p:clrMapOvr>
    <a:masterClrMapping/>
  </p:clrMapOvr>
  <mc:AlternateContent xmlns:mc="http://schemas.openxmlformats.org/markup-compatibility/2006" xmlns:p14="http://schemas.microsoft.com/office/powerpoint/2010/main">
    <mc:Choice Requires="p14">
      <p:transition spd="med" p14:dur="700" advTm="116452">
        <p:fade/>
      </p:transition>
    </mc:Choice>
    <mc:Fallback xmlns="">
      <p:transition spd="med" advTm="11645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2" end="2"/>
                                            </p:txEl>
                                          </p:spTgt>
                                        </p:tgtEl>
                                        <p:attrNameLst>
                                          <p:attrName>style.visibility</p:attrName>
                                        </p:attrNameLst>
                                      </p:cBhvr>
                                      <p:to>
                                        <p:strVal val="visible"/>
                                      </p:to>
                                    </p:set>
                                    <p:animEffect transition="in" filter="fade">
                                      <p:cBhvr>
                                        <p:cTn id="26"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Power BI Authentication</a:t>
            </a:r>
          </a:p>
        </p:txBody>
      </p:sp>
      <p:sp>
        <p:nvSpPr>
          <p:cNvPr id="5" name="Rounded Rectangle 4"/>
          <p:cNvSpPr/>
          <p:nvPr/>
        </p:nvSpPr>
        <p:spPr>
          <a:xfrm>
            <a:off x="4454113" y="4588149"/>
            <a:ext cx="1235651" cy="919812"/>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Browser</a:t>
            </a:r>
          </a:p>
        </p:txBody>
      </p:sp>
      <p:sp>
        <p:nvSpPr>
          <p:cNvPr id="6" name="Flowchart: Connector 5"/>
          <p:cNvSpPr/>
          <p:nvPr/>
        </p:nvSpPr>
        <p:spPr>
          <a:xfrm>
            <a:off x="3247039" y="2558314"/>
            <a:ext cx="1207075" cy="1047601"/>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zure CDN</a:t>
            </a:r>
          </a:p>
        </p:txBody>
      </p:sp>
      <p:sp>
        <p:nvSpPr>
          <p:cNvPr id="7" name="Flowchart: Process 6"/>
          <p:cNvSpPr/>
          <p:nvPr/>
        </p:nvSpPr>
        <p:spPr>
          <a:xfrm>
            <a:off x="4383855" y="1549892"/>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TM</a:t>
            </a:r>
            <a:br>
              <a:rPr kumimoji="0" lang="en-US" sz="1800" b="0" i="0" u="none" strike="noStrike" kern="0" cap="none" spc="0" normalizeH="0" baseline="0" noProof="0">
                <a:ln>
                  <a:noFill/>
                </a:ln>
                <a:solidFill>
                  <a:prstClr val="white"/>
                </a:solidFill>
                <a:effectLst/>
                <a:uLnTx/>
                <a:uFillTx/>
                <a:latin typeface="Segoe UI"/>
                <a:ea typeface="+mn-ea"/>
                <a:cs typeface="+mn-cs"/>
              </a:rPr>
            </a:br>
            <a:r>
              <a:rPr kumimoji="0" lang="en-US" sz="1200" b="0" i="0" u="none" strike="noStrike" kern="0" cap="none" spc="0" normalizeH="0" baseline="0" noProof="0">
                <a:ln>
                  <a:noFill/>
                </a:ln>
                <a:solidFill>
                  <a:prstClr val="white"/>
                </a:solidFill>
                <a:effectLst/>
                <a:uLnTx/>
                <a:uFillTx/>
                <a:latin typeface="Segoe UI"/>
                <a:ea typeface="+mn-ea"/>
                <a:cs typeface="+mn-cs"/>
              </a:rPr>
              <a:t>(Azure Traffic Manager)</a:t>
            </a:r>
          </a:p>
        </p:txBody>
      </p:sp>
      <p:sp>
        <p:nvSpPr>
          <p:cNvPr id="8" name="Flowchart: Process 7"/>
          <p:cNvSpPr/>
          <p:nvPr/>
        </p:nvSpPr>
        <p:spPr>
          <a:xfrm>
            <a:off x="6602778" y="1549892"/>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AD</a:t>
            </a:r>
          </a:p>
        </p:txBody>
      </p:sp>
      <p:grpSp>
        <p:nvGrpSpPr>
          <p:cNvPr id="52" name="Group 51"/>
          <p:cNvGrpSpPr/>
          <p:nvPr/>
        </p:nvGrpSpPr>
        <p:grpSpPr>
          <a:xfrm>
            <a:off x="6471817" y="2558315"/>
            <a:ext cx="1616650" cy="2114252"/>
            <a:chOff x="5381624" y="2795583"/>
            <a:chExt cx="1616879" cy="2114552"/>
          </a:xfrm>
          <a:solidFill>
            <a:schemeClr val="tx1"/>
          </a:solidFill>
        </p:grpSpPr>
        <p:sp>
          <p:nvSpPr>
            <p:cNvPr id="9" name="Flowchart: Process 8"/>
            <p:cNvSpPr/>
            <p:nvPr/>
          </p:nvSpPr>
          <p:spPr>
            <a:xfrm>
              <a:off x="5381624" y="2795583"/>
              <a:ext cx="1616879" cy="2114552"/>
            </a:xfrm>
            <a:prstGeom prst="flowChartProcess">
              <a:avLst/>
            </a:prstGeom>
            <a:grpFill/>
            <a:ln w="254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WFE</a:t>
              </a:r>
            </a:p>
          </p:txBody>
        </p:sp>
        <p:sp>
          <p:nvSpPr>
            <p:cNvPr id="10" name="Flowchart: Process 9"/>
            <p:cNvSpPr/>
            <p:nvPr/>
          </p:nvSpPr>
          <p:spPr>
            <a:xfrm>
              <a:off x="5512604" y="4052884"/>
              <a:ext cx="1376362" cy="747713"/>
            </a:xfrm>
            <a:prstGeom prst="flowChartProcess">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ASP.NET</a:t>
              </a:r>
            </a:p>
          </p:txBody>
        </p:sp>
      </p:grpSp>
      <p:sp>
        <p:nvSpPr>
          <p:cNvPr id="11" name="Flowchart: Process 10"/>
          <p:cNvSpPr/>
          <p:nvPr/>
        </p:nvSpPr>
        <p:spPr>
          <a:xfrm>
            <a:off x="8728922" y="2779738"/>
            <a:ext cx="1947587" cy="604753"/>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Global Servic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Azure Table)</a:t>
            </a:r>
          </a:p>
        </p:txBody>
      </p:sp>
      <p:cxnSp>
        <p:nvCxnSpPr>
          <p:cNvPr id="13" name="Straight Arrow Connector 12"/>
          <p:cNvCxnSpPr>
            <a:stCxn id="6" idx="4"/>
            <a:endCxn id="5" idx="1"/>
          </p:cNvCxnSpPr>
          <p:nvPr/>
        </p:nvCxnSpPr>
        <p:spPr>
          <a:xfrm rot="16200000" flipH="1">
            <a:off x="3431275" y="4025216"/>
            <a:ext cx="1442138" cy="603538"/>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4771944" y="2297499"/>
            <a:ext cx="0" cy="2290650"/>
          </a:xfrm>
          <a:prstGeom prst="straightConnector1">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5" idx="3"/>
            <a:endCxn id="10" idx="1"/>
          </p:cNvCxnSpPr>
          <p:nvPr/>
        </p:nvCxnSpPr>
        <p:spPr>
          <a:xfrm flipV="1">
            <a:off x="5689764" y="4189242"/>
            <a:ext cx="913014" cy="858813"/>
          </a:xfrm>
          <a:prstGeom prst="curvedConnector3">
            <a:avLst>
              <a:gd name="adj1" fmla="val 50000"/>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8" idx="2"/>
            <a:endCxn id="10" idx="0"/>
          </p:cNvCxnSpPr>
          <p:nvPr/>
        </p:nvCxnSpPr>
        <p:spPr>
          <a:xfrm>
            <a:off x="7290862" y="2297499"/>
            <a:ext cx="0" cy="1517939"/>
          </a:xfrm>
          <a:prstGeom prst="straightConnector1">
            <a:avLst/>
          </a:prstGeom>
          <a:ln w="22225">
            <a:solidFill>
              <a:srgbClr val="0078D7"/>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0" idx="3"/>
            <a:endCxn id="11" idx="1"/>
          </p:cNvCxnSpPr>
          <p:nvPr/>
        </p:nvCxnSpPr>
        <p:spPr>
          <a:xfrm flipV="1">
            <a:off x="7978946" y="3082116"/>
            <a:ext cx="749976" cy="1107126"/>
          </a:xfrm>
          <a:prstGeom prst="curvedConnector3">
            <a:avLst>
              <a:gd name="adj1" fmla="val 50000"/>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5" name="Flowchart: Process 34"/>
          <p:cNvSpPr/>
          <p:nvPr/>
        </p:nvSpPr>
        <p:spPr>
          <a:xfrm>
            <a:off x="8595590" y="4327327"/>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Backend Service</a:t>
            </a:r>
          </a:p>
        </p:txBody>
      </p:sp>
      <p:cxnSp>
        <p:nvCxnSpPr>
          <p:cNvPr id="39" name="Curved Connector 38"/>
          <p:cNvCxnSpPr>
            <a:stCxn id="9" idx="2"/>
          </p:cNvCxnSpPr>
          <p:nvPr/>
        </p:nvCxnSpPr>
        <p:spPr>
          <a:xfrm rot="5400000">
            <a:off x="6196866" y="4165466"/>
            <a:ext cx="576177" cy="1590379"/>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1" name="Curved Connector 40"/>
          <p:cNvCxnSpPr>
            <a:stCxn id="5" idx="2"/>
            <a:endCxn id="35" idx="2"/>
          </p:cNvCxnSpPr>
          <p:nvPr/>
        </p:nvCxnSpPr>
        <p:spPr>
          <a:xfrm rot="5400000" flipH="1" flipV="1">
            <a:off x="6961292" y="3185579"/>
            <a:ext cx="433027" cy="4211736"/>
          </a:xfrm>
          <a:prstGeom prst="curvedConnector3">
            <a:avLst>
              <a:gd name="adj1" fmla="val -52784"/>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45" name="Flowchart: Process 44"/>
          <p:cNvSpPr/>
          <p:nvPr/>
        </p:nvSpPr>
        <p:spPr>
          <a:xfrm>
            <a:off x="1389770" y="5507960"/>
            <a:ext cx="1376167" cy="747607"/>
          </a:xfrm>
          <a:prstGeom prst="flowChartProces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a:ea typeface="+mn-ea"/>
                <a:cs typeface="+mn-cs"/>
              </a:rPr>
              <a:t>Microsoft Login</a:t>
            </a:r>
          </a:p>
        </p:txBody>
      </p:sp>
      <p:cxnSp>
        <p:nvCxnSpPr>
          <p:cNvPr id="46" name="Straight Arrow Connector 12"/>
          <p:cNvCxnSpPr>
            <a:stCxn id="5" idx="1"/>
            <a:endCxn id="45" idx="0"/>
          </p:cNvCxnSpPr>
          <p:nvPr/>
        </p:nvCxnSpPr>
        <p:spPr>
          <a:xfrm rot="10800000" flipV="1">
            <a:off x="2077855" y="5048055"/>
            <a:ext cx="2376260" cy="459906"/>
          </a:xfrm>
          <a:prstGeom prst="curvedConnector2">
            <a:avLst/>
          </a:prstGeom>
          <a:ln w="22225">
            <a:solidFill>
              <a:srgbClr val="0078D7"/>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5348124" y="2297499"/>
            <a:ext cx="0" cy="2290650"/>
          </a:xfrm>
          <a:prstGeom prst="straightConnector1">
            <a:avLst/>
          </a:prstGeom>
          <a:ln w="22225">
            <a:solidFill>
              <a:srgbClr val="0078D7"/>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378878" y="5127275"/>
            <a:ext cx="1381144" cy="273280"/>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prstClr val="white"/>
                </a:solidFill>
                <a:effectLst/>
                <a:uLnTx/>
                <a:uFillTx/>
                <a:latin typeface="Segoe UI"/>
                <a:ea typeface="+mn-ea"/>
                <a:cs typeface="+mn-cs"/>
              </a:rPr>
              <a:t>app.powerbi.com</a:t>
            </a:r>
          </a:p>
        </p:txBody>
      </p:sp>
      <p:pic>
        <p:nvPicPr>
          <p:cNvPr id="2" name="Picture 1" descr="File:User icon 2.sv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37645" y="4362251"/>
            <a:ext cx="620629" cy="620629"/>
          </a:xfrm>
          <a:prstGeom prst="rect">
            <a:avLst/>
          </a:prstGeom>
          <a:noFill/>
        </p:spPr>
      </p:pic>
      <p:pic>
        <p:nvPicPr>
          <p:cNvPr id="3" name="Picture 2" descr="Wikipédia:Lumière sur/Internet Explorer — Wikipédia"/>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304299" y="4632842"/>
            <a:ext cx="323112" cy="350038"/>
          </a:xfrm>
          <a:prstGeom prst="rect">
            <a:avLst/>
          </a:prstGeom>
          <a:solidFill>
            <a:schemeClr val="tx1"/>
          </a:solidFill>
        </p:spPr>
      </p:pic>
    </p:spTree>
    <p:custDataLst>
      <p:tags r:id="rId1"/>
    </p:custDataLst>
    <p:extLst>
      <p:ext uri="{BB962C8B-B14F-4D97-AF65-F5344CB8AC3E}">
        <p14:creationId xmlns:p14="http://schemas.microsoft.com/office/powerpoint/2010/main" val="1401909823"/>
      </p:ext>
    </p:extLst>
  </p:cSld>
  <p:clrMapOvr>
    <a:masterClrMapping/>
  </p:clrMapOvr>
  <mc:AlternateContent xmlns:mc="http://schemas.openxmlformats.org/markup-compatibility/2006" xmlns:p14="http://schemas.microsoft.com/office/powerpoint/2010/main">
    <mc:Choice Requires="p14">
      <p:transition spd="med" p14:dur="700" advTm="176590">
        <p:fade/>
      </p:transition>
    </mc:Choice>
    <mc:Fallback xmlns="">
      <p:transition spd="med" advTm="17659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30" presetClass="emph" presetSubtype="0" fill="hold" nodeType="withEffect">
                                  <p:stCondLst>
                                    <p:cond delay="0"/>
                                  </p:stCondLst>
                                  <p:childTnLst>
                                    <p:animClr clrSpc="hsl" dir="cw">
                                      <p:cBhvr override="childStyle">
                                        <p:cTn id="14" dur="500" fill="hold"/>
                                        <p:tgtEl>
                                          <p:spTgt spid="20"/>
                                        </p:tgtEl>
                                        <p:attrNameLst>
                                          <p:attrName>style.color</p:attrName>
                                        </p:attrNameLst>
                                      </p:cBhvr>
                                      <p:by>
                                        <p:hsl h="0" s="12549" l="25098"/>
                                      </p:by>
                                    </p:animClr>
                                    <p:animClr clrSpc="hsl" dir="cw">
                                      <p:cBhvr>
                                        <p:cTn id="15" dur="500" fill="hold"/>
                                        <p:tgtEl>
                                          <p:spTgt spid="20"/>
                                        </p:tgtEl>
                                        <p:attrNameLst>
                                          <p:attrName>fillcolor</p:attrName>
                                        </p:attrNameLst>
                                      </p:cBhvr>
                                      <p:by>
                                        <p:hsl h="0" s="12549" l="25098"/>
                                      </p:by>
                                    </p:animClr>
                                    <p:animClr clrSpc="hsl" dir="cw">
                                      <p:cBhvr>
                                        <p:cTn id="16" dur="500" fill="hold"/>
                                        <p:tgtEl>
                                          <p:spTgt spid="20"/>
                                        </p:tgtEl>
                                        <p:attrNameLst>
                                          <p:attrName>stroke.color</p:attrName>
                                        </p:attrNameLst>
                                      </p:cBhvr>
                                      <p:by>
                                        <p:hsl h="0" s="12549" l="25098"/>
                                      </p:by>
                                    </p:animClr>
                                    <p:set>
                                      <p:cBhvr>
                                        <p:cTn id="17" dur="500" fill="hold"/>
                                        <p:tgtEl>
                                          <p:spTgt spid="20"/>
                                        </p:tgtEl>
                                        <p:attrNameLst>
                                          <p:attrName>fill.type</p:attrName>
                                        </p:attrNameLst>
                                      </p:cBhvr>
                                      <p:to>
                                        <p:strVal val="solid"/>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52"/>
                                        </p:tgtEl>
                                        <p:attrNameLst>
                                          <p:attrName>style.visibility</p:attrName>
                                        </p:attrNameLst>
                                      </p:cBhvr>
                                      <p:to>
                                        <p:strVal val="visible"/>
                                      </p:to>
                                    </p:set>
                                  </p:childTnLst>
                                </p:cTn>
                              </p:par>
                              <p:par>
                                <p:cTn id="24" presetID="30" presetClass="emph" presetSubtype="0" fill="hold" nodeType="withEffect">
                                  <p:stCondLst>
                                    <p:cond delay="0"/>
                                  </p:stCondLst>
                                  <p:childTnLst>
                                    <p:animClr clrSpc="hsl" dir="cw">
                                      <p:cBhvr override="childStyle">
                                        <p:cTn id="25" dur="500" fill="hold"/>
                                        <p:tgtEl>
                                          <p:spTgt spid="50"/>
                                        </p:tgtEl>
                                        <p:attrNameLst>
                                          <p:attrName>style.color</p:attrName>
                                        </p:attrNameLst>
                                      </p:cBhvr>
                                      <p:by>
                                        <p:hsl h="0" s="12549" l="25098"/>
                                      </p:by>
                                    </p:animClr>
                                    <p:animClr clrSpc="hsl" dir="cw">
                                      <p:cBhvr>
                                        <p:cTn id="26" dur="500" fill="hold"/>
                                        <p:tgtEl>
                                          <p:spTgt spid="50"/>
                                        </p:tgtEl>
                                        <p:attrNameLst>
                                          <p:attrName>fillcolor</p:attrName>
                                        </p:attrNameLst>
                                      </p:cBhvr>
                                      <p:by>
                                        <p:hsl h="0" s="12549" l="25098"/>
                                      </p:by>
                                    </p:animClr>
                                    <p:animClr clrSpc="hsl" dir="cw">
                                      <p:cBhvr>
                                        <p:cTn id="27" dur="500" fill="hold"/>
                                        <p:tgtEl>
                                          <p:spTgt spid="50"/>
                                        </p:tgtEl>
                                        <p:attrNameLst>
                                          <p:attrName>stroke.color</p:attrName>
                                        </p:attrNameLst>
                                      </p:cBhvr>
                                      <p:by>
                                        <p:hsl h="0" s="12549" l="25098"/>
                                      </p:by>
                                    </p:animClr>
                                    <p:set>
                                      <p:cBhvr>
                                        <p:cTn id="28" dur="500" fill="hold"/>
                                        <p:tgtEl>
                                          <p:spTgt spid="50"/>
                                        </p:tgtEl>
                                        <p:attrNameLst>
                                          <p:attrName>fill.type</p:attrName>
                                        </p:attrNameLst>
                                      </p:cBhvr>
                                      <p:to>
                                        <p:strVal val="solid"/>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30" presetClass="emph" presetSubtype="0" fill="hold" nodeType="withEffect">
                                  <p:stCondLst>
                                    <p:cond delay="0"/>
                                  </p:stCondLst>
                                  <p:childTnLst>
                                    <p:animClr clrSpc="hsl" dir="cw">
                                      <p:cBhvr override="childStyle">
                                        <p:cTn id="36" dur="500" fill="hold"/>
                                        <p:tgtEl>
                                          <p:spTgt spid="27"/>
                                        </p:tgtEl>
                                        <p:attrNameLst>
                                          <p:attrName>style.color</p:attrName>
                                        </p:attrNameLst>
                                      </p:cBhvr>
                                      <p:by>
                                        <p:hsl h="0" s="12549" l="25098"/>
                                      </p:by>
                                    </p:animClr>
                                    <p:animClr clrSpc="hsl" dir="cw">
                                      <p:cBhvr>
                                        <p:cTn id="37" dur="500" fill="hold"/>
                                        <p:tgtEl>
                                          <p:spTgt spid="27"/>
                                        </p:tgtEl>
                                        <p:attrNameLst>
                                          <p:attrName>fillcolor</p:attrName>
                                        </p:attrNameLst>
                                      </p:cBhvr>
                                      <p:by>
                                        <p:hsl h="0" s="12549" l="25098"/>
                                      </p:by>
                                    </p:animClr>
                                    <p:animClr clrSpc="hsl" dir="cw">
                                      <p:cBhvr>
                                        <p:cTn id="38" dur="500" fill="hold"/>
                                        <p:tgtEl>
                                          <p:spTgt spid="27"/>
                                        </p:tgtEl>
                                        <p:attrNameLst>
                                          <p:attrName>stroke.color</p:attrName>
                                        </p:attrNameLst>
                                      </p:cBhvr>
                                      <p:by>
                                        <p:hsl h="0" s="12549" l="25098"/>
                                      </p:by>
                                    </p:animClr>
                                    <p:set>
                                      <p:cBhvr>
                                        <p:cTn id="39" dur="500" fill="hold"/>
                                        <p:tgtEl>
                                          <p:spTgt spid="27"/>
                                        </p:tgtEl>
                                        <p:attrNameLst>
                                          <p:attrName>fill.type</p:attrName>
                                        </p:attrNameLst>
                                      </p:cBhvr>
                                      <p:to>
                                        <p:strVal val="solid"/>
                                      </p:to>
                                    </p:set>
                                  </p:childTnLst>
                                </p:cTn>
                              </p:par>
                            </p:childTnLst>
                          </p:cTn>
                        </p:par>
                      </p:childTnLst>
                    </p:cTn>
                  </p:par>
                  <p:par>
                    <p:cTn id="40" fill="hold">
                      <p:stCondLst>
                        <p:cond delay="indefinite"/>
                      </p:stCondLst>
                      <p:childTnLst>
                        <p:par>
                          <p:cTn id="41" fill="hold">
                            <p:stCondLst>
                              <p:cond delay="0"/>
                            </p:stCondLst>
                            <p:childTnLst>
                              <p:par>
                                <p:cTn id="42" presetID="24" presetClass="emph" presetSubtype="0" fill="hold" nodeType="clickEffect">
                                  <p:stCondLst>
                                    <p:cond delay="0"/>
                                  </p:stCondLst>
                                  <p:childTnLst>
                                    <p:animClr clrSpc="hsl" dir="cw">
                                      <p:cBhvr override="childStyle">
                                        <p:cTn id="43" dur="500" fill="hold"/>
                                        <p:tgtEl>
                                          <p:spTgt spid="27"/>
                                        </p:tgtEl>
                                        <p:attrNameLst>
                                          <p:attrName>style.color</p:attrName>
                                        </p:attrNameLst>
                                      </p:cBhvr>
                                      <p:by>
                                        <p:hsl h="0" s="-12549" l="-25098"/>
                                      </p:by>
                                    </p:animClr>
                                    <p:animClr clrSpc="hsl" dir="cw">
                                      <p:cBhvr>
                                        <p:cTn id="44" dur="500" fill="hold"/>
                                        <p:tgtEl>
                                          <p:spTgt spid="27"/>
                                        </p:tgtEl>
                                        <p:attrNameLst>
                                          <p:attrName>fillcolor</p:attrName>
                                        </p:attrNameLst>
                                      </p:cBhvr>
                                      <p:by>
                                        <p:hsl h="0" s="-12549" l="-25098"/>
                                      </p:by>
                                    </p:animClr>
                                    <p:animClr clrSpc="hsl" dir="cw">
                                      <p:cBhvr>
                                        <p:cTn id="45" dur="500" fill="hold"/>
                                        <p:tgtEl>
                                          <p:spTgt spid="27"/>
                                        </p:tgtEl>
                                        <p:attrNameLst>
                                          <p:attrName>stroke.color</p:attrName>
                                        </p:attrNameLst>
                                      </p:cBhvr>
                                      <p:by>
                                        <p:hsl h="0" s="-12549" l="-25098"/>
                                      </p:by>
                                    </p:animClr>
                                    <p:set>
                                      <p:cBhvr>
                                        <p:cTn id="46" dur="500" fill="hold"/>
                                        <p:tgtEl>
                                          <p:spTgt spid="27"/>
                                        </p:tgtEl>
                                        <p:attrNameLst>
                                          <p:attrName>fill.type</p:attrName>
                                        </p:attrNameLst>
                                      </p:cBhvr>
                                      <p:to>
                                        <p:strVal val="solid"/>
                                      </p:to>
                                    </p:set>
                                  </p:childTnLst>
                                </p:cTn>
                              </p:par>
                              <p:par>
                                <p:cTn id="47" presetID="30" presetClass="emph" presetSubtype="0" fill="hold" nodeType="withEffect">
                                  <p:stCondLst>
                                    <p:cond delay="0"/>
                                  </p:stCondLst>
                                  <p:childTnLst>
                                    <p:animClr clrSpc="hsl" dir="cw">
                                      <p:cBhvr override="childStyle">
                                        <p:cTn id="48" dur="500" fill="hold"/>
                                        <p:tgtEl>
                                          <p:spTgt spid="46"/>
                                        </p:tgtEl>
                                        <p:attrNameLst>
                                          <p:attrName>style.color</p:attrName>
                                        </p:attrNameLst>
                                      </p:cBhvr>
                                      <p:by>
                                        <p:hsl h="0" s="12549" l="25098"/>
                                      </p:by>
                                    </p:animClr>
                                    <p:animClr clrSpc="hsl" dir="cw">
                                      <p:cBhvr>
                                        <p:cTn id="49" dur="500" fill="hold"/>
                                        <p:tgtEl>
                                          <p:spTgt spid="46"/>
                                        </p:tgtEl>
                                        <p:attrNameLst>
                                          <p:attrName>fillcolor</p:attrName>
                                        </p:attrNameLst>
                                      </p:cBhvr>
                                      <p:by>
                                        <p:hsl h="0" s="12549" l="25098"/>
                                      </p:by>
                                    </p:animClr>
                                    <p:animClr clrSpc="hsl" dir="cw">
                                      <p:cBhvr>
                                        <p:cTn id="50" dur="500" fill="hold"/>
                                        <p:tgtEl>
                                          <p:spTgt spid="46"/>
                                        </p:tgtEl>
                                        <p:attrNameLst>
                                          <p:attrName>stroke.color</p:attrName>
                                        </p:attrNameLst>
                                      </p:cBhvr>
                                      <p:by>
                                        <p:hsl h="0" s="12549" l="25098"/>
                                      </p:by>
                                    </p:animClr>
                                    <p:set>
                                      <p:cBhvr>
                                        <p:cTn id="51" dur="500" fill="hold"/>
                                        <p:tgtEl>
                                          <p:spTgt spid="46"/>
                                        </p:tgtEl>
                                        <p:attrNameLst>
                                          <p:attrName>fill.type</p:attrName>
                                        </p:attrNameLst>
                                      </p:cBhvr>
                                      <p:to>
                                        <p:strVal val="solid"/>
                                      </p:to>
                                    </p:set>
                                  </p:childTnLst>
                                </p:cTn>
                              </p:par>
                              <p:par>
                                <p:cTn id="52" presetID="1" presetClass="entr" presetSubtype="0" fill="hold" nodeType="withEffect">
                                  <p:stCondLst>
                                    <p:cond delay="0"/>
                                  </p:stCondLst>
                                  <p:childTnLst>
                                    <p:set>
                                      <p:cBhvr>
                                        <p:cTn id="53" dur="1" fill="hold">
                                          <p:stCondLst>
                                            <p:cond delay="0"/>
                                          </p:stCondLst>
                                        </p:cTn>
                                        <p:tgtEl>
                                          <p:spTgt spid="3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8"/>
                                        </p:tgtEl>
                                        <p:attrNameLst>
                                          <p:attrName>style.visibility</p:attrName>
                                        </p:attrNameLst>
                                      </p:cBhvr>
                                      <p:to>
                                        <p:strVal val="visible"/>
                                      </p:to>
                                    </p:set>
                                  </p:childTnLst>
                                </p:cTn>
                              </p:par>
                              <p:par>
                                <p:cTn id="56" presetID="30" presetClass="emph" presetSubtype="0" fill="hold" nodeType="withEffect">
                                  <p:stCondLst>
                                    <p:cond delay="0"/>
                                  </p:stCondLst>
                                  <p:childTnLst>
                                    <p:animClr clrSpc="hsl" dir="cw">
                                      <p:cBhvr override="childStyle">
                                        <p:cTn id="57" dur="500" fill="hold"/>
                                        <p:tgtEl>
                                          <p:spTgt spid="27"/>
                                        </p:tgtEl>
                                        <p:attrNameLst>
                                          <p:attrName>style.color</p:attrName>
                                        </p:attrNameLst>
                                      </p:cBhvr>
                                      <p:by>
                                        <p:hsl h="0" s="12549" l="25098"/>
                                      </p:by>
                                    </p:animClr>
                                    <p:animClr clrSpc="hsl" dir="cw">
                                      <p:cBhvr>
                                        <p:cTn id="58" dur="500" fill="hold"/>
                                        <p:tgtEl>
                                          <p:spTgt spid="27"/>
                                        </p:tgtEl>
                                        <p:attrNameLst>
                                          <p:attrName>fillcolor</p:attrName>
                                        </p:attrNameLst>
                                      </p:cBhvr>
                                      <p:by>
                                        <p:hsl h="0" s="12549" l="25098"/>
                                      </p:by>
                                    </p:animClr>
                                    <p:animClr clrSpc="hsl" dir="cw">
                                      <p:cBhvr>
                                        <p:cTn id="59" dur="500" fill="hold"/>
                                        <p:tgtEl>
                                          <p:spTgt spid="27"/>
                                        </p:tgtEl>
                                        <p:attrNameLst>
                                          <p:attrName>stroke.color</p:attrName>
                                        </p:attrNameLst>
                                      </p:cBhvr>
                                      <p:by>
                                        <p:hsl h="0" s="12549" l="25098"/>
                                      </p:by>
                                    </p:animClr>
                                    <p:set>
                                      <p:cBhvr>
                                        <p:cTn id="60" dur="500" fill="hold"/>
                                        <p:tgtEl>
                                          <p:spTgt spid="27"/>
                                        </p:tgtEl>
                                        <p:attrNameLst>
                                          <p:attrName>fill.type</p:attrName>
                                        </p:attrNameLst>
                                      </p:cBhvr>
                                      <p:to>
                                        <p:strVal val="solid"/>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par>
                                <p:cTn id="67" presetID="30" presetClass="emph" presetSubtype="0" fill="hold" nodeType="withEffect">
                                  <p:stCondLst>
                                    <p:cond delay="0"/>
                                  </p:stCondLst>
                                  <p:childTnLst>
                                    <p:animClr clrSpc="hsl" dir="cw">
                                      <p:cBhvr override="childStyle">
                                        <p:cTn id="68" dur="500" fill="hold"/>
                                        <p:tgtEl>
                                          <p:spTgt spid="31"/>
                                        </p:tgtEl>
                                        <p:attrNameLst>
                                          <p:attrName>style.color</p:attrName>
                                        </p:attrNameLst>
                                      </p:cBhvr>
                                      <p:by>
                                        <p:hsl h="0" s="12549" l="25098"/>
                                      </p:by>
                                    </p:animClr>
                                    <p:animClr clrSpc="hsl" dir="cw">
                                      <p:cBhvr>
                                        <p:cTn id="69" dur="500" fill="hold"/>
                                        <p:tgtEl>
                                          <p:spTgt spid="31"/>
                                        </p:tgtEl>
                                        <p:attrNameLst>
                                          <p:attrName>fillcolor</p:attrName>
                                        </p:attrNameLst>
                                      </p:cBhvr>
                                      <p:by>
                                        <p:hsl h="0" s="12549" l="25098"/>
                                      </p:by>
                                    </p:animClr>
                                    <p:animClr clrSpc="hsl" dir="cw">
                                      <p:cBhvr>
                                        <p:cTn id="70" dur="500" fill="hold"/>
                                        <p:tgtEl>
                                          <p:spTgt spid="31"/>
                                        </p:tgtEl>
                                        <p:attrNameLst>
                                          <p:attrName>stroke.color</p:attrName>
                                        </p:attrNameLst>
                                      </p:cBhvr>
                                      <p:by>
                                        <p:hsl h="0" s="12549" l="25098"/>
                                      </p:by>
                                    </p:animClr>
                                    <p:set>
                                      <p:cBhvr>
                                        <p:cTn id="71" dur="500" fill="hold"/>
                                        <p:tgtEl>
                                          <p:spTgt spid="31"/>
                                        </p:tgtEl>
                                        <p:attrNameLst>
                                          <p:attrName>fill.type</p:attrName>
                                        </p:attrNameLst>
                                      </p:cBhvr>
                                      <p:to>
                                        <p:strVal val="solid"/>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39"/>
                                        </p:tgtEl>
                                        <p:attrNameLst>
                                          <p:attrName>style.visibility</p:attrName>
                                        </p:attrNameLst>
                                      </p:cBhvr>
                                      <p:to>
                                        <p:strVal val="visible"/>
                                      </p:to>
                                    </p:set>
                                  </p:childTnLst>
                                </p:cTn>
                              </p:par>
                              <p:par>
                                <p:cTn id="76" presetID="30" presetClass="emph" presetSubtype="0" fill="hold" nodeType="withEffect">
                                  <p:stCondLst>
                                    <p:cond delay="0"/>
                                  </p:stCondLst>
                                  <p:childTnLst>
                                    <p:animClr clrSpc="hsl" dir="cw">
                                      <p:cBhvr override="childStyle">
                                        <p:cTn id="77" dur="500" fill="hold"/>
                                        <p:tgtEl>
                                          <p:spTgt spid="33"/>
                                        </p:tgtEl>
                                        <p:attrNameLst>
                                          <p:attrName>style.color</p:attrName>
                                        </p:attrNameLst>
                                      </p:cBhvr>
                                      <p:by>
                                        <p:hsl h="0" s="12549" l="25098"/>
                                      </p:by>
                                    </p:animClr>
                                    <p:animClr clrSpc="hsl" dir="cw">
                                      <p:cBhvr>
                                        <p:cTn id="78" dur="500" fill="hold"/>
                                        <p:tgtEl>
                                          <p:spTgt spid="33"/>
                                        </p:tgtEl>
                                        <p:attrNameLst>
                                          <p:attrName>fillcolor</p:attrName>
                                        </p:attrNameLst>
                                      </p:cBhvr>
                                      <p:by>
                                        <p:hsl h="0" s="12549" l="25098"/>
                                      </p:by>
                                    </p:animClr>
                                    <p:animClr clrSpc="hsl" dir="cw">
                                      <p:cBhvr>
                                        <p:cTn id="79" dur="500" fill="hold"/>
                                        <p:tgtEl>
                                          <p:spTgt spid="33"/>
                                        </p:tgtEl>
                                        <p:attrNameLst>
                                          <p:attrName>stroke.color</p:attrName>
                                        </p:attrNameLst>
                                      </p:cBhvr>
                                      <p:by>
                                        <p:hsl h="0" s="12549" l="25098"/>
                                      </p:by>
                                    </p:animClr>
                                    <p:set>
                                      <p:cBhvr>
                                        <p:cTn id="80" dur="500" fill="hold"/>
                                        <p:tgtEl>
                                          <p:spTgt spid="33"/>
                                        </p:tgtEl>
                                        <p:attrNameLst>
                                          <p:attrName>fill.type</p:attrName>
                                        </p:attrNameLst>
                                      </p:cBhvr>
                                      <p:to>
                                        <p:strVal val="solid"/>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1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41"/>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35"/>
                                        </p:tgtEl>
                                        <p:attrNameLst>
                                          <p:attrName>style.visibility</p:attrName>
                                        </p:attrNameLst>
                                      </p:cBhvr>
                                      <p:to>
                                        <p:strVal val="visible"/>
                                      </p:to>
                                    </p:set>
                                  </p:childTnLst>
                                </p:cTn>
                              </p:par>
                            </p:childTnLst>
                          </p:cTn>
                        </p:par>
                        <p:par>
                          <p:cTn id="93" fill="hold">
                            <p:stCondLst>
                              <p:cond delay="0"/>
                            </p:stCondLst>
                            <p:childTnLst>
                              <p:par>
                                <p:cTn id="94" presetID="30" presetClass="emph" presetSubtype="0" fill="hold" nodeType="afterEffect">
                                  <p:stCondLst>
                                    <p:cond delay="0"/>
                                  </p:stCondLst>
                                  <p:childTnLst>
                                    <p:animClr clrSpc="hsl" dir="cw">
                                      <p:cBhvr override="childStyle">
                                        <p:cTn id="95" dur="500" fill="hold"/>
                                        <p:tgtEl>
                                          <p:spTgt spid="13"/>
                                        </p:tgtEl>
                                        <p:attrNameLst>
                                          <p:attrName>style.color</p:attrName>
                                        </p:attrNameLst>
                                      </p:cBhvr>
                                      <p:by>
                                        <p:hsl h="0" s="12549" l="25098"/>
                                      </p:by>
                                    </p:animClr>
                                    <p:animClr clrSpc="hsl" dir="cw">
                                      <p:cBhvr>
                                        <p:cTn id="96" dur="500" fill="hold"/>
                                        <p:tgtEl>
                                          <p:spTgt spid="13"/>
                                        </p:tgtEl>
                                        <p:attrNameLst>
                                          <p:attrName>fillcolor</p:attrName>
                                        </p:attrNameLst>
                                      </p:cBhvr>
                                      <p:by>
                                        <p:hsl h="0" s="12549" l="25098"/>
                                      </p:by>
                                    </p:animClr>
                                    <p:animClr clrSpc="hsl" dir="cw">
                                      <p:cBhvr>
                                        <p:cTn id="97" dur="500" fill="hold"/>
                                        <p:tgtEl>
                                          <p:spTgt spid="13"/>
                                        </p:tgtEl>
                                        <p:attrNameLst>
                                          <p:attrName>stroke.color</p:attrName>
                                        </p:attrNameLst>
                                      </p:cBhvr>
                                      <p:by>
                                        <p:hsl h="0" s="12549" l="25098"/>
                                      </p:by>
                                    </p:animClr>
                                    <p:set>
                                      <p:cBhvr>
                                        <p:cTn id="98" dur="500" fill="hold"/>
                                        <p:tgtEl>
                                          <p:spTgt spid="13"/>
                                        </p:tgtEl>
                                        <p:attrNameLst>
                                          <p:attrName>fill.type</p:attrName>
                                        </p:attrNameLst>
                                      </p:cBhvr>
                                      <p:to>
                                        <p:strVal val="solid"/>
                                      </p:to>
                                    </p:set>
                                  </p:childTnLst>
                                </p:cTn>
                              </p:par>
                              <p:par>
                                <p:cTn id="99" presetID="30" presetClass="emph" presetSubtype="0" fill="hold" nodeType="withEffect">
                                  <p:stCondLst>
                                    <p:cond delay="0"/>
                                  </p:stCondLst>
                                  <p:childTnLst>
                                    <p:animClr clrSpc="hsl" dir="cw">
                                      <p:cBhvr override="childStyle">
                                        <p:cTn id="100" dur="500" fill="hold"/>
                                        <p:tgtEl>
                                          <p:spTgt spid="39"/>
                                        </p:tgtEl>
                                        <p:attrNameLst>
                                          <p:attrName>style.color</p:attrName>
                                        </p:attrNameLst>
                                      </p:cBhvr>
                                      <p:by>
                                        <p:hsl h="0" s="12549" l="25098"/>
                                      </p:by>
                                    </p:animClr>
                                    <p:animClr clrSpc="hsl" dir="cw">
                                      <p:cBhvr>
                                        <p:cTn id="101" dur="500" fill="hold"/>
                                        <p:tgtEl>
                                          <p:spTgt spid="39"/>
                                        </p:tgtEl>
                                        <p:attrNameLst>
                                          <p:attrName>fillcolor</p:attrName>
                                        </p:attrNameLst>
                                      </p:cBhvr>
                                      <p:by>
                                        <p:hsl h="0" s="12549" l="25098"/>
                                      </p:by>
                                    </p:animClr>
                                    <p:animClr clrSpc="hsl" dir="cw">
                                      <p:cBhvr>
                                        <p:cTn id="102" dur="500" fill="hold"/>
                                        <p:tgtEl>
                                          <p:spTgt spid="39"/>
                                        </p:tgtEl>
                                        <p:attrNameLst>
                                          <p:attrName>stroke.color</p:attrName>
                                        </p:attrNameLst>
                                      </p:cBhvr>
                                      <p:by>
                                        <p:hsl h="0" s="12549" l="25098"/>
                                      </p:by>
                                    </p:animClr>
                                    <p:set>
                                      <p:cBhvr>
                                        <p:cTn id="103" dur="500" fill="hold"/>
                                        <p:tgtEl>
                                          <p:spTgt spid="3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1" grpId="0" animBg="1"/>
      <p:bldP spid="35" grpId="0" animBg="1"/>
      <p:bldP spid="45" grpId="0" animBg="1"/>
    </p:bld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object&#10;&#10;Description generated with high confidence">
            <a:extLst>
              <a:ext uri="{FF2B5EF4-FFF2-40B4-BE49-F238E27FC236}">
                <a16:creationId xmlns:a16="http://schemas.microsoft.com/office/drawing/2014/main" id="{2C3CFFCE-723E-4F07-A5BE-ED78A283FD98}"/>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692486" y="1404930"/>
            <a:ext cx="780290" cy="780290"/>
          </a:xfrm>
          <a:prstGeom prst="rect">
            <a:avLst/>
          </a:prstGeom>
        </p:spPr>
      </p:pic>
      <p:pic>
        <p:nvPicPr>
          <p:cNvPr id="9" name="Picture 8">
            <a:extLst>
              <a:ext uri="{FF2B5EF4-FFF2-40B4-BE49-F238E27FC236}">
                <a16:creationId xmlns:a16="http://schemas.microsoft.com/office/drawing/2014/main" id="{5FA4314E-ACB1-4BE8-88F7-092688DEB5E8}"/>
              </a:ext>
            </a:extLst>
          </p:cNvPr>
          <p:cNvPicPr>
            <a:picLocks noChangeAspect="1"/>
          </p:cNvPicPr>
          <p:nvPr/>
        </p:nvPicPr>
        <p:blipFill>
          <a:blip r:embed="rId4"/>
          <a:stretch>
            <a:fillRect/>
          </a:stretch>
        </p:blipFill>
        <p:spPr>
          <a:xfrm>
            <a:off x="913647" y="2583543"/>
            <a:ext cx="3444498" cy="3733800"/>
          </a:xfrm>
          <a:prstGeom prst="rect">
            <a:avLst/>
          </a:prstGeom>
        </p:spPr>
      </p:pic>
      <p:sp>
        <p:nvSpPr>
          <p:cNvPr id="2" name="Title 1"/>
          <p:cNvSpPr>
            <a:spLocks noGrp="1"/>
          </p:cNvSpPr>
          <p:nvPr>
            <p:ph type="title"/>
          </p:nvPr>
        </p:nvSpPr>
        <p:spPr>
          <a:xfrm>
            <a:off x="148770" y="224971"/>
            <a:ext cx="5066323" cy="2358572"/>
          </a:xfrm>
        </p:spPr>
        <p:txBody>
          <a:bodyPr/>
          <a:lstStyle/>
          <a:p>
            <a:r>
              <a:rPr lang="en-GB"/>
              <a:t>Multi-Factor Authentication</a:t>
            </a:r>
          </a:p>
        </p:txBody>
      </p:sp>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985318"/>
            <a:ext cx="5476266" cy="488736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ffice 365 / AAD Premium</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hone Call</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xt</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pp</a:t>
            </a:r>
          </a:p>
        </p:txBody>
      </p:sp>
      <p:pic>
        <p:nvPicPr>
          <p:cNvPr id="4" name="Graphic 3" descr="Receiver">
            <a:extLst>
              <a:ext uri="{FF2B5EF4-FFF2-40B4-BE49-F238E27FC236}">
                <a16:creationId xmlns:a16="http://schemas.microsoft.com/office/drawing/2014/main" id="{71B4DD9F-5D83-480D-8177-84A80B9838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514600"/>
            <a:ext cx="914400" cy="914400"/>
          </a:xfrm>
          <a:prstGeom prst="rect">
            <a:avLst/>
          </a:prstGeom>
        </p:spPr>
      </p:pic>
      <p:pic>
        <p:nvPicPr>
          <p:cNvPr id="13" name="Graphic 12" descr="Smart Phone">
            <a:extLst>
              <a:ext uri="{FF2B5EF4-FFF2-40B4-BE49-F238E27FC236}">
                <a16:creationId xmlns:a16="http://schemas.microsoft.com/office/drawing/2014/main" id="{46BDF96A-582D-4083-B772-23698F14E3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958282"/>
            <a:ext cx="914400" cy="914400"/>
          </a:xfrm>
          <a:prstGeom prst="rect">
            <a:avLst/>
          </a:prstGeom>
        </p:spPr>
      </p:pic>
      <p:pic>
        <p:nvPicPr>
          <p:cNvPr id="16" name="Graphic 15" descr="Speech">
            <a:extLst>
              <a:ext uri="{FF2B5EF4-FFF2-40B4-BE49-F238E27FC236}">
                <a16:creationId xmlns:a16="http://schemas.microsoft.com/office/drawing/2014/main" id="{671A48CA-75A3-4289-A3CE-7E629FD33D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4968" y="3758380"/>
            <a:ext cx="914400" cy="914400"/>
          </a:xfrm>
          <a:prstGeom prst="rect">
            <a:avLst/>
          </a:prstGeom>
        </p:spPr>
      </p:pic>
    </p:spTree>
    <p:extLst>
      <p:ext uri="{BB962C8B-B14F-4D97-AF65-F5344CB8AC3E}">
        <p14:creationId xmlns:p14="http://schemas.microsoft.com/office/powerpoint/2010/main" val="4079025616"/>
      </p:ext>
    </p:extLst>
  </p:cSld>
  <p:clrMapOvr>
    <a:masterClrMapping/>
  </p:clrMapOvr>
  <mc:AlternateContent xmlns:mc="http://schemas.openxmlformats.org/markup-compatibility/2006" xmlns:p14="http://schemas.microsoft.com/office/powerpoint/2010/main">
    <mc:Choice Requires="p14">
      <p:transition spd="med" p14:dur="700" advTm="31369">
        <p:fade/>
      </p:transition>
    </mc:Choice>
    <mc:Fallback xmlns="">
      <p:transition spd="med" advTm="31369">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704F88D3-3795-4B4D-B4CF-1E5855CEE22C}"/>
              </a:ext>
            </a:extLst>
          </p:cNvPr>
          <p:cNvSpPr/>
          <p:nvPr/>
        </p:nvSpPr>
        <p:spPr>
          <a:xfrm>
            <a:off x="5187551" y="3157861"/>
            <a:ext cx="1623382" cy="1623382"/>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60D29BB2-5BD6-41B3-AAEE-AB034086F74C}"/>
              </a:ext>
            </a:extLst>
          </p:cNvPr>
          <p:cNvGrpSpPr/>
          <p:nvPr/>
        </p:nvGrpSpPr>
        <p:grpSpPr>
          <a:xfrm>
            <a:off x="3797258" y="1474790"/>
            <a:ext cx="4403978" cy="3883371"/>
            <a:chOff x="13097640" y="3673398"/>
            <a:chExt cx="7223064" cy="6369204"/>
          </a:xfrm>
        </p:grpSpPr>
        <p:sp>
          <p:nvSpPr>
            <p:cNvPr id="14" name="Freeform 16">
              <a:extLst>
                <a:ext uri="{FF2B5EF4-FFF2-40B4-BE49-F238E27FC236}">
                  <a16:creationId xmlns:a16="http://schemas.microsoft.com/office/drawing/2014/main" id="{51BF2C30-A9A9-404F-A202-A8240B8792A1}"/>
                </a:ext>
              </a:extLst>
            </p:cNvPr>
            <p:cNvSpPr/>
            <p:nvPr/>
          </p:nvSpPr>
          <p:spPr>
            <a:xfrm>
              <a:off x="17374536" y="7140726"/>
              <a:ext cx="2946168" cy="2901876"/>
            </a:xfrm>
            <a:custGeom>
              <a:avLst/>
              <a:gdLst/>
              <a:ahLst/>
              <a:cxnLst>
                <a:cxn ang="0">
                  <a:pos x="wd2" y="hd2"/>
                </a:cxn>
                <a:cxn ang="5400000">
                  <a:pos x="wd2" y="hd2"/>
                </a:cxn>
                <a:cxn ang="10800000">
                  <a:pos x="wd2" y="hd2"/>
                </a:cxn>
                <a:cxn ang="16200000">
                  <a:pos x="wd2" y="hd2"/>
                </a:cxn>
              </a:cxnLst>
              <a:rect l="0" t="0" r="r" b="b"/>
              <a:pathLst>
                <a:path w="20954" h="20847" extrusionOk="0">
                  <a:moveTo>
                    <a:pt x="0" y="20731"/>
                  </a:moveTo>
                  <a:cubicBezTo>
                    <a:pt x="191" y="20770"/>
                    <a:pt x="343" y="20770"/>
                    <a:pt x="534" y="20770"/>
                  </a:cubicBezTo>
                  <a:cubicBezTo>
                    <a:pt x="8396" y="20808"/>
                    <a:pt x="8396" y="20808"/>
                    <a:pt x="8396" y="20808"/>
                  </a:cubicBezTo>
                  <a:cubicBezTo>
                    <a:pt x="18318" y="20847"/>
                    <a:pt x="18318" y="20847"/>
                    <a:pt x="18318" y="20847"/>
                  </a:cubicBezTo>
                  <a:cubicBezTo>
                    <a:pt x="20341" y="20847"/>
                    <a:pt x="21600" y="18648"/>
                    <a:pt x="20608" y="16874"/>
                  </a:cubicBezTo>
                  <a:cubicBezTo>
                    <a:pt x="15608" y="8196"/>
                    <a:pt x="15608" y="8196"/>
                    <a:pt x="15608" y="8196"/>
                  </a:cubicBezTo>
                  <a:cubicBezTo>
                    <a:pt x="11678" y="1330"/>
                    <a:pt x="11678" y="1330"/>
                    <a:pt x="11678" y="1330"/>
                  </a:cubicBezTo>
                  <a:cubicBezTo>
                    <a:pt x="10457" y="-753"/>
                    <a:pt x="7365" y="-290"/>
                    <a:pt x="6831" y="2024"/>
                  </a:cubicBezTo>
                  <a:cubicBezTo>
                    <a:pt x="5076" y="9584"/>
                    <a:pt x="5076" y="9584"/>
                    <a:pt x="5076" y="9584"/>
                  </a:cubicBezTo>
                  <a:cubicBezTo>
                    <a:pt x="5037" y="9661"/>
                    <a:pt x="5037" y="9738"/>
                    <a:pt x="4999" y="9816"/>
                  </a:cubicBezTo>
                  <a:cubicBezTo>
                    <a:pt x="2786" y="18726"/>
                    <a:pt x="2786" y="18726"/>
                    <a:pt x="2786" y="18726"/>
                  </a:cubicBezTo>
                  <a:cubicBezTo>
                    <a:pt x="2442" y="20076"/>
                    <a:pt x="1221" y="20847"/>
                    <a:pt x="0" y="20731"/>
                  </a:cubicBezTo>
                  <a:close/>
                </a:path>
              </a:pathLst>
            </a:custGeom>
            <a:solidFill>
              <a:schemeClr val="accent1"/>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5" name="Freeform 17">
              <a:extLst>
                <a:ext uri="{FF2B5EF4-FFF2-40B4-BE49-F238E27FC236}">
                  <a16:creationId xmlns:a16="http://schemas.microsoft.com/office/drawing/2014/main" id="{6EBDEC7A-2733-4725-9E84-D740E03BA095}"/>
                </a:ext>
              </a:extLst>
            </p:cNvPr>
            <p:cNvSpPr/>
            <p:nvPr/>
          </p:nvSpPr>
          <p:spPr>
            <a:xfrm>
              <a:off x="17081450" y="8507798"/>
              <a:ext cx="996447" cy="1520292"/>
            </a:xfrm>
            <a:custGeom>
              <a:avLst/>
              <a:gdLst/>
              <a:ahLst/>
              <a:cxnLst>
                <a:cxn ang="0">
                  <a:pos x="wd2" y="hd2"/>
                </a:cxn>
                <a:cxn ang="5400000">
                  <a:pos x="wd2" y="hd2"/>
                </a:cxn>
                <a:cxn ang="10800000">
                  <a:pos x="wd2" y="hd2"/>
                </a:cxn>
                <a:cxn ang="16200000">
                  <a:pos x="wd2" y="hd2"/>
                </a:cxn>
              </a:cxnLst>
              <a:rect l="0" t="0" r="r" b="b"/>
              <a:pathLst>
                <a:path w="19479" h="21396" extrusionOk="0">
                  <a:moveTo>
                    <a:pt x="13397" y="17446"/>
                  </a:moveTo>
                  <a:cubicBezTo>
                    <a:pt x="19479" y="0"/>
                    <a:pt x="19479" y="0"/>
                    <a:pt x="19479" y="0"/>
                  </a:cubicBezTo>
                  <a:cubicBezTo>
                    <a:pt x="19060" y="755"/>
                    <a:pt x="18430" y="1510"/>
                    <a:pt x="17592" y="2115"/>
                  </a:cubicBezTo>
                  <a:cubicBezTo>
                    <a:pt x="2283" y="12537"/>
                    <a:pt x="2283" y="12537"/>
                    <a:pt x="2283" y="12537"/>
                  </a:cubicBezTo>
                  <a:cubicBezTo>
                    <a:pt x="-2121" y="15483"/>
                    <a:pt x="291" y="20543"/>
                    <a:pt x="5743" y="21373"/>
                  </a:cubicBezTo>
                  <a:cubicBezTo>
                    <a:pt x="9098" y="21600"/>
                    <a:pt x="12454" y="20090"/>
                    <a:pt x="13397" y="17446"/>
                  </a:cubicBezTo>
                  <a:close/>
                </a:path>
              </a:pathLst>
            </a:custGeom>
            <a:solidFill>
              <a:schemeClr val="accent1">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6" name="Freeform 18">
              <a:extLst>
                <a:ext uri="{FF2B5EF4-FFF2-40B4-BE49-F238E27FC236}">
                  <a16:creationId xmlns:a16="http://schemas.microsoft.com/office/drawing/2014/main" id="{DFA01746-EF8F-4524-8FDB-5E850DBB1B0F}"/>
                </a:ext>
              </a:extLst>
            </p:cNvPr>
            <p:cNvSpPr/>
            <p:nvPr/>
          </p:nvSpPr>
          <p:spPr>
            <a:xfrm>
              <a:off x="13097640" y="7246525"/>
              <a:ext cx="3239521" cy="2780880"/>
            </a:xfrm>
            <a:custGeom>
              <a:avLst/>
              <a:gdLst/>
              <a:ahLst/>
              <a:cxnLst>
                <a:cxn ang="0">
                  <a:pos x="wd2" y="hd2"/>
                </a:cxn>
                <a:cxn ang="5400000">
                  <a:pos x="wd2" y="hd2"/>
                </a:cxn>
                <a:cxn ang="10800000">
                  <a:pos x="wd2" y="hd2"/>
                </a:cxn>
                <a:cxn ang="16200000">
                  <a:pos x="wd2" y="hd2"/>
                </a:cxn>
              </a:cxnLst>
              <a:rect l="0" t="0" r="r" b="b"/>
              <a:pathLst>
                <a:path w="20247" h="21600" extrusionOk="0">
                  <a:moveTo>
                    <a:pt x="8454" y="0"/>
                  </a:moveTo>
                  <a:cubicBezTo>
                    <a:pt x="8354" y="167"/>
                    <a:pt x="8253" y="334"/>
                    <a:pt x="8152" y="500"/>
                  </a:cubicBezTo>
                  <a:cubicBezTo>
                    <a:pt x="4698" y="7923"/>
                    <a:pt x="4698" y="7923"/>
                    <a:pt x="4698" y="7923"/>
                  </a:cubicBezTo>
                  <a:cubicBezTo>
                    <a:pt x="304" y="17305"/>
                    <a:pt x="304" y="17305"/>
                    <a:pt x="304" y="17305"/>
                  </a:cubicBezTo>
                  <a:cubicBezTo>
                    <a:pt x="-568" y="19223"/>
                    <a:pt x="539" y="21600"/>
                    <a:pt x="2316" y="21600"/>
                  </a:cubicBezTo>
                  <a:cubicBezTo>
                    <a:pt x="11037" y="21558"/>
                    <a:pt x="11037" y="21558"/>
                    <a:pt x="11037" y="21558"/>
                  </a:cubicBezTo>
                  <a:cubicBezTo>
                    <a:pt x="17946" y="21517"/>
                    <a:pt x="17946" y="21517"/>
                    <a:pt x="17946" y="21517"/>
                  </a:cubicBezTo>
                  <a:cubicBezTo>
                    <a:pt x="20026" y="21517"/>
                    <a:pt x="21032" y="18347"/>
                    <a:pt x="19523" y="16554"/>
                  </a:cubicBezTo>
                  <a:cubicBezTo>
                    <a:pt x="14626" y="10842"/>
                    <a:pt x="14626" y="10842"/>
                    <a:pt x="14626" y="10842"/>
                  </a:cubicBezTo>
                  <a:cubicBezTo>
                    <a:pt x="14559" y="10758"/>
                    <a:pt x="14525" y="10717"/>
                    <a:pt x="14458" y="10633"/>
                  </a:cubicBezTo>
                  <a:cubicBezTo>
                    <a:pt x="8723" y="3711"/>
                    <a:pt x="8723" y="3711"/>
                    <a:pt x="8723" y="3711"/>
                  </a:cubicBezTo>
                  <a:cubicBezTo>
                    <a:pt x="7851" y="2669"/>
                    <a:pt x="7817" y="1084"/>
                    <a:pt x="8454" y="0"/>
                  </a:cubicBezTo>
                  <a:close/>
                </a:path>
              </a:pathLst>
            </a:custGeom>
            <a:solidFill>
              <a:schemeClr val="accent2"/>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7" name="Freeform 19">
              <a:extLst>
                <a:ext uri="{FF2B5EF4-FFF2-40B4-BE49-F238E27FC236}">
                  <a16:creationId xmlns:a16="http://schemas.microsoft.com/office/drawing/2014/main" id="{8F2A1EFF-915F-4029-A893-37D2A5AD9380}"/>
                </a:ext>
              </a:extLst>
            </p:cNvPr>
            <p:cNvSpPr/>
            <p:nvPr/>
          </p:nvSpPr>
          <p:spPr>
            <a:xfrm>
              <a:off x="14380280" y="7123489"/>
              <a:ext cx="1029625" cy="1490683"/>
            </a:xfrm>
            <a:custGeom>
              <a:avLst/>
              <a:gdLst/>
              <a:ahLst/>
              <a:cxnLst>
                <a:cxn ang="0">
                  <a:pos x="wd2" y="hd2"/>
                </a:cxn>
                <a:cxn ang="5400000">
                  <a:pos x="wd2" y="hd2"/>
                </a:cxn>
                <a:cxn ang="10800000">
                  <a:pos x="wd2" y="hd2"/>
                </a:cxn>
                <a:cxn ang="16200000">
                  <a:pos x="wd2" y="hd2"/>
                </a:cxn>
              </a:cxnLst>
              <a:rect l="0" t="0" r="r" b="b"/>
              <a:pathLst>
                <a:path w="20950" h="20346" extrusionOk="0">
                  <a:moveTo>
                    <a:pt x="2295" y="8191"/>
                  </a:moveTo>
                  <a:cubicBezTo>
                    <a:pt x="20950" y="20346"/>
                    <a:pt x="20950" y="20346"/>
                    <a:pt x="20950" y="20346"/>
                  </a:cubicBezTo>
                  <a:cubicBezTo>
                    <a:pt x="20186" y="19760"/>
                    <a:pt x="19641" y="19028"/>
                    <a:pt x="19314" y="18223"/>
                  </a:cubicBezTo>
                  <a:cubicBezTo>
                    <a:pt x="14295" y="3871"/>
                    <a:pt x="14295" y="3871"/>
                    <a:pt x="14295" y="3871"/>
                  </a:cubicBezTo>
                  <a:cubicBezTo>
                    <a:pt x="12877" y="-229"/>
                    <a:pt x="5241" y="-1254"/>
                    <a:pt x="1423" y="1675"/>
                  </a:cubicBezTo>
                  <a:cubicBezTo>
                    <a:pt x="-650" y="3579"/>
                    <a:pt x="-541" y="6361"/>
                    <a:pt x="2295" y="8191"/>
                  </a:cubicBezTo>
                  <a:close/>
                </a:path>
              </a:pathLst>
            </a:custGeom>
            <a:solidFill>
              <a:schemeClr val="accent2">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8" name="Freeform 20">
              <a:extLst>
                <a:ext uri="{FF2B5EF4-FFF2-40B4-BE49-F238E27FC236}">
                  <a16:creationId xmlns:a16="http://schemas.microsoft.com/office/drawing/2014/main" id="{C419C48C-CC74-4023-80B1-86EA490C6208}"/>
                </a:ext>
              </a:extLst>
            </p:cNvPr>
            <p:cNvSpPr/>
            <p:nvPr/>
          </p:nvSpPr>
          <p:spPr>
            <a:xfrm>
              <a:off x="15109187" y="3673398"/>
              <a:ext cx="3209677" cy="2911341"/>
            </a:xfrm>
            <a:custGeom>
              <a:avLst/>
              <a:gdLst/>
              <a:ahLst/>
              <a:cxnLst>
                <a:cxn ang="0">
                  <a:pos x="wd2" y="hd2"/>
                </a:cxn>
                <a:cxn ang="5400000">
                  <a:pos x="wd2" y="hd2"/>
                </a:cxn>
                <a:cxn ang="10800000">
                  <a:pos x="wd2" y="hd2"/>
                </a:cxn>
                <a:cxn ang="16200000">
                  <a:pos x="wd2" y="hd2"/>
                </a:cxn>
              </a:cxnLst>
              <a:rect l="0" t="0" r="r" b="b"/>
              <a:pathLst>
                <a:path w="20846" h="20588" extrusionOk="0">
                  <a:moveTo>
                    <a:pt x="20846" y="17168"/>
                  </a:moveTo>
                  <a:cubicBezTo>
                    <a:pt x="20776" y="16978"/>
                    <a:pt x="20707" y="16826"/>
                    <a:pt x="20637" y="16675"/>
                  </a:cubicBezTo>
                  <a:cubicBezTo>
                    <a:pt x="17049" y="9879"/>
                    <a:pt x="17049" y="9879"/>
                    <a:pt x="17049" y="9879"/>
                  </a:cubicBezTo>
                  <a:cubicBezTo>
                    <a:pt x="12554" y="1338"/>
                    <a:pt x="12554" y="1338"/>
                    <a:pt x="12554" y="1338"/>
                  </a:cubicBezTo>
                  <a:cubicBezTo>
                    <a:pt x="11649" y="-446"/>
                    <a:pt x="9349" y="-446"/>
                    <a:pt x="8409" y="1338"/>
                  </a:cubicBezTo>
                  <a:cubicBezTo>
                    <a:pt x="3914" y="9879"/>
                    <a:pt x="3914" y="9879"/>
                    <a:pt x="3914" y="9879"/>
                  </a:cubicBezTo>
                  <a:cubicBezTo>
                    <a:pt x="326" y="16675"/>
                    <a:pt x="326" y="16675"/>
                    <a:pt x="326" y="16675"/>
                  </a:cubicBezTo>
                  <a:cubicBezTo>
                    <a:pt x="-754" y="18724"/>
                    <a:pt x="1023" y="21154"/>
                    <a:pt x="3113" y="20471"/>
                  </a:cubicBezTo>
                  <a:cubicBezTo>
                    <a:pt x="9802" y="18269"/>
                    <a:pt x="9802" y="18269"/>
                    <a:pt x="9802" y="18269"/>
                  </a:cubicBezTo>
                  <a:cubicBezTo>
                    <a:pt x="9872" y="18269"/>
                    <a:pt x="9941" y="18231"/>
                    <a:pt x="10011" y="18231"/>
                  </a:cubicBezTo>
                  <a:cubicBezTo>
                    <a:pt x="18024" y="15726"/>
                    <a:pt x="18024" y="15726"/>
                    <a:pt x="18024" y="15726"/>
                  </a:cubicBezTo>
                  <a:cubicBezTo>
                    <a:pt x="19209" y="15384"/>
                    <a:pt x="20358" y="16067"/>
                    <a:pt x="20846" y="17168"/>
                  </a:cubicBezTo>
                  <a:close/>
                </a:path>
              </a:pathLst>
            </a:custGeom>
            <a:solidFill>
              <a:schemeClr val="accent3"/>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sp>
          <p:nvSpPr>
            <p:cNvPr id="19" name="Freeform 21">
              <a:extLst>
                <a:ext uri="{FF2B5EF4-FFF2-40B4-BE49-F238E27FC236}">
                  <a16:creationId xmlns:a16="http://schemas.microsoft.com/office/drawing/2014/main" id="{54DE185F-09BD-4EB5-BCA4-973202344177}"/>
                </a:ext>
              </a:extLst>
            </p:cNvPr>
            <p:cNvSpPr/>
            <p:nvPr/>
          </p:nvSpPr>
          <p:spPr>
            <a:xfrm>
              <a:off x="16649467" y="5875667"/>
              <a:ext cx="1688277" cy="702052"/>
            </a:xfrm>
            <a:custGeom>
              <a:avLst/>
              <a:gdLst/>
              <a:ahLst/>
              <a:cxnLst>
                <a:cxn ang="0">
                  <a:pos x="wd2" y="hd2"/>
                </a:cxn>
                <a:cxn ang="5400000">
                  <a:pos x="wd2" y="hd2"/>
                </a:cxn>
                <a:cxn ang="10800000">
                  <a:pos x="wd2" y="hd2"/>
                </a:cxn>
                <a:cxn ang="16200000">
                  <a:pos x="wd2" y="hd2"/>
                </a:cxn>
              </a:cxnLst>
              <a:rect l="0" t="0" r="r" b="b"/>
              <a:pathLst>
                <a:path w="20713" h="18677" extrusionOk="0">
                  <a:moveTo>
                    <a:pt x="15146" y="333"/>
                  </a:moveTo>
                  <a:cubicBezTo>
                    <a:pt x="0" y="9774"/>
                    <a:pt x="0" y="9774"/>
                    <a:pt x="0" y="9774"/>
                  </a:cubicBezTo>
                  <a:cubicBezTo>
                    <a:pt x="724" y="9488"/>
                    <a:pt x="1515" y="9488"/>
                    <a:pt x="2173" y="9918"/>
                  </a:cubicBezTo>
                  <a:cubicBezTo>
                    <a:pt x="14883" y="18214"/>
                    <a:pt x="14883" y="18214"/>
                    <a:pt x="14883" y="18214"/>
                  </a:cubicBezTo>
                  <a:cubicBezTo>
                    <a:pt x="18505" y="20646"/>
                    <a:pt x="21600" y="13065"/>
                    <a:pt x="20480" y="5769"/>
                  </a:cubicBezTo>
                  <a:cubicBezTo>
                    <a:pt x="19559" y="1621"/>
                    <a:pt x="17385" y="-954"/>
                    <a:pt x="15146" y="333"/>
                  </a:cubicBezTo>
                  <a:close/>
                </a:path>
              </a:pathLst>
            </a:custGeom>
            <a:solidFill>
              <a:schemeClr val="accent3">
                <a:lumMod val="50000"/>
              </a:schemeClr>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1800" b="0" i="0" u="none" strike="noStrike" kern="1200" cap="none" spc="0" normalizeH="0" baseline="0" noProof="0">
                <a:ln>
                  <a:noFill/>
                </a:ln>
                <a:solidFill>
                  <a:prstClr val="black"/>
                </a:solidFill>
                <a:effectLst/>
                <a:uLnTx/>
                <a:uFillTx/>
                <a:latin typeface="Calibri"/>
                <a:cs typeface="Calibri"/>
                <a:sym typeface="Calibri"/>
              </a:endParaRPr>
            </a:p>
          </p:txBody>
        </p:sp>
      </p:grpSp>
      <p:sp>
        <p:nvSpPr>
          <p:cNvPr id="21" name="TextBox 20">
            <a:extLst>
              <a:ext uri="{FF2B5EF4-FFF2-40B4-BE49-F238E27FC236}">
                <a16:creationId xmlns:a16="http://schemas.microsoft.com/office/drawing/2014/main" id="{8D189B86-A27C-482B-B4C5-1DA827E54215}"/>
              </a:ext>
            </a:extLst>
          </p:cNvPr>
          <p:cNvSpPr txBox="1"/>
          <p:nvPr/>
        </p:nvSpPr>
        <p:spPr>
          <a:xfrm>
            <a:off x="7006378" y="1474960"/>
            <a:ext cx="3494867" cy="375552"/>
          </a:xfrm>
          <a:prstGeom prst="rect">
            <a:avLst/>
          </a:prstGeom>
          <a:noFill/>
        </p:spPr>
        <p:txBody>
          <a:bodyPr wrap="none" rtlCol="0">
            <a:spAutoFit/>
          </a:body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FEB834"/>
                </a:solidFill>
                <a:effectLst/>
                <a:uLnTx/>
                <a:uFillTx/>
                <a:latin typeface="Arial" panose="020B0604020202020204"/>
                <a:ea typeface="Montserrat" charset="0"/>
                <a:cs typeface="Montserrat" charset="0"/>
              </a:rPr>
              <a:t>Data Discovery: “Find the Data”</a:t>
            </a:r>
          </a:p>
        </p:txBody>
      </p:sp>
      <p:sp>
        <p:nvSpPr>
          <p:cNvPr id="22" name="TextBox 21">
            <a:extLst>
              <a:ext uri="{FF2B5EF4-FFF2-40B4-BE49-F238E27FC236}">
                <a16:creationId xmlns:a16="http://schemas.microsoft.com/office/drawing/2014/main" id="{95E2192C-6EA3-4911-90AC-C877177902C1}"/>
              </a:ext>
            </a:extLst>
          </p:cNvPr>
          <p:cNvSpPr txBox="1"/>
          <p:nvPr/>
        </p:nvSpPr>
        <p:spPr>
          <a:xfrm>
            <a:off x="7072536" y="1960007"/>
            <a:ext cx="4307290" cy="1015663"/>
          </a:xfrm>
          <a:prstGeom prst="rect">
            <a:avLst/>
          </a:prstGeom>
          <a:noFill/>
        </p:spPr>
        <p:txBody>
          <a:bodyPr wrap="square" rtlCol="0">
            <a:spAutoFit/>
          </a:bodyPr>
          <a:lstStyle/>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Importance of the relevant data sources and artifacts</a:t>
            </a:r>
          </a:p>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Simple and clear process of data access</a:t>
            </a:r>
          </a:p>
          <a:p>
            <a:pPr marL="285750" marR="0" lvl="0"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Power BI: </a:t>
            </a:r>
          </a:p>
          <a:p>
            <a:pPr marL="742950" marR="0" lvl="1"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the datasets hub and use of endorsements</a:t>
            </a:r>
          </a:p>
          <a:p>
            <a:pPr marL="742950" marR="0" lvl="1" indent="-2857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Use of Azure Purview</a:t>
            </a:r>
            <a:endParaRPr kumimoji="0" lang="en-IN" sz="12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F4865F1B-D57D-408B-A6F1-51A5E2B788BB}"/>
              </a:ext>
            </a:extLst>
          </p:cNvPr>
          <p:cNvSpPr txBox="1"/>
          <p:nvPr/>
        </p:nvSpPr>
        <p:spPr>
          <a:xfrm>
            <a:off x="7894063" y="3709434"/>
            <a:ext cx="4075155" cy="375552"/>
          </a:xfrm>
          <a:prstGeom prst="rect">
            <a:avLst/>
          </a:prstGeom>
          <a:noFill/>
        </p:spPr>
        <p:txBody>
          <a:bodyPr wrap="none" rtlCol="0">
            <a:spAutoFit/>
          </a:body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3D9FAC"/>
                </a:solidFill>
                <a:effectLst/>
                <a:uLnTx/>
                <a:uFillTx/>
                <a:latin typeface="Arial" panose="020B0604020202020204"/>
                <a:ea typeface="Montserrat" charset="0"/>
                <a:cs typeface="Montserrat" charset="0"/>
              </a:rPr>
              <a:t>Data Democratization: “Use the Data”</a:t>
            </a:r>
          </a:p>
        </p:txBody>
      </p:sp>
      <p:sp>
        <p:nvSpPr>
          <p:cNvPr id="24" name="TextBox 23">
            <a:extLst>
              <a:ext uri="{FF2B5EF4-FFF2-40B4-BE49-F238E27FC236}">
                <a16:creationId xmlns:a16="http://schemas.microsoft.com/office/drawing/2014/main" id="{A6210253-670B-4663-9D69-264FFC51DB42}"/>
              </a:ext>
            </a:extLst>
          </p:cNvPr>
          <p:cNvSpPr txBox="1"/>
          <p:nvPr/>
        </p:nvSpPr>
        <p:spPr>
          <a:xfrm>
            <a:off x="8379927" y="4355715"/>
            <a:ext cx="2411617" cy="553998"/>
          </a:xfrm>
          <a:prstGeom prst="rect">
            <a:avLst/>
          </a:prstGeom>
          <a:noFill/>
        </p:spPr>
        <p:txBody>
          <a:bodyPr wrap="square" rtlCol="0">
            <a:spAutoFit/>
          </a:bodyPr>
          <a:lstStyle/>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Shared responsibility of the data resource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Reduction of shadow IT</a:t>
            </a:r>
            <a:endParaRPr kumimoji="0" lang="en-IN" sz="14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5B8A735C-986E-412B-B410-66FAEFC3FA36}"/>
              </a:ext>
            </a:extLst>
          </p:cNvPr>
          <p:cNvSpPr txBox="1"/>
          <p:nvPr/>
        </p:nvSpPr>
        <p:spPr>
          <a:xfrm>
            <a:off x="269240" y="3709434"/>
            <a:ext cx="4012637" cy="375552"/>
          </a:xfrm>
          <a:prstGeom prst="rect">
            <a:avLst/>
          </a:prstGeom>
          <a:noFill/>
        </p:spPr>
        <p:txBody>
          <a:bodyPr wrap="none" rtlCol="0">
            <a:spAutoFit/>
          </a:bodyPr>
          <a:lstStyle/>
          <a:p>
            <a:pPr marL="0" marR="0" lvl="0" indent="0" algn="r" defTabSz="914217"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150" normalizeH="0" baseline="0" noProof="0">
                <a:ln>
                  <a:noFill/>
                </a:ln>
                <a:solidFill>
                  <a:srgbClr val="5B4470"/>
                </a:solidFill>
                <a:effectLst/>
                <a:uLnTx/>
                <a:uFillTx/>
                <a:latin typeface="Arial" panose="020B0604020202020204"/>
                <a:ea typeface="Montserrat" charset="0"/>
                <a:cs typeface="Montserrat" charset="0"/>
              </a:rPr>
              <a:t>Data Literacy: “Understand the data”</a:t>
            </a:r>
          </a:p>
        </p:txBody>
      </p:sp>
      <p:sp>
        <p:nvSpPr>
          <p:cNvPr id="26" name="TextBox 25">
            <a:extLst>
              <a:ext uri="{FF2B5EF4-FFF2-40B4-BE49-F238E27FC236}">
                <a16:creationId xmlns:a16="http://schemas.microsoft.com/office/drawing/2014/main" id="{BD752B00-0E41-4DB4-9F3C-C866B8717226}"/>
              </a:ext>
            </a:extLst>
          </p:cNvPr>
          <p:cNvSpPr txBox="1"/>
          <p:nvPr/>
        </p:nvSpPr>
        <p:spPr>
          <a:xfrm>
            <a:off x="1225432" y="4473506"/>
            <a:ext cx="2411617" cy="553998"/>
          </a:xfrm>
          <a:prstGeom prst="rect">
            <a:avLst/>
          </a:prstGeom>
          <a:noFill/>
        </p:spPr>
        <p:txBody>
          <a:bodyPr wrap="square" rtlCol="0">
            <a:spAutoFit/>
          </a:body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The ability to interpret, create, and communicate data accurately and effectively</a:t>
            </a:r>
            <a:endParaRPr kumimoji="0" lang="en-IN" sz="14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7" name="Freeform 101">
            <a:extLst>
              <a:ext uri="{FF2B5EF4-FFF2-40B4-BE49-F238E27FC236}">
                <a16:creationId xmlns:a16="http://schemas.microsoft.com/office/drawing/2014/main" id="{AA3B1DDB-DECE-4675-AD26-C1105C5E8999}"/>
              </a:ext>
            </a:extLst>
          </p:cNvPr>
          <p:cNvSpPr>
            <a:spLocks noChangeArrowheads="1"/>
          </p:cNvSpPr>
          <p:nvPr/>
        </p:nvSpPr>
        <p:spPr bwMode="auto">
          <a:xfrm>
            <a:off x="4392198" y="4509989"/>
            <a:ext cx="614087" cy="449003"/>
          </a:xfrm>
          <a:custGeom>
            <a:avLst/>
            <a:gdLst>
              <a:gd name="T0" fmla="*/ 80 w 497"/>
              <a:gd name="T1" fmla="*/ 248 h 382"/>
              <a:gd name="T2" fmla="*/ 80 w 497"/>
              <a:gd name="T3" fmla="*/ 248 h 382"/>
              <a:gd name="T4" fmla="*/ 159 w 497"/>
              <a:gd name="T5" fmla="*/ 328 h 382"/>
              <a:gd name="T6" fmla="*/ 248 w 497"/>
              <a:gd name="T7" fmla="*/ 381 h 382"/>
              <a:gd name="T8" fmla="*/ 337 w 497"/>
              <a:gd name="T9" fmla="*/ 337 h 382"/>
              <a:gd name="T10" fmla="*/ 390 w 497"/>
              <a:gd name="T11" fmla="*/ 258 h 382"/>
              <a:gd name="T12" fmla="*/ 248 w 497"/>
              <a:gd name="T13" fmla="*/ 328 h 382"/>
              <a:gd name="T14" fmla="*/ 80 w 497"/>
              <a:gd name="T15" fmla="*/ 248 h 382"/>
              <a:gd name="T16" fmla="*/ 487 w 497"/>
              <a:gd name="T17" fmla="*/ 124 h 382"/>
              <a:gd name="T18" fmla="*/ 487 w 497"/>
              <a:gd name="T19" fmla="*/ 124 h 382"/>
              <a:gd name="T20" fmla="*/ 274 w 497"/>
              <a:gd name="T21" fmla="*/ 9 h 382"/>
              <a:gd name="T22" fmla="*/ 221 w 497"/>
              <a:gd name="T23" fmla="*/ 9 h 382"/>
              <a:gd name="T24" fmla="*/ 9 w 497"/>
              <a:gd name="T25" fmla="*/ 124 h 382"/>
              <a:gd name="T26" fmla="*/ 9 w 497"/>
              <a:gd name="T27" fmla="*/ 160 h 382"/>
              <a:gd name="T28" fmla="*/ 221 w 497"/>
              <a:gd name="T29" fmla="*/ 275 h 382"/>
              <a:gd name="T30" fmla="*/ 274 w 497"/>
              <a:gd name="T31" fmla="*/ 275 h 382"/>
              <a:gd name="T32" fmla="*/ 408 w 497"/>
              <a:gd name="T33" fmla="*/ 195 h 382"/>
              <a:gd name="T34" fmla="*/ 266 w 497"/>
              <a:gd name="T35" fmla="*/ 160 h 382"/>
              <a:gd name="T36" fmla="*/ 248 w 497"/>
              <a:gd name="T37" fmla="*/ 168 h 382"/>
              <a:gd name="T38" fmla="*/ 203 w 497"/>
              <a:gd name="T39" fmla="*/ 133 h 382"/>
              <a:gd name="T40" fmla="*/ 248 w 497"/>
              <a:gd name="T41" fmla="*/ 107 h 382"/>
              <a:gd name="T42" fmla="*/ 293 w 497"/>
              <a:gd name="T43" fmla="*/ 124 h 382"/>
              <a:gd name="T44" fmla="*/ 443 w 497"/>
              <a:gd name="T45" fmla="*/ 177 h 382"/>
              <a:gd name="T46" fmla="*/ 487 w 497"/>
              <a:gd name="T47" fmla="*/ 160 h 382"/>
              <a:gd name="T48" fmla="*/ 487 w 497"/>
              <a:gd name="T49" fmla="*/ 124 h 382"/>
              <a:gd name="T50" fmla="*/ 425 w 497"/>
              <a:gd name="T51" fmla="*/ 346 h 382"/>
              <a:gd name="T52" fmla="*/ 425 w 497"/>
              <a:gd name="T53" fmla="*/ 346 h 382"/>
              <a:gd name="T54" fmla="*/ 461 w 497"/>
              <a:gd name="T55" fmla="*/ 337 h 382"/>
              <a:gd name="T56" fmla="*/ 443 w 497"/>
              <a:gd name="T57" fmla="*/ 177 h 382"/>
              <a:gd name="T58" fmla="*/ 408 w 497"/>
              <a:gd name="T59" fmla="*/ 195 h 382"/>
              <a:gd name="T60" fmla="*/ 425 w 497"/>
              <a:gd name="T61" fmla="*/ 3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102">
            <a:extLst>
              <a:ext uri="{FF2B5EF4-FFF2-40B4-BE49-F238E27FC236}">
                <a16:creationId xmlns:a16="http://schemas.microsoft.com/office/drawing/2014/main" id="{6E51141C-FF47-46B5-8DC7-BBB15EAB8401}"/>
              </a:ext>
            </a:extLst>
          </p:cNvPr>
          <p:cNvSpPr>
            <a:spLocks noChangeArrowheads="1"/>
          </p:cNvSpPr>
          <p:nvPr/>
        </p:nvSpPr>
        <p:spPr bwMode="auto">
          <a:xfrm>
            <a:off x="7160841" y="4661451"/>
            <a:ext cx="383314" cy="342606"/>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3" name="Grafik 12">
            <a:extLst>
              <a:ext uri="{FF2B5EF4-FFF2-40B4-BE49-F238E27FC236}">
                <a16:creationId xmlns:a16="http://schemas.microsoft.com/office/drawing/2014/main" id="{5B0E81C1-B906-4864-835B-928B89400F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1720" y="3369863"/>
            <a:ext cx="1575043" cy="1241647"/>
          </a:xfrm>
          <a:prstGeom prst="ellipse">
            <a:avLst/>
          </a:prstGeom>
          <a:ln>
            <a:noFill/>
          </a:ln>
          <a:effectLst>
            <a:softEdge rad="112500"/>
          </a:effectLst>
        </p:spPr>
      </p:pic>
      <p:pic>
        <p:nvPicPr>
          <p:cNvPr id="30" name="Grafik 29" descr="Ordnersuche Silhouette">
            <a:extLst>
              <a:ext uri="{FF2B5EF4-FFF2-40B4-BE49-F238E27FC236}">
                <a16:creationId xmlns:a16="http://schemas.microsoft.com/office/drawing/2014/main" id="{46E566A7-9567-477B-858C-15CCC8CB5E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1028" y="1922591"/>
            <a:ext cx="914400" cy="914400"/>
          </a:xfrm>
          <a:prstGeom prst="rect">
            <a:avLst/>
          </a:prstGeom>
        </p:spPr>
      </p:pic>
      <p:sp>
        <p:nvSpPr>
          <p:cNvPr id="2" name="Titel 1">
            <a:extLst>
              <a:ext uri="{FF2B5EF4-FFF2-40B4-BE49-F238E27FC236}">
                <a16:creationId xmlns:a16="http://schemas.microsoft.com/office/drawing/2014/main" id="{37B9C04A-DC96-47C0-BF2D-F6C832936D9C}"/>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Main Aspects of Data Culture</a:t>
            </a:r>
            <a:endParaRPr lang="de-DE"/>
          </a:p>
        </p:txBody>
      </p:sp>
    </p:spTree>
    <p:extLst>
      <p:ext uri="{BB962C8B-B14F-4D97-AF65-F5344CB8AC3E}">
        <p14:creationId xmlns:p14="http://schemas.microsoft.com/office/powerpoint/2010/main" val="2327406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User Access Control</a:t>
            </a:r>
          </a:p>
        </p:txBody>
      </p:sp>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1579812"/>
            <a:ext cx="4980404" cy="3508653"/>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obile Device Policies</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tune</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mpany Portal</a:t>
            </a:r>
          </a:p>
        </p:txBody>
      </p:sp>
      <p:pic>
        <p:nvPicPr>
          <p:cNvPr id="8" name="Picture 7">
            <a:extLst>
              <a:ext uri="{FF2B5EF4-FFF2-40B4-BE49-F238E27FC236}">
                <a16:creationId xmlns:a16="http://schemas.microsoft.com/office/drawing/2014/main" id="{8845E972-3C81-46B9-9F2A-316B8AFCCDF2}"/>
              </a:ext>
            </a:extLst>
          </p:cNvPr>
          <p:cNvPicPr>
            <a:picLocks noChangeAspect="1"/>
          </p:cNvPicPr>
          <p:nvPr/>
        </p:nvPicPr>
        <p:blipFill>
          <a:blip r:embed="rId3"/>
          <a:stretch>
            <a:fillRect/>
          </a:stretch>
        </p:blipFill>
        <p:spPr>
          <a:xfrm>
            <a:off x="1566439" y="2583543"/>
            <a:ext cx="2230983" cy="3952238"/>
          </a:xfrm>
          <a:prstGeom prst="rect">
            <a:avLst/>
          </a:prstGeom>
        </p:spPr>
      </p:pic>
      <p:pic>
        <p:nvPicPr>
          <p:cNvPr id="9" name="Graphic 8" descr="Smart Phone">
            <a:extLst>
              <a:ext uri="{FF2B5EF4-FFF2-40B4-BE49-F238E27FC236}">
                <a16:creationId xmlns:a16="http://schemas.microsoft.com/office/drawing/2014/main" id="{F5C8A6F5-FFBC-493D-8CD8-520B5F209A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570506"/>
            <a:ext cx="914400" cy="914400"/>
          </a:xfrm>
          <a:prstGeom prst="rect">
            <a:avLst/>
          </a:prstGeom>
        </p:spPr>
      </p:pic>
      <p:pic>
        <p:nvPicPr>
          <p:cNvPr id="6" name="Picture 5">
            <a:extLst>
              <a:ext uri="{FF2B5EF4-FFF2-40B4-BE49-F238E27FC236}">
                <a16:creationId xmlns:a16="http://schemas.microsoft.com/office/drawing/2014/main" id="{DA767B29-D444-4220-A8BC-8C1AF0EEE95D}"/>
              </a:ext>
            </a:extLst>
          </p:cNvPr>
          <p:cNvPicPr>
            <a:picLocks noChangeAspect="1"/>
          </p:cNvPicPr>
          <p:nvPr/>
        </p:nvPicPr>
        <p:blipFill>
          <a:blip r:embed="rId6">
            <a:duotone>
              <a:schemeClr val="accent2">
                <a:shade val="45000"/>
                <a:satMod val="135000"/>
              </a:schemeClr>
              <a:prstClr val="white"/>
            </a:duotone>
          </a:blip>
          <a:stretch>
            <a:fillRect/>
          </a:stretch>
        </p:blipFill>
        <p:spPr>
          <a:xfrm>
            <a:off x="5638800" y="2812563"/>
            <a:ext cx="914400" cy="914400"/>
          </a:xfrm>
          <a:prstGeom prst="rect">
            <a:avLst/>
          </a:prstGeom>
        </p:spPr>
      </p:pic>
      <p:pic>
        <p:nvPicPr>
          <p:cNvPr id="7" name="Picture 6">
            <a:extLst>
              <a:ext uri="{FF2B5EF4-FFF2-40B4-BE49-F238E27FC236}">
                <a16:creationId xmlns:a16="http://schemas.microsoft.com/office/drawing/2014/main" id="{BEEEF2C2-2B44-4CB3-83DB-8CC54922AA3A}"/>
              </a:ext>
            </a:extLst>
          </p:cNvPr>
          <p:cNvPicPr>
            <a:picLocks noChangeAspect="1"/>
          </p:cNvPicPr>
          <p:nvPr/>
        </p:nvPicPr>
        <p:blipFill>
          <a:blip r:embed="rId7">
            <a:duotone>
              <a:schemeClr val="accent2">
                <a:shade val="45000"/>
                <a:satMod val="135000"/>
              </a:schemeClr>
              <a:prstClr val="white"/>
            </a:duotone>
          </a:blip>
          <a:stretch>
            <a:fillRect/>
          </a:stretch>
        </p:blipFill>
        <p:spPr>
          <a:xfrm>
            <a:off x="5638800" y="4102462"/>
            <a:ext cx="914400" cy="914400"/>
          </a:xfrm>
          <a:prstGeom prst="rect">
            <a:avLst/>
          </a:prstGeom>
        </p:spPr>
      </p:pic>
    </p:spTree>
    <p:extLst>
      <p:ext uri="{BB962C8B-B14F-4D97-AF65-F5344CB8AC3E}">
        <p14:creationId xmlns:p14="http://schemas.microsoft.com/office/powerpoint/2010/main" val="749547584"/>
      </p:ext>
    </p:extLst>
  </p:cSld>
  <p:clrMapOvr>
    <a:masterClrMapping/>
  </p:clrMapOvr>
  <mc:AlternateContent xmlns:mc="http://schemas.openxmlformats.org/markup-compatibility/2006" xmlns:p14="http://schemas.microsoft.com/office/powerpoint/2010/main">
    <mc:Choice Requires="p14">
      <p:transition spd="med" p14:dur="700" advTm="26741">
        <p:fade/>
      </p:transition>
    </mc:Choice>
    <mc:Fallback xmlns="">
      <p:transition spd="med" advTm="26741">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Conditional Access</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605849" y="899076"/>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IP Addresses (</a:t>
            </a:r>
            <a:r>
              <a:rPr kumimoji="0" lang="en-US" sz="3600" b="0" i="0" u="none" strike="noStrike" kern="1200" cap="none" spc="0" normalizeH="0" baseline="0" noProof="0" err="1">
                <a:ln>
                  <a:noFill/>
                </a:ln>
                <a:solidFill>
                  <a:prstClr val="black"/>
                </a:solidFill>
                <a:effectLst/>
                <a:uLnTx/>
                <a:uFillTx/>
                <a:latin typeface="Segoe UI Light"/>
                <a:ea typeface="+mn-ea"/>
                <a:cs typeface="+mn-cs"/>
              </a:rPr>
              <a:t>corp</a:t>
            </a:r>
            <a:r>
              <a:rPr kumimoji="0" lang="en-US" sz="3600" b="0" i="0" u="none" strike="noStrike" kern="1200" cap="none" spc="0" normalizeH="0" baseline="0" noProof="0">
                <a:ln>
                  <a:noFill/>
                </a:ln>
                <a:solidFill>
                  <a:prstClr val="black"/>
                </a:solidFill>
                <a:effectLst/>
                <a:uLnTx/>
                <a:uFillTx/>
                <a:latin typeface="Segoe UI Light"/>
                <a:ea typeface="+mn-ea"/>
                <a:cs typeface="+mn-cs"/>
              </a:rPr>
              <a:t> net)</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Devic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Users / Group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Multi-factor </a:t>
            </a:r>
            <a:r>
              <a:rPr kumimoji="0" lang="en-US" sz="3600" b="0" i="0" u="none" strike="noStrike" kern="1200" cap="none" spc="0" normalizeH="0" baseline="0" noProof="0" err="1">
                <a:ln>
                  <a:noFill/>
                </a:ln>
                <a:solidFill>
                  <a:prstClr val="black"/>
                </a:solidFill>
                <a:effectLst/>
                <a:uLnTx/>
                <a:uFillTx/>
                <a:latin typeface="Segoe UI Light"/>
                <a:ea typeface="+mn-ea"/>
                <a:cs typeface="+mn-cs"/>
              </a:rPr>
              <a:t>Auth</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15" name="Graphic 14" descr="Users">
            <a:extLst>
              <a:ext uri="{FF2B5EF4-FFF2-40B4-BE49-F238E27FC236}">
                <a16:creationId xmlns:a16="http://schemas.microsoft.com/office/drawing/2014/main" id="{F3C02EC3-C90E-49F9-B441-67F6E5F502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5431" y="3681618"/>
            <a:ext cx="914400" cy="914400"/>
          </a:xfrm>
          <a:prstGeom prst="rect">
            <a:avLst/>
          </a:prstGeom>
        </p:spPr>
      </p:pic>
      <p:pic>
        <p:nvPicPr>
          <p:cNvPr id="7" name="Graphic 6" descr="Smart Phone">
            <a:extLst>
              <a:ext uri="{FF2B5EF4-FFF2-40B4-BE49-F238E27FC236}">
                <a16:creationId xmlns:a16="http://schemas.microsoft.com/office/drawing/2014/main" id="{B2287E91-F4F4-4757-AD17-9AF2B87523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514599"/>
            <a:ext cx="914400" cy="914400"/>
          </a:xfrm>
          <a:prstGeom prst="rect">
            <a:avLst/>
          </a:prstGeom>
        </p:spPr>
      </p:pic>
      <p:pic>
        <p:nvPicPr>
          <p:cNvPr id="10" name="Picture 9">
            <a:extLst>
              <a:ext uri="{FF2B5EF4-FFF2-40B4-BE49-F238E27FC236}">
                <a16:creationId xmlns:a16="http://schemas.microsoft.com/office/drawing/2014/main" id="{D63E12F8-C7D1-446E-8E0B-36C0EC584FEE}"/>
              </a:ext>
            </a:extLst>
          </p:cNvPr>
          <p:cNvPicPr>
            <a:picLocks noChangeAspect="1"/>
          </p:cNvPicPr>
          <p:nvPr/>
        </p:nvPicPr>
        <p:blipFill>
          <a:blip r:embed="rId8"/>
          <a:stretch>
            <a:fillRect/>
          </a:stretch>
        </p:blipFill>
        <p:spPr>
          <a:xfrm>
            <a:off x="5743575" y="1309843"/>
            <a:ext cx="704850" cy="790575"/>
          </a:xfrm>
          <a:prstGeom prst="rect">
            <a:avLst/>
          </a:prstGeom>
        </p:spPr>
      </p:pic>
      <p:pic>
        <p:nvPicPr>
          <p:cNvPr id="13" name="Picture 12" descr="A close up of a device&#10;&#10;Description generated with high confidence">
            <a:extLst>
              <a:ext uri="{FF2B5EF4-FFF2-40B4-BE49-F238E27FC236}">
                <a16:creationId xmlns:a16="http://schemas.microsoft.com/office/drawing/2014/main" id="{BAC84133-046E-4E14-9AF8-A6D20E79574A}"/>
              </a:ext>
            </a:extLst>
          </p:cNvPr>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4887645"/>
            <a:ext cx="780290" cy="780290"/>
          </a:xfrm>
          <a:prstGeom prst="rect">
            <a:avLst/>
          </a:prstGeom>
        </p:spPr>
      </p:pic>
    </p:spTree>
    <p:custDataLst>
      <p:tags r:id="rId1"/>
    </p:custDataLst>
    <p:extLst>
      <p:ext uri="{BB962C8B-B14F-4D97-AF65-F5344CB8AC3E}">
        <p14:creationId xmlns:p14="http://schemas.microsoft.com/office/powerpoint/2010/main" val="3054474984"/>
      </p:ext>
    </p:extLst>
  </p:cSld>
  <p:clrMapOvr>
    <a:masterClrMapping/>
  </p:clrMapOvr>
  <mc:AlternateContent xmlns:mc="http://schemas.openxmlformats.org/markup-compatibility/2006" xmlns:p14="http://schemas.microsoft.com/office/powerpoint/2010/main">
    <mc:Choice Requires="p14">
      <p:transition spd="med" p14:dur="700" advTm="51644">
        <p:fade/>
      </p:transition>
    </mc:Choice>
    <mc:Fallback xmlns="">
      <p:transition spd="med" advTm="5164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Admin Control</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25553" y="1422121"/>
            <a:ext cx="5066322"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Self Sign-Up</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Sharing</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Exporting</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7" name="Graphic 6" descr="Share">
            <a:extLst>
              <a:ext uri="{FF2B5EF4-FFF2-40B4-BE49-F238E27FC236}">
                <a16:creationId xmlns:a16="http://schemas.microsoft.com/office/drawing/2014/main" id="{C5BABB02-78EB-45B5-84F2-D0D1C96FCF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5431" y="4151086"/>
            <a:ext cx="914400" cy="914400"/>
          </a:xfrm>
          <a:prstGeom prst="rect">
            <a:avLst/>
          </a:prstGeom>
        </p:spPr>
      </p:pic>
      <p:pic>
        <p:nvPicPr>
          <p:cNvPr id="5" name="Graphic 4" descr="Group">
            <a:extLst>
              <a:ext uri="{FF2B5EF4-FFF2-40B4-BE49-F238E27FC236}">
                <a16:creationId xmlns:a16="http://schemas.microsoft.com/office/drawing/2014/main" id="{A77EC894-4B32-4C65-BD76-F6905691D7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954243"/>
            <a:ext cx="914400" cy="914400"/>
          </a:xfrm>
          <a:prstGeom prst="rect">
            <a:avLst/>
          </a:prstGeom>
        </p:spPr>
      </p:pic>
      <p:pic>
        <p:nvPicPr>
          <p:cNvPr id="9" name="Graphic 8" descr="User">
            <a:extLst>
              <a:ext uri="{FF2B5EF4-FFF2-40B4-BE49-F238E27FC236}">
                <a16:creationId xmlns:a16="http://schemas.microsoft.com/office/drawing/2014/main" id="{57729419-0083-4AC1-8724-4F4A0100B8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757400"/>
            <a:ext cx="914400" cy="914400"/>
          </a:xfrm>
          <a:prstGeom prst="rect">
            <a:avLst/>
          </a:prstGeom>
        </p:spPr>
      </p:pic>
      <p:pic>
        <p:nvPicPr>
          <p:cNvPr id="11" name="Graphic 10" descr="Add">
            <a:extLst>
              <a:ext uri="{FF2B5EF4-FFF2-40B4-BE49-F238E27FC236}">
                <a16:creationId xmlns:a16="http://schemas.microsoft.com/office/drawing/2014/main" id="{B12C9326-320A-4F88-905B-4BE0D91AA1E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44262" y="2145964"/>
            <a:ext cx="457200" cy="457200"/>
          </a:xfrm>
          <a:prstGeom prst="rect">
            <a:avLst/>
          </a:prstGeom>
        </p:spPr>
      </p:pic>
    </p:spTree>
    <p:extLst>
      <p:ext uri="{BB962C8B-B14F-4D97-AF65-F5344CB8AC3E}">
        <p14:creationId xmlns:p14="http://schemas.microsoft.com/office/powerpoint/2010/main" val="1033599783"/>
      </p:ext>
    </p:extLst>
  </p:cSld>
  <p:clrMapOvr>
    <a:masterClrMapping/>
  </p:clrMapOvr>
  <mc:AlternateContent xmlns:mc="http://schemas.openxmlformats.org/markup-compatibility/2006" xmlns:p14="http://schemas.microsoft.com/office/powerpoint/2010/main">
    <mc:Choice Requires="p14">
      <p:transition spd="med" p14:dur="700" advTm="17798">
        <p:fade/>
      </p:transition>
    </mc:Choice>
    <mc:Fallback xmlns="">
      <p:transition spd="med" advTm="17798">
        <p:fade/>
      </p:transition>
    </mc:Fallback>
  </mc:AlternateContent>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add controls for Power BI Environment Access?</a:t>
            </a:r>
            <a:endParaRPr lang="en-US"/>
          </a:p>
        </p:txBody>
      </p:sp>
      <p:sp>
        <p:nvSpPr>
          <p:cNvPr id="2" name="Text Placeholder 1">
            <a:extLst>
              <a:ext uri="{FF2B5EF4-FFF2-40B4-BE49-F238E27FC236}">
                <a16:creationId xmlns:a16="http://schemas.microsoft.com/office/drawing/2014/main" id="{A3DA0EA3-28A7-4A18-996B-647822FFB99E}"/>
              </a:ext>
            </a:extLst>
          </p:cNvPr>
          <p:cNvSpPr>
            <a:spLocks noGrp="1"/>
          </p:cNvSpPr>
          <p:nvPr>
            <p:ph type="body" sz="quarter" idx="10"/>
          </p:nvPr>
        </p:nvSpPr>
        <p:spPr/>
        <p:txBody>
          <a:bodyPr>
            <a:noAutofit/>
          </a:bodyPr>
          <a:lstStyle/>
          <a:p>
            <a:r>
              <a:rPr lang="en-GB" sz="2400"/>
              <a:t>Do you want users to be able to access non-corporate tenants?</a:t>
            </a:r>
          </a:p>
          <a:p>
            <a:pPr lvl="3"/>
            <a:r>
              <a:rPr lang="en-GB" sz="2000">
                <a:solidFill>
                  <a:srgbClr val="EDC30D"/>
                </a:solidFill>
                <a:latin typeface="+mj-lt"/>
              </a:rPr>
              <a:t>Block access to Office 365 tenant</a:t>
            </a:r>
          </a:p>
          <a:p>
            <a:pPr lvl="3"/>
            <a:endParaRPr lang="en-GB" sz="2000"/>
          </a:p>
          <a:p>
            <a:r>
              <a:rPr lang="en-GB" sz="2400"/>
              <a:t>Do you want to have 2 factor authentication for user access?</a:t>
            </a:r>
          </a:p>
          <a:p>
            <a:pPr lvl="3"/>
            <a:r>
              <a:rPr lang="en-GB" sz="2000">
                <a:solidFill>
                  <a:srgbClr val="EDC30D"/>
                </a:solidFill>
                <a:latin typeface="+mj-lt"/>
              </a:rPr>
              <a:t>Review / purchase licenses that include MFA, like Azure Active Directory Premium</a:t>
            </a:r>
          </a:p>
          <a:p>
            <a:pPr lvl="3"/>
            <a:r>
              <a:rPr lang="en-GB" sz="2000">
                <a:solidFill>
                  <a:srgbClr val="EDC30D"/>
                </a:solidFill>
                <a:latin typeface="+mj-lt"/>
              </a:rPr>
              <a:t>Enable MFA in the Office 365 Admin Centre for all required users</a:t>
            </a:r>
          </a:p>
          <a:p>
            <a:pPr lvl="3"/>
            <a:endParaRPr lang="en-GB" sz="2000"/>
          </a:p>
          <a:p>
            <a:r>
              <a:rPr lang="en-GB" sz="2400"/>
              <a:t>Do you want to disable self sign-up for Power BI?</a:t>
            </a:r>
          </a:p>
          <a:p>
            <a:pPr lvl="3"/>
            <a:r>
              <a:rPr lang="en-GB" sz="2000">
                <a:solidFill>
                  <a:srgbClr val="EDC30D"/>
                </a:solidFill>
                <a:latin typeface="+mj-lt"/>
              </a:rPr>
              <a:t>Disable this feature at O365 level</a:t>
            </a:r>
          </a:p>
        </p:txBody>
      </p:sp>
    </p:spTree>
    <p:custDataLst>
      <p:tags r:id="rId1"/>
    </p:custDataLst>
    <p:extLst>
      <p:ext uri="{BB962C8B-B14F-4D97-AF65-F5344CB8AC3E}">
        <p14:creationId xmlns:p14="http://schemas.microsoft.com/office/powerpoint/2010/main" val="1471794964"/>
      </p:ext>
    </p:extLst>
  </p:cSld>
  <p:clrMapOvr>
    <a:masterClrMapping/>
  </p:clrMapOvr>
  <mc:AlternateContent xmlns:mc="http://schemas.openxmlformats.org/markup-compatibility/2006" xmlns:p14="http://schemas.microsoft.com/office/powerpoint/2010/main">
    <mc:Choice Requires="p14">
      <p:transition spd="med" p14:dur="700" advTm="32045">
        <p:fade/>
      </p:transition>
    </mc:Choice>
    <mc:Fallback xmlns="">
      <p:transition spd="med" advTm="32045">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B40690-D0A1-4D40-8520-20BF60DFF23D}"/>
              </a:ext>
            </a:extLst>
          </p:cNvPr>
          <p:cNvSpPr>
            <a:spLocks noGrp="1"/>
          </p:cNvSpPr>
          <p:nvPr>
            <p:ph type="ctrTitle"/>
          </p:nvPr>
        </p:nvSpPr>
        <p:spPr/>
        <p:txBody>
          <a:bodyPr/>
          <a:lstStyle/>
          <a:p>
            <a:r>
              <a:rPr lang="de-DE" err="1"/>
              <a:t>PowerBI</a:t>
            </a:r>
            <a:r>
              <a:rPr lang="de-DE"/>
              <a:t> Security: </a:t>
            </a:r>
            <a:r>
              <a:rPr lang="de-DE" err="1"/>
              <a:t>What</a:t>
            </a:r>
            <a:r>
              <a:rPr lang="de-DE"/>
              <a:t> to Secure?</a:t>
            </a:r>
          </a:p>
        </p:txBody>
      </p:sp>
      <p:sp>
        <p:nvSpPr>
          <p:cNvPr id="3" name="Textplatzhalter 2">
            <a:extLst>
              <a:ext uri="{FF2B5EF4-FFF2-40B4-BE49-F238E27FC236}">
                <a16:creationId xmlns:a16="http://schemas.microsoft.com/office/drawing/2014/main" id="{AB1BF0AB-AD18-4FBD-87F6-184C1A542C5E}"/>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14075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Why Security needs to be reviewed</a:t>
            </a:r>
            <a:endParaRPr lang="en-GB"/>
          </a:p>
        </p:txBody>
      </p:sp>
      <p:graphicFrame>
        <p:nvGraphicFramePr>
          <p:cNvPr id="2" name="Diagram 1"/>
          <p:cNvGraphicFramePr/>
          <p:nvPr/>
        </p:nvGraphicFramePr>
        <p:xfrm>
          <a:off x="5654566" y="273269"/>
          <a:ext cx="6212086" cy="61669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28040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10B685FD-79F8-49D8-B895-E2380080227F}"/>
                                            </p:graphicEl>
                                          </p:spTgt>
                                        </p:tgtEl>
                                        <p:attrNameLst>
                                          <p:attrName>style.visibility</p:attrName>
                                        </p:attrNameLst>
                                      </p:cBhvr>
                                      <p:to>
                                        <p:strVal val="visible"/>
                                      </p:to>
                                    </p:set>
                                    <p:animEffect transition="in" filter="fade">
                                      <p:cBhvr>
                                        <p:cTn id="7" dur="500"/>
                                        <p:tgtEl>
                                          <p:spTgt spid="2">
                                            <p:graphicEl>
                                              <a:dgm id="{10B685FD-79F8-49D8-B895-E2380080227F}"/>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graphicEl>
                                              <a:dgm id="{D33BB0EA-F195-438F-8A00-24E5C8226EA3}"/>
                                            </p:graphicEl>
                                          </p:spTgt>
                                        </p:tgtEl>
                                        <p:attrNameLst>
                                          <p:attrName>style.visibility</p:attrName>
                                        </p:attrNameLst>
                                      </p:cBhvr>
                                      <p:to>
                                        <p:strVal val="visible"/>
                                      </p:to>
                                    </p:set>
                                    <p:animEffect transition="in" filter="fade">
                                      <p:cBhvr>
                                        <p:cTn id="10" dur="500"/>
                                        <p:tgtEl>
                                          <p:spTgt spid="2">
                                            <p:graphicEl>
                                              <a:dgm id="{D33BB0EA-F195-438F-8A00-24E5C8226EA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graphicEl>
                                              <a:dgm id="{83A068E7-16B4-4313-9BD7-86F2CC6ED717}"/>
                                            </p:graphicEl>
                                          </p:spTgt>
                                        </p:tgtEl>
                                        <p:attrNameLst>
                                          <p:attrName>style.visibility</p:attrName>
                                        </p:attrNameLst>
                                      </p:cBhvr>
                                      <p:to>
                                        <p:strVal val="visible"/>
                                      </p:to>
                                    </p:set>
                                    <p:animEffect transition="in" filter="fade">
                                      <p:cBhvr>
                                        <p:cTn id="13" dur="500"/>
                                        <p:tgtEl>
                                          <p:spTgt spid="2">
                                            <p:graphicEl>
                                              <a:dgm id="{83A068E7-16B4-4313-9BD7-86F2CC6ED717}"/>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graphicEl>
                                              <a:dgm id="{501FCC22-A997-4163-86D1-18CF96D2C847}"/>
                                            </p:graphicEl>
                                          </p:spTgt>
                                        </p:tgtEl>
                                        <p:attrNameLst>
                                          <p:attrName>style.visibility</p:attrName>
                                        </p:attrNameLst>
                                      </p:cBhvr>
                                      <p:to>
                                        <p:strVal val="visible"/>
                                      </p:to>
                                    </p:set>
                                    <p:animEffect transition="in" filter="fade">
                                      <p:cBhvr>
                                        <p:cTn id="16" dur="500"/>
                                        <p:tgtEl>
                                          <p:spTgt spid="2">
                                            <p:graphicEl>
                                              <a:dgm id="{501FCC22-A997-4163-86D1-18CF96D2C847}"/>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808B666D-E5F6-46A6-9724-A881F7C0FFFF}"/>
                                            </p:graphicEl>
                                          </p:spTgt>
                                        </p:tgtEl>
                                        <p:attrNameLst>
                                          <p:attrName>style.visibility</p:attrName>
                                        </p:attrNameLst>
                                      </p:cBhvr>
                                      <p:to>
                                        <p:strVal val="visible"/>
                                      </p:to>
                                    </p:set>
                                    <p:animEffect transition="in" filter="fade">
                                      <p:cBhvr>
                                        <p:cTn id="19" dur="500"/>
                                        <p:tgtEl>
                                          <p:spTgt spid="2">
                                            <p:graphicEl>
                                              <a:dgm id="{808B666D-E5F6-46A6-9724-A881F7C0FFFF}"/>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graphicEl>
                                              <a:dgm id="{16BDD1B1-6573-49A9-B5D7-5900380DA9FE}"/>
                                            </p:graphicEl>
                                          </p:spTgt>
                                        </p:tgtEl>
                                        <p:attrNameLst>
                                          <p:attrName>style.visibility</p:attrName>
                                        </p:attrNameLst>
                                      </p:cBhvr>
                                      <p:to>
                                        <p:strVal val="visible"/>
                                      </p:to>
                                    </p:set>
                                    <p:animEffect transition="in" filter="fade">
                                      <p:cBhvr>
                                        <p:cTn id="24" dur="500"/>
                                        <p:tgtEl>
                                          <p:spTgt spid="2">
                                            <p:graphicEl>
                                              <a:dgm id="{16BDD1B1-6573-49A9-B5D7-5900380DA9FE}"/>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graphicEl>
                                              <a:dgm id="{B8DEA176-23F1-49DC-93D7-61E1A4F2D62C}"/>
                                            </p:graphicEl>
                                          </p:spTgt>
                                        </p:tgtEl>
                                        <p:attrNameLst>
                                          <p:attrName>style.visibility</p:attrName>
                                        </p:attrNameLst>
                                      </p:cBhvr>
                                      <p:to>
                                        <p:strVal val="visible"/>
                                      </p:to>
                                    </p:set>
                                    <p:animEffect transition="in" filter="fade">
                                      <p:cBhvr>
                                        <p:cTn id="27" dur="500"/>
                                        <p:tgtEl>
                                          <p:spTgt spid="2">
                                            <p:graphicEl>
                                              <a:dgm id="{B8DEA176-23F1-49DC-93D7-61E1A4F2D62C}"/>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graphicEl>
                                              <a:dgm id="{30F0C7C1-13E3-42E2-8FFB-DF4C270C725C}"/>
                                            </p:graphicEl>
                                          </p:spTgt>
                                        </p:tgtEl>
                                        <p:attrNameLst>
                                          <p:attrName>style.visibility</p:attrName>
                                        </p:attrNameLst>
                                      </p:cBhvr>
                                      <p:to>
                                        <p:strVal val="visible"/>
                                      </p:to>
                                    </p:set>
                                    <p:animEffect transition="in" filter="fade">
                                      <p:cBhvr>
                                        <p:cTn id="30" dur="500"/>
                                        <p:tgtEl>
                                          <p:spTgt spid="2">
                                            <p:graphicEl>
                                              <a:dgm id="{30F0C7C1-13E3-42E2-8FFB-DF4C270C725C}"/>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38CAB2FC-CDD3-4A35-A221-9A549B4B8A33}"/>
                                            </p:graphicEl>
                                          </p:spTgt>
                                        </p:tgtEl>
                                        <p:attrNameLst>
                                          <p:attrName>style.visibility</p:attrName>
                                        </p:attrNameLst>
                                      </p:cBhvr>
                                      <p:to>
                                        <p:strVal val="visible"/>
                                      </p:to>
                                    </p:set>
                                    <p:animEffect transition="in" filter="fade">
                                      <p:cBhvr>
                                        <p:cTn id="33" dur="500"/>
                                        <p:tgtEl>
                                          <p:spTgt spid="2">
                                            <p:graphicEl>
                                              <a:dgm id="{38CAB2FC-CDD3-4A35-A221-9A549B4B8A33}"/>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graphicEl>
                                              <a:dgm id="{1EADD7DE-598F-474D-8DE1-B38E166EFCE4}"/>
                                            </p:graphicEl>
                                          </p:spTgt>
                                        </p:tgtEl>
                                        <p:attrNameLst>
                                          <p:attrName>style.visibility</p:attrName>
                                        </p:attrNameLst>
                                      </p:cBhvr>
                                      <p:to>
                                        <p:strVal val="visible"/>
                                      </p:to>
                                    </p:set>
                                    <p:animEffect transition="in" filter="fade">
                                      <p:cBhvr>
                                        <p:cTn id="36" dur="500"/>
                                        <p:tgtEl>
                                          <p:spTgt spid="2">
                                            <p:graphicEl>
                                              <a:dgm id="{1EADD7DE-598F-474D-8DE1-B38E166EFCE4}"/>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graphicEl>
                                              <a:dgm id="{B0587C9F-B446-4D5B-8CAF-5E2324A6DE5C}"/>
                                            </p:graphicEl>
                                          </p:spTgt>
                                        </p:tgtEl>
                                        <p:attrNameLst>
                                          <p:attrName>style.visibility</p:attrName>
                                        </p:attrNameLst>
                                      </p:cBhvr>
                                      <p:to>
                                        <p:strVal val="visible"/>
                                      </p:to>
                                    </p:set>
                                    <p:animEffect transition="in" filter="fade">
                                      <p:cBhvr>
                                        <p:cTn id="39" dur="500"/>
                                        <p:tgtEl>
                                          <p:spTgt spid="2">
                                            <p:graphicEl>
                                              <a:dgm id="{B0587C9F-B446-4D5B-8CAF-5E2324A6DE5C}"/>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graphicEl>
                                              <a:dgm id="{8E5C6820-90B3-4DDB-AD4C-95FBE90236CE}"/>
                                            </p:graphicEl>
                                          </p:spTgt>
                                        </p:tgtEl>
                                        <p:attrNameLst>
                                          <p:attrName>style.visibility</p:attrName>
                                        </p:attrNameLst>
                                      </p:cBhvr>
                                      <p:to>
                                        <p:strVal val="visible"/>
                                      </p:to>
                                    </p:set>
                                    <p:animEffect transition="in" filter="fade">
                                      <p:cBhvr>
                                        <p:cTn id="42" dur="500"/>
                                        <p:tgtEl>
                                          <p:spTgt spid="2">
                                            <p:graphicEl>
                                              <a:dgm id="{8E5C6820-90B3-4DDB-AD4C-95FBE90236CE}"/>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one"/>
        </p:bldSub>
      </p:bldGraphic>
    </p:bld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iderations</a:t>
            </a:r>
          </a:p>
        </p:txBody>
      </p:sp>
      <p:sp>
        <p:nvSpPr>
          <p:cNvPr id="6" name="Title 2"/>
          <p:cNvSpPr txBox="1">
            <a:spLocks/>
          </p:cNvSpPr>
          <p:nvPr/>
        </p:nvSpPr>
        <p:spPr>
          <a:xfrm>
            <a:off x="219135" y="3604348"/>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Data Sources</a:t>
            </a:r>
          </a:p>
        </p:txBody>
      </p:sp>
      <p:sp>
        <p:nvSpPr>
          <p:cNvPr id="5" name="Text Placeholder 3">
            <a:extLst>
              <a:ext uri="{FF2B5EF4-FFF2-40B4-BE49-F238E27FC236}">
                <a16:creationId xmlns:a16="http://schemas.microsoft.com/office/drawing/2014/main" id="{D9394106-C9B6-4892-9B26-2E9503B2461E}"/>
              </a:ext>
            </a:extLst>
          </p:cNvPr>
          <p:cNvSpPr txBox="1">
            <a:spLocks/>
          </p:cNvSpPr>
          <p:nvPr/>
        </p:nvSpPr>
        <p:spPr>
          <a:xfrm>
            <a:off x="6553200" y="1069426"/>
            <a:ext cx="4980404" cy="48936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Classification</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source acces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curity trimming</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Preparation</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cel / Flat file</a:t>
            </a:r>
          </a:p>
        </p:txBody>
      </p:sp>
      <p:pic>
        <p:nvPicPr>
          <p:cNvPr id="13" name="Graphic 12" descr="Checklist">
            <a:extLst>
              <a:ext uri="{FF2B5EF4-FFF2-40B4-BE49-F238E27FC236}">
                <a16:creationId xmlns:a16="http://schemas.microsoft.com/office/drawing/2014/main" id="{49B5C62F-893E-40E2-9DD1-F710512B30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202790"/>
            <a:ext cx="914400" cy="914400"/>
          </a:xfrm>
          <a:prstGeom prst="rect">
            <a:avLst/>
          </a:prstGeom>
        </p:spPr>
      </p:pic>
      <p:pic>
        <p:nvPicPr>
          <p:cNvPr id="15" name="Graphic 14" descr="Key">
            <a:extLst>
              <a:ext uri="{FF2B5EF4-FFF2-40B4-BE49-F238E27FC236}">
                <a16:creationId xmlns:a16="http://schemas.microsoft.com/office/drawing/2014/main" id="{0E1D4D25-08E6-4D4B-A139-661BB7D436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161980"/>
            <a:ext cx="914400" cy="914400"/>
          </a:xfrm>
          <a:prstGeom prst="rect">
            <a:avLst/>
          </a:prstGeom>
        </p:spPr>
      </p:pic>
      <p:pic>
        <p:nvPicPr>
          <p:cNvPr id="17" name="Graphic 16" descr="Lock">
            <a:extLst>
              <a:ext uri="{FF2B5EF4-FFF2-40B4-BE49-F238E27FC236}">
                <a16:creationId xmlns:a16="http://schemas.microsoft.com/office/drawing/2014/main" id="{807B07D2-163D-4D41-9072-C56F479C26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066024"/>
            <a:ext cx="914400" cy="914400"/>
          </a:xfrm>
          <a:prstGeom prst="rect">
            <a:avLst/>
          </a:prstGeom>
        </p:spPr>
      </p:pic>
      <p:pic>
        <p:nvPicPr>
          <p:cNvPr id="19" name="Graphic 18" descr="Database">
            <a:extLst>
              <a:ext uri="{FF2B5EF4-FFF2-40B4-BE49-F238E27FC236}">
                <a16:creationId xmlns:a16="http://schemas.microsoft.com/office/drawing/2014/main" id="{733940D2-675E-427F-A1F4-5FD3FDCB5B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4020116"/>
            <a:ext cx="914400" cy="914400"/>
          </a:xfrm>
          <a:prstGeom prst="rect">
            <a:avLst/>
          </a:prstGeom>
        </p:spPr>
      </p:pic>
      <p:pic>
        <p:nvPicPr>
          <p:cNvPr id="21" name="Graphic 20" descr="Table">
            <a:extLst>
              <a:ext uri="{FF2B5EF4-FFF2-40B4-BE49-F238E27FC236}">
                <a16:creationId xmlns:a16="http://schemas.microsoft.com/office/drawing/2014/main" id="{AF2CAA7D-27EE-4103-B054-1BADFBB82D6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4934516"/>
            <a:ext cx="914400" cy="914400"/>
          </a:xfrm>
          <a:prstGeom prst="rect">
            <a:avLst/>
          </a:prstGeom>
        </p:spPr>
      </p:pic>
    </p:spTree>
    <p:custDataLst>
      <p:tags r:id="rId1"/>
    </p:custDataLst>
    <p:extLst>
      <p:ext uri="{BB962C8B-B14F-4D97-AF65-F5344CB8AC3E}">
        <p14:creationId xmlns:p14="http://schemas.microsoft.com/office/powerpoint/2010/main" val="419081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Effect transition="in" filter="fade">
                                      <p:cBhvr>
                                        <p:cTn id="18" dur="5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nodeType="withEffect">
                                  <p:stCondLst>
                                    <p:cond delay="0"/>
                                  </p:stCondLst>
                                  <p:childTnLst>
                                    <p:set>
                                      <p:cBhvr>
                                        <p:cTn id="33" dur="1" fill="hold">
                                          <p:stCondLst>
                                            <p:cond delay="0"/>
                                          </p:stCondLst>
                                        </p:cTn>
                                        <p:tgtEl>
                                          <p:spTgt spid="5">
                                            <p:txEl>
                                              <p:pRg st="3" end="3"/>
                                            </p:txEl>
                                          </p:spTgt>
                                        </p:tgtEl>
                                        <p:attrNameLst>
                                          <p:attrName>style.visibility</p:attrName>
                                        </p:attrNameLst>
                                      </p:cBhvr>
                                      <p:to>
                                        <p:strVal val="visible"/>
                                      </p:to>
                                    </p:set>
                                    <p:animEffect transition="in" filter="fade">
                                      <p:cBhvr>
                                        <p:cTn id="34" dur="5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4" end="4"/>
                                            </p:txEl>
                                          </p:spTgt>
                                        </p:tgtEl>
                                        <p:attrNameLst>
                                          <p:attrName>style.visibility</p:attrName>
                                        </p:attrNameLst>
                                      </p:cBhvr>
                                      <p:to>
                                        <p:strVal val="visible"/>
                                      </p:to>
                                    </p:set>
                                    <p:animEffect transition="in" filter="fade">
                                      <p:cBhvr>
                                        <p:cTn id="42"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5"/>
          <p:cNvSpPr/>
          <p:nvPr/>
        </p:nvSpPr>
        <p:spPr bwMode="auto">
          <a:xfrm>
            <a:off x="883" y="993"/>
            <a:ext cx="5422017" cy="6857008"/>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itle 2"/>
          <p:cNvSpPr txBox="1">
            <a:spLocks/>
          </p:cNvSpPr>
          <p:nvPr/>
        </p:nvSpPr>
        <p:spPr>
          <a:xfrm>
            <a:off x="274639" y="2267435"/>
            <a:ext cx="5148261" cy="245965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t>Connecting data to </a:t>
            </a:r>
            <a:b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5500" b="0" i="0" u="none" strike="noStrike" kern="1200" cap="none" spc="-100" normalizeH="0" baseline="0" noProof="0">
                <a:ln w="3175">
                  <a:noFill/>
                </a:ln>
                <a:gradFill>
                  <a:gsLst>
                    <a:gs pos="66272">
                      <a:srgbClr val="F2C811"/>
                    </a:gs>
                    <a:gs pos="50000">
                      <a:srgbClr val="F2C811"/>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sp>
        <p:nvSpPr>
          <p:cNvPr id="26" name="Rectangle 25"/>
          <p:cNvSpPr/>
          <p:nvPr/>
        </p:nvSpPr>
        <p:spPr>
          <a:xfrm>
            <a:off x="6482476" y="1047612"/>
            <a:ext cx="5243585" cy="4762776"/>
          </a:xfrm>
          <a:prstGeom prst="rect">
            <a:avLst/>
          </a:prstGeom>
        </p:spPr>
        <p:txBody>
          <a:bodyPr wrap="square" lIns="182880" tIns="146304" rIns="182880" bIns="146304">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Where is your data?</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Cloud</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On-premises</a:t>
            </a: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How do you refresh?</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Personal gateway</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On-premises data gateway</a:t>
            </a: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How do you connect? </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Import data</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irect / Live query</a:t>
            </a:r>
          </a:p>
        </p:txBody>
      </p:sp>
      <p:pic>
        <p:nvPicPr>
          <p:cNvPr id="4" name="Graphic 3" descr="Marker">
            <a:extLst>
              <a:ext uri="{FF2B5EF4-FFF2-40B4-BE49-F238E27FC236}">
                <a16:creationId xmlns:a16="http://schemas.microsoft.com/office/drawing/2014/main" id="{4D00AB84-21F8-4FFC-8070-7D981D060A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947036"/>
            <a:ext cx="914400" cy="914400"/>
          </a:xfrm>
          <a:prstGeom prst="rect">
            <a:avLst/>
          </a:prstGeom>
        </p:spPr>
      </p:pic>
      <p:pic>
        <p:nvPicPr>
          <p:cNvPr id="6" name="Graphic 5" descr="Repeat">
            <a:extLst>
              <a:ext uri="{FF2B5EF4-FFF2-40B4-BE49-F238E27FC236}">
                <a16:creationId xmlns:a16="http://schemas.microsoft.com/office/drawing/2014/main" id="{CB4326FC-F6AF-43D7-AA20-DD9BD1530A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2582862"/>
            <a:ext cx="914400" cy="914400"/>
          </a:xfrm>
          <a:prstGeom prst="rect">
            <a:avLst/>
          </a:prstGeom>
        </p:spPr>
      </p:pic>
      <p:pic>
        <p:nvPicPr>
          <p:cNvPr id="8" name="Graphic 7" descr="Playbook">
            <a:extLst>
              <a:ext uri="{FF2B5EF4-FFF2-40B4-BE49-F238E27FC236}">
                <a16:creationId xmlns:a16="http://schemas.microsoft.com/office/drawing/2014/main" id="{6BCD9EA1-C308-4CBA-BE93-0A9EF520D5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4134303"/>
            <a:ext cx="914400" cy="914400"/>
          </a:xfrm>
          <a:prstGeom prst="rect">
            <a:avLst/>
          </a:prstGeom>
        </p:spPr>
      </p:pic>
    </p:spTree>
    <p:extLst>
      <p:ext uri="{BB962C8B-B14F-4D97-AF65-F5344CB8AC3E}">
        <p14:creationId xmlns:p14="http://schemas.microsoft.com/office/powerpoint/2010/main" val="363623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5" name="Rectangle 15"/>
          <p:cNvSpPr/>
          <p:nvPr/>
        </p:nvSpPr>
        <p:spPr bwMode="auto">
          <a:xfrm>
            <a:off x="866" y="1460"/>
            <a:ext cx="5315432" cy="685605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a:xfrm>
            <a:off x="212211" y="1760678"/>
            <a:ext cx="5059507" cy="3336645"/>
          </a:xfrm>
          <a:prstGeom prst="rect">
            <a:avLst/>
          </a:prstGeom>
        </p:spPr>
        <p:txBody>
          <a:bodyPr wrap="square" lIns="179285" tIns="143428" rIns="179285" bIns="143428">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t>How Power BI views </a:t>
            </a:r>
            <a:b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br>
            <a:r>
              <a:rPr kumimoji="0" lang="en-US" sz="5500" b="1" i="0" u="none" strike="noStrike" kern="1200" cap="none" spc="0" normalizeH="0" baseline="0" noProof="0">
                <a:ln>
                  <a:noFill/>
                </a:ln>
                <a:solidFill>
                  <a:srgbClr val="F2C811"/>
                </a:solidFill>
                <a:effectLst/>
                <a:uLnTx/>
                <a:uFillTx/>
                <a:latin typeface="Segoe UI Semibold" panose="020B0702040204020203" pitchFamily="34" charset="0"/>
                <a:ea typeface="+mn-ea"/>
                <a:cs typeface="Segoe UI Semibold" panose="020B0702040204020203" pitchFamily="34" charset="0"/>
              </a:rPr>
              <a:t>your data model</a:t>
            </a:r>
          </a:p>
        </p:txBody>
      </p:sp>
      <p:grpSp>
        <p:nvGrpSpPr>
          <p:cNvPr id="22" name="Group 8"/>
          <p:cNvGrpSpPr>
            <a:grpSpLocks noChangeAspect="1"/>
          </p:cNvGrpSpPr>
          <p:nvPr/>
        </p:nvGrpSpPr>
        <p:grpSpPr bwMode="auto">
          <a:xfrm>
            <a:off x="5800877" y="3755865"/>
            <a:ext cx="588962" cy="434975"/>
            <a:chOff x="3871" y="2268"/>
            <a:chExt cx="371" cy="274"/>
          </a:xfrm>
          <a:solidFill>
            <a:schemeClr val="bg1"/>
          </a:solidFill>
        </p:grpSpPr>
        <p:sp>
          <p:nvSpPr>
            <p:cNvPr id="23" name="Freeform 9"/>
            <p:cNvSpPr>
              <a:spLocks noEditPoints="1"/>
            </p:cNvSpPr>
            <p:nvPr/>
          </p:nvSpPr>
          <p:spPr bwMode="auto">
            <a:xfrm>
              <a:off x="3871" y="2343"/>
              <a:ext cx="148" cy="199"/>
            </a:xfrm>
            <a:custGeom>
              <a:avLst/>
              <a:gdLst>
                <a:gd name="T0" fmla="*/ 124 w 148"/>
                <a:gd name="T1" fmla="*/ 25 h 199"/>
                <a:gd name="T2" fmla="*/ 124 w 148"/>
                <a:gd name="T3" fmla="*/ 174 h 199"/>
                <a:gd name="T4" fmla="*/ 25 w 148"/>
                <a:gd name="T5" fmla="*/ 174 h 199"/>
                <a:gd name="T6" fmla="*/ 25 w 148"/>
                <a:gd name="T7" fmla="*/ 25 h 199"/>
                <a:gd name="T8" fmla="*/ 124 w 148"/>
                <a:gd name="T9" fmla="*/ 25 h 199"/>
                <a:gd name="T10" fmla="*/ 148 w 148"/>
                <a:gd name="T11" fmla="*/ 0 h 199"/>
                <a:gd name="T12" fmla="*/ 0 w 148"/>
                <a:gd name="T13" fmla="*/ 0 h 199"/>
                <a:gd name="T14" fmla="*/ 0 w 148"/>
                <a:gd name="T15" fmla="*/ 199 h 199"/>
                <a:gd name="T16" fmla="*/ 148 w 148"/>
                <a:gd name="T17" fmla="*/ 199 h 199"/>
                <a:gd name="T18" fmla="*/ 148 w 148"/>
                <a:gd name="T19" fmla="*/ 0 h 199"/>
                <a:gd name="T20" fmla="*/ 148 w 148"/>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99">
                  <a:moveTo>
                    <a:pt x="124" y="25"/>
                  </a:moveTo>
                  <a:lnTo>
                    <a:pt x="124" y="174"/>
                  </a:lnTo>
                  <a:lnTo>
                    <a:pt x="25" y="174"/>
                  </a:lnTo>
                  <a:lnTo>
                    <a:pt x="25" y="25"/>
                  </a:lnTo>
                  <a:lnTo>
                    <a:pt x="124" y="25"/>
                  </a:lnTo>
                  <a:close/>
                  <a:moveTo>
                    <a:pt x="148" y="0"/>
                  </a:moveTo>
                  <a:lnTo>
                    <a:pt x="0" y="0"/>
                  </a:lnTo>
                  <a:lnTo>
                    <a:pt x="0" y="199"/>
                  </a:lnTo>
                  <a:lnTo>
                    <a:pt x="148" y="199"/>
                  </a:lnTo>
                  <a:lnTo>
                    <a:pt x="148" y="0"/>
                  </a:lnTo>
                  <a:lnTo>
                    <a:pt x="148"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4" name="Freeform 10"/>
            <p:cNvSpPr>
              <a:spLocks noEditPoints="1"/>
            </p:cNvSpPr>
            <p:nvPr/>
          </p:nvSpPr>
          <p:spPr bwMode="auto">
            <a:xfrm>
              <a:off x="3871" y="2343"/>
              <a:ext cx="148" cy="199"/>
            </a:xfrm>
            <a:custGeom>
              <a:avLst/>
              <a:gdLst>
                <a:gd name="T0" fmla="*/ 124 w 148"/>
                <a:gd name="T1" fmla="*/ 25 h 199"/>
                <a:gd name="T2" fmla="*/ 124 w 148"/>
                <a:gd name="T3" fmla="*/ 174 h 199"/>
                <a:gd name="T4" fmla="*/ 25 w 148"/>
                <a:gd name="T5" fmla="*/ 174 h 199"/>
                <a:gd name="T6" fmla="*/ 25 w 148"/>
                <a:gd name="T7" fmla="*/ 25 h 199"/>
                <a:gd name="T8" fmla="*/ 124 w 148"/>
                <a:gd name="T9" fmla="*/ 25 h 199"/>
                <a:gd name="T10" fmla="*/ 148 w 148"/>
                <a:gd name="T11" fmla="*/ 0 h 199"/>
                <a:gd name="T12" fmla="*/ 0 w 148"/>
                <a:gd name="T13" fmla="*/ 0 h 199"/>
                <a:gd name="T14" fmla="*/ 0 w 148"/>
                <a:gd name="T15" fmla="*/ 199 h 199"/>
                <a:gd name="T16" fmla="*/ 148 w 148"/>
                <a:gd name="T17" fmla="*/ 199 h 199"/>
                <a:gd name="T18" fmla="*/ 148 w 148"/>
                <a:gd name="T19" fmla="*/ 0 h 199"/>
                <a:gd name="T20" fmla="*/ 148 w 148"/>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199">
                  <a:moveTo>
                    <a:pt x="124" y="25"/>
                  </a:moveTo>
                  <a:lnTo>
                    <a:pt x="124" y="174"/>
                  </a:lnTo>
                  <a:lnTo>
                    <a:pt x="25" y="174"/>
                  </a:lnTo>
                  <a:lnTo>
                    <a:pt x="25" y="25"/>
                  </a:lnTo>
                  <a:lnTo>
                    <a:pt x="124" y="25"/>
                  </a:lnTo>
                  <a:moveTo>
                    <a:pt x="148" y="0"/>
                  </a:moveTo>
                  <a:lnTo>
                    <a:pt x="0" y="0"/>
                  </a:lnTo>
                  <a:lnTo>
                    <a:pt x="0" y="199"/>
                  </a:lnTo>
                  <a:lnTo>
                    <a:pt x="148" y="199"/>
                  </a:lnTo>
                  <a:lnTo>
                    <a:pt x="148" y="0"/>
                  </a:lnTo>
                  <a:lnTo>
                    <a:pt x="148" y="0"/>
                  </a:lnTo>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5" name="Freeform 11"/>
            <p:cNvSpPr>
              <a:spLocks/>
            </p:cNvSpPr>
            <p:nvPr/>
          </p:nvSpPr>
          <p:spPr bwMode="auto">
            <a:xfrm>
              <a:off x="3871" y="2268"/>
              <a:ext cx="371" cy="274"/>
            </a:xfrm>
            <a:custGeom>
              <a:avLst/>
              <a:gdLst>
                <a:gd name="T0" fmla="*/ 0 w 371"/>
                <a:gd name="T1" fmla="*/ 0 h 274"/>
                <a:gd name="T2" fmla="*/ 0 w 371"/>
                <a:gd name="T3" fmla="*/ 13 h 274"/>
                <a:gd name="T4" fmla="*/ 0 w 371"/>
                <a:gd name="T5" fmla="*/ 25 h 274"/>
                <a:gd name="T6" fmla="*/ 0 w 371"/>
                <a:gd name="T7" fmla="*/ 50 h 274"/>
                <a:gd name="T8" fmla="*/ 25 w 371"/>
                <a:gd name="T9" fmla="*/ 50 h 274"/>
                <a:gd name="T10" fmla="*/ 25 w 371"/>
                <a:gd name="T11" fmla="*/ 25 h 274"/>
                <a:gd name="T12" fmla="*/ 346 w 371"/>
                <a:gd name="T13" fmla="*/ 25 h 274"/>
                <a:gd name="T14" fmla="*/ 346 w 371"/>
                <a:gd name="T15" fmla="*/ 199 h 274"/>
                <a:gd name="T16" fmla="*/ 173 w 371"/>
                <a:gd name="T17" fmla="*/ 199 h 274"/>
                <a:gd name="T18" fmla="*/ 173 w 371"/>
                <a:gd name="T19" fmla="*/ 224 h 274"/>
                <a:gd name="T20" fmla="*/ 173 w 371"/>
                <a:gd name="T21" fmla="*/ 249 h 274"/>
                <a:gd name="T22" fmla="*/ 173 w 371"/>
                <a:gd name="T23" fmla="*/ 274 h 274"/>
                <a:gd name="T24" fmla="*/ 247 w 371"/>
                <a:gd name="T25" fmla="*/ 274 h 274"/>
                <a:gd name="T26" fmla="*/ 247 w 371"/>
                <a:gd name="T27" fmla="*/ 249 h 274"/>
                <a:gd name="T28" fmla="*/ 198 w 371"/>
                <a:gd name="T29" fmla="*/ 249 h 274"/>
                <a:gd name="T30" fmla="*/ 198 w 371"/>
                <a:gd name="T31" fmla="*/ 224 h 274"/>
                <a:gd name="T32" fmla="*/ 346 w 371"/>
                <a:gd name="T33" fmla="*/ 224 h 274"/>
                <a:gd name="T34" fmla="*/ 359 w 371"/>
                <a:gd name="T35" fmla="*/ 224 h 274"/>
                <a:gd name="T36" fmla="*/ 371 w 371"/>
                <a:gd name="T37" fmla="*/ 224 h 274"/>
                <a:gd name="T38" fmla="*/ 371 w 371"/>
                <a:gd name="T39" fmla="*/ 25 h 274"/>
                <a:gd name="T40" fmla="*/ 371 w 371"/>
                <a:gd name="T41" fmla="*/ 13 h 274"/>
                <a:gd name="T42" fmla="*/ 371 w 371"/>
                <a:gd name="T43" fmla="*/ 0 h 274"/>
                <a:gd name="T44" fmla="*/ 0 w 371"/>
                <a:gd name="T45"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1" h="274">
                  <a:moveTo>
                    <a:pt x="0" y="0"/>
                  </a:moveTo>
                  <a:lnTo>
                    <a:pt x="0" y="13"/>
                  </a:lnTo>
                  <a:lnTo>
                    <a:pt x="0" y="25"/>
                  </a:lnTo>
                  <a:lnTo>
                    <a:pt x="0" y="50"/>
                  </a:lnTo>
                  <a:lnTo>
                    <a:pt x="25" y="50"/>
                  </a:lnTo>
                  <a:lnTo>
                    <a:pt x="25" y="25"/>
                  </a:lnTo>
                  <a:lnTo>
                    <a:pt x="346" y="25"/>
                  </a:lnTo>
                  <a:lnTo>
                    <a:pt x="346" y="199"/>
                  </a:lnTo>
                  <a:lnTo>
                    <a:pt x="173" y="199"/>
                  </a:lnTo>
                  <a:lnTo>
                    <a:pt x="173" y="224"/>
                  </a:lnTo>
                  <a:lnTo>
                    <a:pt x="173" y="249"/>
                  </a:lnTo>
                  <a:lnTo>
                    <a:pt x="173" y="274"/>
                  </a:lnTo>
                  <a:lnTo>
                    <a:pt x="247" y="274"/>
                  </a:lnTo>
                  <a:lnTo>
                    <a:pt x="247" y="249"/>
                  </a:lnTo>
                  <a:lnTo>
                    <a:pt x="198" y="249"/>
                  </a:lnTo>
                  <a:lnTo>
                    <a:pt x="198" y="224"/>
                  </a:lnTo>
                  <a:lnTo>
                    <a:pt x="346" y="224"/>
                  </a:lnTo>
                  <a:lnTo>
                    <a:pt x="359" y="224"/>
                  </a:lnTo>
                  <a:lnTo>
                    <a:pt x="371" y="224"/>
                  </a:lnTo>
                  <a:lnTo>
                    <a:pt x="371" y="25"/>
                  </a:lnTo>
                  <a:lnTo>
                    <a:pt x="371" y="13"/>
                  </a:lnTo>
                  <a:lnTo>
                    <a:pt x="371" y="0"/>
                  </a:lnTo>
                  <a:lnTo>
                    <a:pt x="0" y="0"/>
                  </a:ln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pic>
        <p:nvPicPr>
          <p:cNvPr id="4" name="Graphic 3" descr="Cloud">
            <a:extLst>
              <a:ext uri="{FF2B5EF4-FFF2-40B4-BE49-F238E27FC236}">
                <a16:creationId xmlns:a16="http://schemas.microsoft.com/office/drawing/2014/main" id="{EE3DE5FA-0B48-43D1-9774-38A3F1137A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8627" y="1343287"/>
            <a:ext cx="914400" cy="914400"/>
          </a:xfrm>
          <a:prstGeom prst="rect">
            <a:avLst/>
          </a:prstGeom>
        </p:spPr>
      </p:pic>
      <p:sp>
        <p:nvSpPr>
          <p:cNvPr id="11" name="Rectangle 10">
            <a:extLst>
              <a:ext uri="{FF2B5EF4-FFF2-40B4-BE49-F238E27FC236}">
                <a16:creationId xmlns:a16="http://schemas.microsoft.com/office/drawing/2014/main" id="{AC72E18D-F7D6-4CF5-B135-C896DD81DDC5}"/>
              </a:ext>
            </a:extLst>
          </p:cNvPr>
          <p:cNvSpPr/>
          <p:nvPr/>
        </p:nvSpPr>
        <p:spPr>
          <a:xfrm>
            <a:off x="6493027" y="1485081"/>
            <a:ext cx="5359473" cy="3612242"/>
          </a:xfrm>
          <a:prstGeom prst="rect">
            <a:avLst/>
          </a:prstGeom>
        </p:spPr>
        <p:txBody>
          <a:bodyPr wrap="square" lIns="182880" tIns="146304" rIns="182880" bIns="146304">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Cloud Models</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set metadata and data stored in Power BI</a:t>
            </a:r>
          </a:p>
          <a:p>
            <a:pPr marL="0" marR="0" lvl="0" indent="0" algn="l" defTabSz="932742" rtl="0" eaLnBrk="1" fontAlgn="auto" latinLnBrk="0" hangingPunct="1">
              <a:lnSpc>
                <a:spcPct val="90000"/>
              </a:lnSpc>
              <a:spcBef>
                <a:spcPts val="3000"/>
              </a:spcBef>
              <a:spcAft>
                <a:spcPts val="600"/>
              </a:spcAft>
              <a:buClrTx/>
              <a:buSzTx/>
              <a:buFontTx/>
              <a:buNone/>
              <a:tabLst/>
              <a:defRPr/>
            </a:pPr>
            <a:endParaRPr kumimoji="0" lang="en-US" sz="2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endParaRPr>
          </a:p>
          <a:p>
            <a:pPr marL="0" marR="0" lvl="0" indent="0" algn="l" defTabSz="932742" rtl="0" eaLnBrk="1" fontAlgn="auto" latinLnBrk="0" hangingPunct="1">
              <a:lnSpc>
                <a:spcPct val="90000"/>
              </a:lnSpc>
              <a:spcBef>
                <a:spcPts val="3000"/>
              </a:spcBef>
              <a:spcAft>
                <a:spcPts val="600"/>
              </a:spcAft>
              <a:buClrTx/>
              <a:buSzTx/>
              <a:buFontTx/>
              <a:buNone/>
              <a:tabLst/>
              <a:defRPr/>
            </a:pPr>
            <a:r>
              <a:rPr kumimoji="0" lang="en-US" sz="36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Light"/>
                <a:ea typeface="+mn-ea"/>
                <a:cs typeface="Segoe UI Semibold" panose="020B0702040204020203" pitchFamily="34" charset="0"/>
              </a:rPr>
              <a:t>External Models</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set metadata stored in Power BI</a:t>
            </a:r>
          </a:p>
          <a:p>
            <a:pPr marL="292100" marR="0" lvl="2"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a:ea typeface="+mn-ea"/>
                <a:cs typeface="Segoe UI Semilight" panose="020B0402040204020203" pitchFamily="34" charset="0"/>
              </a:rPr>
              <a:t>Data stored externally</a:t>
            </a:r>
          </a:p>
        </p:txBody>
      </p:sp>
    </p:spTree>
    <p:extLst>
      <p:ext uri="{BB962C8B-B14F-4D97-AF65-F5344CB8AC3E}">
        <p14:creationId xmlns:p14="http://schemas.microsoft.com/office/powerpoint/2010/main" val="112753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D5E1E0-A27B-4D35-9FF5-048E729C5026}"/>
              </a:ext>
            </a:extLst>
          </p:cNvPr>
          <p:cNvSpPr>
            <a:spLocks noGrp="1"/>
          </p:cNvSpPr>
          <p:nvPr>
            <p:ph type="ctrTitle"/>
          </p:nvPr>
        </p:nvSpPr>
        <p:spPr/>
        <p:txBody>
          <a:bodyPr/>
          <a:lstStyle/>
          <a:p>
            <a:r>
              <a:rPr lang="de-DE" err="1"/>
              <a:t>PowerBI</a:t>
            </a:r>
            <a:r>
              <a:rPr lang="de-DE"/>
              <a:t> Security: Architecture</a:t>
            </a:r>
          </a:p>
        </p:txBody>
      </p:sp>
      <p:sp>
        <p:nvSpPr>
          <p:cNvPr id="3" name="Textplatzhalter 2">
            <a:extLst>
              <a:ext uri="{FF2B5EF4-FFF2-40B4-BE49-F238E27FC236}">
                <a16:creationId xmlns:a16="http://schemas.microsoft.com/office/drawing/2014/main" id="{1F22BA68-8ACB-4B50-AB6D-22E612A4B0A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49363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E9CB1B22-8B04-4B26-BDD7-923B34CBAF14}"/>
              </a:ext>
            </a:extLst>
          </p:cNvPr>
          <p:cNvSpPr txBox="1"/>
          <p:nvPr/>
        </p:nvSpPr>
        <p:spPr>
          <a:xfrm>
            <a:off x="1155034" y="2244060"/>
            <a:ext cx="3547677" cy="2369880"/>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W</a:t>
            </a:r>
            <a:r>
              <a:rPr kumimoji="0" lang="en-US" sz="1800" b="0" i="0" u="none" strike="noStrike" kern="1200" cap="none" spc="0" normalizeH="0" baseline="0" noProof="0" err="1">
                <a:ln>
                  <a:noFill/>
                </a:ln>
                <a:solidFill>
                  <a:prstClr val="black"/>
                </a:solidFill>
                <a:effectLst/>
                <a:uLnTx/>
                <a:uFillTx/>
                <a:latin typeface="Segoe UI"/>
                <a:ea typeface="+mn-ea"/>
                <a:cs typeface="+mn-cs"/>
              </a:rPr>
              <a:t>orking</a:t>
            </a:r>
            <a:r>
              <a:rPr kumimoji="0" lang="en-US" sz="1800" b="0" i="0" u="none" strike="noStrike" kern="1200" cap="none" spc="0" normalizeH="0" baseline="0" noProof="0">
                <a:ln>
                  <a:noFill/>
                </a:ln>
                <a:solidFill>
                  <a:prstClr val="black"/>
                </a:solidFill>
                <a:effectLst/>
                <a:uLnTx/>
                <a:uFillTx/>
                <a:latin typeface="Segoe UI"/>
                <a:ea typeface="+mn-ea"/>
                <a:cs typeface="+mn-cs"/>
              </a:rPr>
              <a:t> with the right data in day-to-day activiti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T</a:t>
            </a:r>
            <a:r>
              <a:rPr kumimoji="0" lang="en-US" sz="1800" b="0" i="0" u="none" strike="noStrike" kern="1200" cap="none" spc="0" normalizeH="0" baseline="0" noProof="0">
                <a:ln>
                  <a:noFill/>
                </a:ln>
                <a:solidFill>
                  <a:prstClr val="black"/>
                </a:solidFill>
                <a:effectLst/>
                <a:uLnTx/>
                <a:uFillTx/>
                <a:latin typeface="Segoe UI"/>
                <a:ea typeface="+mn-ea"/>
                <a:cs typeface="+mn-cs"/>
              </a:rPr>
              <a:t>he ability to effectively search for, and locate, relevant data sources and artifacts across the organization</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FB714BA0-B851-4C77-A457-A42123A96720}"/>
              </a:ext>
            </a:extLst>
          </p:cNvPr>
          <p:cNvGrpSpPr/>
          <p:nvPr/>
        </p:nvGrpSpPr>
        <p:grpSpPr>
          <a:xfrm>
            <a:off x="5965617" y="1578873"/>
            <a:ext cx="3795888" cy="607458"/>
            <a:chOff x="15588833" y="3625334"/>
            <a:chExt cx="7591775" cy="1214915"/>
          </a:xfrm>
        </p:grpSpPr>
        <p:sp>
          <p:nvSpPr>
            <p:cNvPr id="5" name="Oval 70">
              <a:extLst>
                <a:ext uri="{FF2B5EF4-FFF2-40B4-BE49-F238E27FC236}">
                  <a16:creationId xmlns:a16="http://schemas.microsoft.com/office/drawing/2014/main" id="{9DDD3E07-7B52-42CE-826A-ED28704D7137}"/>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D88AB94E-69B8-471C-BDBC-C38E27CC045F}"/>
                </a:ext>
              </a:extLst>
            </p:cNvPr>
            <p:cNvSpPr txBox="1">
              <a:spLocks/>
            </p:cNvSpPr>
            <p:nvPr/>
          </p:nvSpPr>
          <p:spPr>
            <a:xfrm>
              <a:off x="17175035" y="3801903"/>
              <a:ext cx="6005573"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215"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couraging the use of trusted high-quality data source</a:t>
              </a:r>
              <a:endParaRPr kumimoji="0" lang="en-US" sz="1200" b="0" i="0" u="none" strike="noStrike" kern="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7" name="Group 72">
              <a:extLst>
                <a:ext uri="{FF2B5EF4-FFF2-40B4-BE49-F238E27FC236}">
                  <a16:creationId xmlns:a16="http://schemas.microsoft.com/office/drawing/2014/main" id="{57D7A2E9-A56A-48EB-9C31-EC0B767336C6}"/>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22BB82F5-075B-4458-B71D-37CE568096FD}"/>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6D923A23-5274-4727-B2E1-1E2E9840F761}"/>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B6F46AE8-D967-4B3C-BC79-57C663B01CDB}"/>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55905161-AC5F-48D3-826C-313234B5D8DD}"/>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CD284C5D-6680-4F9D-B0A5-7B8512CE9C70}"/>
              </a:ext>
            </a:extLst>
          </p:cNvPr>
          <p:cNvGrpSpPr/>
          <p:nvPr/>
        </p:nvGrpSpPr>
        <p:grpSpPr>
          <a:xfrm>
            <a:off x="5972635" y="2456114"/>
            <a:ext cx="3832879" cy="646331"/>
            <a:chOff x="15602870" y="5379819"/>
            <a:chExt cx="7665758" cy="1292662"/>
          </a:xfrm>
        </p:grpSpPr>
        <p:sp>
          <p:nvSpPr>
            <p:cNvPr id="13" name="Oval 78">
              <a:extLst>
                <a:ext uri="{FF2B5EF4-FFF2-40B4-BE49-F238E27FC236}">
                  <a16:creationId xmlns:a16="http://schemas.microsoft.com/office/drawing/2014/main" id="{40297828-31A7-4F9C-B538-C182A26BA4EF}"/>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357E5F3F-579C-4EEB-8495-DCB41D370A58}"/>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00EF0831-5E78-451F-8871-F2568E769A7A}"/>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83C38A4F-06CD-4008-BD9C-39D313EA091E}"/>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10F59ACD-53FB-413B-BA18-E2AFC65B3F61}"/>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35846C75-AF21-4485-B6D0-486FA4D21C23}"/>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5CE6E610-E7B2-452F-B3FB-5C93FBDE8E7B}"/>
                </a:ext>
              </a:extLst>
            </p:cNvPr>
            <p:cNvSpPr txBox="1">
              <a:spLocks/>
            </p:cNvSpPr>
            <p:nvPr/>
          </p:nvSpPr>
          <p:spPr>
            <a:xfrm>
              <a:off x="17263054" y="5379819"/>
              <a:ext cx="6005574" cy="129266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couraging users to take advantage of investments in existing data resources</a:t>
              </a:r>
            </a:p>
          </p:txBody>
        </p:sp>
      </p:grpSp>
      <p:grpSp>
        <p:nvGrpSpPr>
          <p:cNvPr id="20" name="Group 85">
            <a:extLst>
              <a:ext uri="{FF2B5EF4-FFF2-40B4-BE49-F238E27FC236}">
                <a16:creationId xmlns:a16="http://schemas.microsoft.com/office/drawing/2014/main" id="{F92CA442-1B3A-4FC9-91FC-CA28238AEA2E}"/>
              </a:ext>
            </a:extLst>
          </p:cNvPr>
          <p:cNvGrpSpPr/>
          <p:nvPr/>
        </p:nvGrpSpPr>
        <p:grpSpPr>
          <a:xfrm>
            <a:off x="5972635" y="3376759"/>
            <a:ext cx="3832879" cy="607458"/>
            <a:chOff x="15602870" y="7221105"/>
            <a:chExt cx="7665757" cy="1214915"/>
          </a:xfrm>
        </p:grpSpPr>
        <p:sp>
          <p:nvSpPr>
            <p:cNvPr id="21" name="Oval 86">
              <a:extLst>
                <a:ext uri="{FF2B5EF4-FFF2-40B4-BE49-F238E27FC236}">
                  <a16:creationId xmlns:a16="http://schemas.microsoft.com/office/drawing/2014/main" id="{829A7C77-4446-45C0-999B-A5979D14258E}"/>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70BCD6B6-B0E7-421E-93BB-A56794FDB09A}"/>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CFAC472F-03BA-4DA9-90DC-5D075E1042A7}"/>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AA0E89B9-2E91-48CB-8583-A2520E5E35F3}"/>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F425502F-6690-4AC3-A7A2-4BAD91243960}"/>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465AFE0B-EE96-49CA-8C8D-B0D38EC04756}"/>
                </a:ext>
              </a:extLst>
            </p:cNvPr>
            <p:cNvSpPr txBox="1">
              <a:spLocks/>
            </p:cNvSpPr>
            <p:nvPr/>
          </p:nvSpPr>
          <p:spPr>
            <a:xfrm>
              <a:off x="17263054" y="7386736"/>
              <a:ext cx="6005573"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romoting the use and enrichment of existing Power BI artifacts.</a:t>
              </a:r>
            </a:p>
          </p:txBody>
        </p:sp>
      </p:grpSp>
      <p:grpSp>
        <p:nvGrpSpPr>
          <p:cNvPr id="27" name="Group 92">
            <a:extLst>
              <a:ext uri="{FF2B5EF4-FFF2-40B4-BE49-F238E27FC236}">
                <a16:creationId xmlns:a16="http://schemas.microsoft.com/office/drawing/2014/main" id="{27039BA1-03C7-48BA-84A1-53C61C3C69FB}"/>
              </a:ext>
            </a:extLst>
          </p:cNvPr>
          <p:cNvGrpSpPr/>
          <p:nvPr/>
        </p:nvGrpSpPr>
        <p:grpSpPr>
          <a:xfrm>
            <a:off x="5972635" y="4254712"/>
            <a:ext cx="3771364" cy="607458"/>
            <a:chOff x="15602870" y="8977015"/>
            <a:chExt cx="7542728" cy="1214915"/>
          </a:xfrm>
        </p:grpSpPr>
        <p:sp>
          <p:nvSpPr>
            <p:cNvPr id="28" name="Oval 93">
              <a:extLst>
                <a:ext uri="{FF2B5EF4-FFF2-40B4-BE49-F238E27FC236}">
                  <a16:creationId xmlns:a16="http://schemas.microsoft.com/office/drawing/2014/main" id="{C5B37123-4CCA-4219-AEB5-9BC0EF72877E}"/>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71364988-78C9-48AE-9EFD-DA06B6B25FB0}"/>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A2445DCC-237B-4441-BF2E-8EFE06BFAA47}"/>
                </a:ext>
              </a:extLst>
            </p:cNvPr>
            <p:cNvSpPr txBox="1">
              <a:spLocks/>
            </p:cNvSpPr>
            <p:nvPr/>
          </p:nvSpPr>
          <p:spPr>
            <a:xfrm>
              <a:off x="17140024" y="9152931"/>
              <a:ext cx="6005574"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Helping people understand who owns and manages data artifacts.</a:t>
              </a:r>
            </a:p>
          </p:txBody>
        </p:sp>
      </p:grpSp>
      <p:grpSp>
        <p:nvGrpSpPr>
          <p:cNvPr id="31" name="Group 96">
            <a:extLst>
              <a:ext uri="{FF2B5EF4-FFF2-40B4-BE49-F238E27FC236}">
                <a16:creationId xmlns:a16="http://schemas.microsoft.com/office/drawing/2014/main" id="{1614FCED-769B-4249-A09F-C7D934957279}"/>
              </a:ext>
            </a:extLst>
          </p:cNvPr>
          <p:cNvGrpSpPr/>
          <p:nvPr/>
        </p:nvGrpSpPr>
        <p:grpSpPr>
          <a:xfrm>
            <a:off x="5972635" y="5140107"/>
            <a:ext cx="3832878" cy="607458"/>
            <a:chOff x="15602870" y="10747797"/>
            <a:chExt cx="7665756" cy="1214915"/>
          </a:xfrm>
        </p:grpSpPr>
        <p:sp>
          <p:nvSpPr>
            <p:cNvPr id="32" name="Oval 97">
              <a:extLst>
                <a:ext uri="{FF2B5EF4-FFF2-40B4-BE49-F238E27FC236}">
                  <a16:creationId xmlns:a16="http://schemas.microsoft.com/office/drawing/2014/main" id="{A89F4E50-3479-4AAD-AD90-BAEAE9C3ACD3}"/>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16D8852F-ED55-4658-AC92-3C1108E13C75}"/>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5E8ECB20-BB1A-4318-BCE2-262C355800D3}"/>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FBA72258-C8C4-41A0-9415-B8537F0B2A29}"/>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832DA73F-6A47-48E7-80ED-C1E9AF4D57F6}"/>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9E5C36A8-4639-432E-BDD6-B2586894F77D}"/>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99DDC292-93C2-4EDE-B198-3047C2080251}"/>
                </a:ext>
              </a:extLst>
            </p:cNvPr>
            <p:cNvSpPr txBox="1">
              <a:spLocks/>
            </p:cNvSpPr>
            <p:nvPr/>
          </p:nvSpPr>
          <p:spPr>
            <a:xfrm>
              <a:off x="17263052" y="10919122"/>
              <a:ext cx="6005574" cy="86177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stablishing connections between consumers, creators, and owners.</a:t>
              </a:r>
            </a:p>
          </p:txBody>
        </p:sp>
      </p:grpSp>
      <p:sp>
        <p:nvSpPr>
          <p:cNvPr id="39" name="Titel 38">
            <a:extLst>
              <a:ext uri="{FF2B5EF4-FFF2-40B4-BE49-F238E27FC236}">
                <a16:creationId xmlns:a16="http://schemas.microsoft.com/office/drawing/2014/main" id="{AC073586-19DA-43C5-BB70-A0ADBE09CBE7}"/>
              </a:ext>
            </a:extLst>
          </p:cNvPr>
          <p:cNvSpPr>
            <a:spLocks noGrp="1"/>
          </p:cNvSpPr>
          <p:nvPr>
            <p:ph type="title"/>
          </p:nvPr>
        </p:nvSpPr>
        <p:spPr/>
        <p:txBody>
          <a:bodyPr/>
          <a:lstStyle/>
          <a:p>
            <a:r>
              <a:rPr lang="de-DE"/>
              <a:t>Data Discovery</a:t>
            </a:r>
          </a:p>
        </p:txBody>
      </p:sp>
    </p:spTree>
    <p:extLst>
      <p:ext uri="{BB962C8B-B14F-4D97-AF65-F5344CB8AC3E}">
        <p14:creationId xmlns:p14="http://schemas.microsoft.com/office/powerpoint/2010/main" val="87561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5146" y="4173430"/>
            <a:ext cx="3241297" cy="1819135"/>
          </a:xfrm>
          <a:prstGeom prst="rect">
            <a:avLst/>
          </a:prstGeom>
        </p:spPr>
      </p:pic>
      <p:pic>
        <p:nvPicPr>
          <p:cNvPr id="7" name="Picture 6"/>
          <p:cNvPicPr>
            <a:picLocks noChangeAspect="1"/>
          </p:cNvPicPr>
          <p:nvPr/>
        </p:nvPicPr>
        <p:blipFill>
          <a:blip r:embed="rId4"/>
          <a:stretch>
            <a:fillRect/>
          </a:stretch>
        </p:blipFill>
        <p:spPr>
          <a:xfrm>
            <a:off x="3632002" y="4173430"/>
            <a:ext cx="1512754" cy="1819135"/>
          </a:xfrm>
          <a:prstGeom prst="rect">
            <a:avLst/>
          </a:prstGeom>
        </p:spPr>
      </p:pic>
      <p:sp>
        <p:nvSpPr>
          <p:cNvPr id="6" name="Title 2">
            <a:extLst>
              <a:ext uri="{FF2B5EF4-FFF2-40B4-BE49-F238E27FC236}">
                <a16:creationId xmlns:a16="http://schemas.microsoft.com/office/drawing/2014/main" id="{150A678A-1F07-4AC5-83D9-65BF0496A82F}"/>
              </a:ext>
            </a:extLst>
          </p:cNvPr>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enants</a:t>
            </a:r>
          </a:p>
        </p:txBody>
      </p:sp>
      <p:sp>
        <p:nvSpPr>
          <p:cNvPr id="10" name="Text Placeholder 3">
            <a:extLst>
              <a:ext uri="{FF2B5EF4-FFF2-40B4-BE49-F238E27FC236}">
                <a16:creationId xmlns:a16="http://schemas.microsoft.com/office/drawing/2014/main" id="{247F45BD-82D4-4A5D-9C85-C0FEAD445A2A}"/>
              </a:ext>
            </a:extLst>
          </p:cNvPr>
          <p:cNvSpPr txBox="1">
            <a:spLocks/>
          </p:cNvSpPr>
          <p:nvPr/>
        </p:nvSpPr>
        <p:spPr>
          <a:xfrm>
            <a:off x="6645396" y="1561992"/>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istinct and Separate</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s and Company</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location</a:t>
            </a:r>
          </a:p>
        </p:txBody>
      </p:sp>
      <p:pic>
        <p:nvPicPr>
          <p:cNvPr id="16" name="Graphic 15" descr="Building">
            <a:extLst>
              <a:ext uri="{FF2B5EF4-FFF2-40B4-BE49-F238E27FC236}">
                <a16:creationId xmlns:a16="http://schemas.microsoft.com/office/drawing/2014/main" id="{91A6B4BB-94B3-4D5C-9FB1-852374E1EE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912644"/>
            <a:ext cx="914400" cy="914400"/>
          </a:xfrm>
          <a:prstGeom prst="rect">
            <a:avLst/>
          </a:prstGeom>
        </p:spPr>
      </p:pic>
      <p:pic>
        <p:nvPicPr>
          <p:cNvPr id="18" name="Graphic 17" descr="Users">
            <a:extLst>
              <a:ext uri="{FF2B5EF4-FFF2-40B4-BE49-F238E27FC236}">
                <a16:creationId xmlns:a16="http://schemas.microsoft.com/office/drawing/2014/main" id="{5C8B3662-0275-460F-B9EC-19BBB05E02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114402"/>
            <a:ext cx="914400" cy="914400"/>
          </a:xfrm>
          <a:prstGeom prst="rect">
            <a:avLst/>
          </a:prstGeom>
        </p:spPr>
      </p:pic>
      <p:pic>
        <p:nvPicPr>
          <p:cNvPr id="20" name="Graphic 19" descr="Marker">
            <a:extLst>
              <a:ext uri="{FF2B5EF4-FFF2-40B4-BE49-F238E27FC236}">
                <a16:creationId xmlns:a16="http://schemas.microsoft.com/office/drawing/2014/main" id="{F8BF08AA-77E7-482F-96AE-56F0088E634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6160"/>
            <a:ext cx="914400" cy="914400"/>
          </a:xfrm>
          <a:prstGeom prst="rect">
            <a:avLst/>
          </a:prstGeom>
        </p:spPr>
      </p:pic>
    </p:spTree>
    <p:extLst>
      <p:ext uri="{BB962C8B-B14F-4D97-AF65-F5344CB8AC3E}">
        <p14:creationId xmlns:p14="http://schemas.microsoft.com/office/powerpoint/2010/main" val="3114872505"/>
      </p:ext>
    </p:extLst>
  </p:cSld>
  <p:clrMapOvr>
    <a:masterClrMapping/>
  </p:clrMapOvr>
  <mc:AlternateContent xmlns:mc="http://schemas.openxmlformats.org/markup-compatibility/2006" xmlns:p14="http://schemas.microsoft.com/office/powerpoint/2010/main">
    <mc:Choice Requires="p14">
      <p:transition spd="med" p14:dur="700" advTm="51351">
        <p:fade/>
      </p:transition>
    </mc:Choice>
    <mc:Fallback xmlns="">
      <p:transition spd="med" advTm="51351">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Web Front End Cluster</a:t>
            </a:r>
          </a:p>
        </p:txBody>
      </p:sp>
      <p:pic>
        <p:nvPicPr>
          <p:cNvPr id="8" name="Picture 7" descr="C:\Users\davidi\AppData\Local\Temp\SNAGHTML13384914.PNG"/>
          <p:cNvPicPr/>
          <p:nvPr/>
        </p:nvPicPr>
        <p:blipFill>
          <a:blip r:embed="rId4">
            <a:extLst>
              <a:ext uri="{28A0092B-C50C-407E-A947-70E740481C1C}">
                <a14:useLocalDpi xmlns:a14="http://schemas.microsoft.com/office/drawing/2010/main" val="0"/>
              </a:ext>
            </a:extLst>
          </a:blip>
          <a:srcRect/>
          <a:stretch>
            <a:fillRect/>
          </a:stretch>
        </p:blipFill>
        <p:spPr bwMode="auto">
          <a:xfrm>
            <a:off x="924877" y="2583543"/>
            <a:ext cx="3422039" cy="3592174"/>
          </a:xfrm>
          <a:prstGeom prst="rect">
            <a:avLst/>
          </a:prstGeom>
          <a:solidFill>
            <a:schemeClr val="bg1"/>
          </a:solidFill>
          <a:ln>
            <a:noFill/>
          </a:ln>
        </p:spPr>
      </p:pic>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1459892"/>
            <a:ext cx="4980404" cy="4062651"/>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Active Directory</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Traffic Manager</a:t>
            </a:r>
          </a:p>
          <a:p>
            <a:pPr marL="0" marR="0" lvl="0" indent="0" algn="l" defTabSz="914367" rtl="0" eaLnBrk="1" fontAlgn="auto" latinLnBrk="0" hangingPunct="1">
              <a:lnSpc>
                <a:spcPct val="10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Content Delivery Network</a:t>
            </a:r>
          </a:p>
        </p:txBody>
      </p:sp>
      <p:pic>
        <p:nvPicPr>
          <p:cNvPr id="10" name="Graphic 9" descr="Key">
            <a:extLst>
              <a:ext uri="{FF2B5EF4-FFF2-40B4-BE49-F238E27FC236}">
                <a16:creationId xmlns:a16="http://schemas.microsoft.com/office/drawing/2014/main" id="{AD84666B-E761-4C91-9193-9912D7E90A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459892"/>
            <a:ext cx="914400" cy="914400"/>
          </a:xfrm>
          <a:prstGeom prst="rect">
            <a:avLst/>
          </a:prstGeom>
        </p:spPr>
      </p:pic>
      <p:pic>
        <p:nvPicPr>
          <p:cNvPr id="12" name="Graphic 11" descr="Car">
            <a:extLst>
              <a:ext uri="{FF2B5EF4-FFF2-40B4-BE49-F238E27FC236}">
                <a16:creationId xmlns:a16="http://schemas.microsoft.com/office/drawing/2014/main" id="{58590006-1D6C-4BB3-B2D0-7A787D8B01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784514"/>
            <a:ext cx="914400" cy="914400"/>
          </a:xfrm>
          <a:prstGeom prst="rect">
            <a:avLst/>
          </a:prstGeom>
        </p:spPr>
      </p:pic>
      <p:pic>
        <p:nvPicPr>
          <p:cNvPr id="14" name="Graphic 13" descr="Truck">
            <a:extLst>
              <a:ext uri="{FF2B5EF4-FFF2-40B4-BE49-F238E27FC236}">
                <a16:creationId xmlns:a16="http://schemas.microsoft.com/office/drawing/2014/main" id="{25A5A17D-279A-4409-986B-62A98EB447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1137"/>
            <a:ext cx="914400" cy="914400"/>
          </a:xfrm>
          <a:prstGeom prst="rect">
            <a:avLst/>
          </a:prstGeom>
        </p:spPr>
      </p:pic>
    </p:spTree>
    <p:custDataLst>
      <p:tags r:id="rId1"/>
    </p:custDataLst>
    <p:extLst>
      <p:ext uri="{BB962C8B-B14F-4D97-AF65-F5344CB8AC3E}">
        <p14:creationId xmlns:p14="http://schemas.microsoft.com/office/powerpoint/2010/main" val="2006247537"/>
      </p:ext>
    </p:extLst>
  </p:cSld>
  <p:clrMapOvr>
    <a:masterClrMapping/>
  </p:clrMapOvr>
  <mc:AlternateContent xmlns:mc="http://schemas.openxmlformats.org/markup-compatibility/2006" xmlns:p14="http://schemas.microsoft.com/office/powerpoint/2010/main">
    <mc:Choice Requires="p14">
      <p:transition spd="med" p14:dur="700" advTm="48872">
        <p:fade/>
      </p:transition>
    </mc:Choice>
    <mc:Fallback xmlns="">
      <p:transition spd="med" advTm="4887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Back End Cluster</a:t>
            </a:r>
          </a:p>
        </p:txBody>
      </p:sp>
      <p:pic>
        <p:nvPicPr>
          <p:cNvPr id="5" name="Picture 4"/>
          <p:cNvPicPr>
            <a:picLocks noChangeAspect="1"/>
          </p:cNvPicPr>
          <p:nvPr/>
        </p:nvPicPr>
        <p:blipFill>
          <a:blip r:embed="rId3"/>
          <a:stretch>
            <a:fillRect/>
          </a:stretch>
        </p:blipFill>
        <p:spPr>
          <a:xfrm>
            <a:off x="397329" y="3104244"/>
            <a:ext cx="4468586" cy="2542224"/>
          </a:xfrm>
          <a:prstGeom prst="rect">
            <a:avLst/>
          </a:prstGeom>
        </p:spPr>
      </p:pic>
      <p:sp>
        <p:nvSpPr>
          <p:cNvPr id="6" name="Text Placeholder 3">
            <a:extLst>
              <a:ext uri="{FF2B5EF4-FFF2-40B4-BE49-F238E27FC236}">
                <a16:creationId xmlns:a16="http://schemas.microsoft.com/office/drawing/2014/main" id="{151F405F-C30D-4B21-8421-B7720F3731A1}"/>
              </a:ext>
            </a:extLst>
          </p:cNvPr>
          <p:cNvSpPr txBox="1">
            <a:spLocks/>
          </p:cNvSpPr>
          <p:nvPr/>
        </p:nvSpPr>
        <p:spPr>
          <a:xfrm>
            <a:off x="6713783" y="1404257"/>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Visualisation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ervice Interactions</a:t>
            </a:r>
          </a:p>
        </p:txBody>
      </p:sp>
      <p:pic>
        <p:nvPicPr>
          <p:cNvPr id="10" name="Graphic 9" descr="Upward trend">
            <a:extLst>
              <a:ext uri="{FF2B5EF4-FFF2-40B4-BE49-F238E27FC236}">
                <a16:creationId xmlns:a16="http://schemas.microsoft.com/office/drawing/2014/main" id="{A2DA22BA-ACDD-4603-9C0C-47BF14F643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69143"/>
            <a:ext cx="914400" cy="914400"/>
          </a:xfrm>
          <a:prstGeom prst="rect">
            <a:avLst/>
          </a:prstGeom>
        </p:spPr>
      </p:pic>
      <p:pic>
        <p:nvPicPr>
          <p:cNvPr id="12" name="Graphic 11" descr="Database">
            <a:extLst>
              <a:ext uri="{FF2B5EF4-FFF2-40B4-BE49-F238E27FC236}">
                <a16:creationId xmlns:a16="http://schemas.microsoft.com/office/drawing/2014/main" id="{51ACBC6A-D24E-448D-B0D5-32931DA409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14" name="Graphic 13" descr="Playbook">
            <a:extLst>
              <a:ext uri="{FF2B5EF4-FFF2-40B4-BE49-F238E27FC236}">
                <a16:creationId xmlns:a16="http://schemas.microsoft.com/office/drawing/2014/main" id="{24BA6EFE-782D-44B9-9A69-9CE4E06FA8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158425"/>
            <a:ext cx="914400" cy="914400"/>
          </a:xfrm>
          <a:prstGeom prst="rect">
            <a:avLst/>
          </a:prstGeom>
        </p:spPr>
      </p:pic>
    </p:spTree>
    <p:extLst>
      <p:ext uri="{BB962C8B-B14F-4D97-AF65-F5344CB8AC3E}">
        <p14:creationId xmlns:p14="http://schemas.microsoft.com/office/powerpoint/2010/main" val="491567755"/>
      </p:ext>
    </p:extLst>
  </p:cSld>
  <p:clrMapOvr>
    <a:masterClrMapping/>
  </p:clrMapOvr>
  <mc:AlternateContent xmlns:mc="http://schemas.openxmlformats.org/markup-compatibility/2006" xmlns:p14="http://schemas.microsoft.com/office/powerpoint/2010/main">
    <mc:Choice Requires="p14">
      <p:transition spd="med" p14:dur="700" advTm="51505">
        <p:fade/>
      </p:transition>
    </mc:Choice>
    <mc:Fallback xmlns="">
      <p:transition spd="med" advTm="51505">
        <p:fade/>
      </p:transition>
    </mc:Fallback>
  </mc:AlternateConten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Encryption</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2042051"/>
            <a:ext cx="4980404" cy="2622256"/>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t Res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n Process</a:t>
            </a:r>
          </a:p>
        </p:txBody>
      </p:sp>
      <p:pic>
        <p:nvPicPr>
          <p:cNvPr id="10" name="Graphic 9" descr="Man">
            <a:extLst>
              <a:ext uri="{FF2B5EF4-FFF2-40B4-BE49-F238E27FC236}">
                <a16:creationId xmlns:a16="http://schemas.microsoft.com/office/drawing/2014/main" id="{AB029853-8C59-4227-B15E-FAAFFB1B1F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1913205"/>
            <a:ext cx="914400" cy="914400"/>
          </a:xfrm>
          <a:prstGeom prst="rect">
            <a:avLst/>
          </a:prstGeom>
        </p:spPr>
      </p:pic>
      <p:pic>
        <p:nvPicPr>
          <p:cNvPr id="13" name="Graphic 12" descr="Run">
            <a:extLst>
              <a:ext uri="{FF2B5EF4-FFF2-40B4-BE49-F238E27FC236}">
                <a16:creationId xmlns:a16="http://schemas.microsoft.com/office/drawing/2014/main" id="{6B77675F-A041-42B0-ABF7-A39F98BF0B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3749907"/>
            <a:ext cx="914400" cy="914400"/>
          </a:xfrm>
          <a:prstGeom prst="rect">
            <a:avLst/>
          </a:prstGeom>
        </p:spPr>
      </p:pic>
    </p:spTree>
    <p:extLst>
      <p:ext uri="{BB962C8B-B14F-4D97-AF65-F5344CB8AC3E}">
        <p14:creationId xmlns:p14="http://schemas.microsoft.com/office/powerpoint/2010/main" val="411755460"/>
      </p:ext>
    </p:extLst>
  </p:cSld>
  <p:clrMapOvr>
    <a:masterClrMapping/>
  </p:clrMapOvr>
  <mc:AlternateContent xmlns:mc="http://schemas.openxmlformats.org/markup-compatibility/2006" xmlns:p14="http://schemas.microsoft.com/office/powerpoint/2010/main">
    <mc:Choice Requires="p14">
      <p:transition spd="med" p14:dur="700" advTm="41529">
        <p:fade/>
      </p:transition>
    </mc:Choice>
    <mc:Fallback xmlns="">
      <p:transition spd="med" advTm="41529">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Table">
            <a:extLst>
              <a:ext uri="{FF2B5EF4-FFF2-40B4-BE49-F238E27FC236}">
                <a16:creationId xmlns:a16="http://schemas.microsoft.com/office/drawing/2014/main" id="{6CE99241-8C1D-497E-85E5-F5BEA68C73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13041"/>
            <a:ext cx="914400" cy="914400"/>
          </a:xfrm>
          <a:prstGeom prst="rect">
            <a:avLst/>
          </a:prstGeom>
        </p:spPr>
      </p:pic>
      <p:sp>
        <p:nvSpPr>
          <p:cNvPr id="2" name="Title 1"/>
          <p:cNvSpPr>
            <a:spLocks noGrp="1"/>
          </p:cNvSpPr>
          <p:nvPr>
            <p:ph type="title"/>
          </p:nvPr>
        </p:nvSpPr>
        <p:spPr/>
        <p:txBody>
          <a:bodyPr/>
          <a:lstStyle/>
          <a:p>
            <a:r>
              <a:rPr lang="en-GB"/>
              <a:t>Data At Rest</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set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port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shboards</a:t>
            </a:r>
          </a:p>
        </p:txBody>
      </p:sp>
      <p:pic>
        <p:nvPicPr>
          <p:cNvPr id="4" name="Graphic 3" descr="Upward trend">
            <a:extLst>
              <a:ext uri="{FF2B5EF4-FFF2-40B4-BE49-F238E27FC236}">
                <a16:creationId xmlns:a16="http://schemas.microsoft.com/office/drawing/2014/main" id="{5DD4242C-FB33-45D6-8116-E7E9594670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799719"/>
            <a:ext cx="914400" cy="914400"/>
          </a:xfrm>
          <a:prstGeom prst="rect">
            <a:avLst/>
          </a:prstGeom>
        </p:spPr>
      </p:pic>
      <p:pic>
        <p:nvPicPr>
          <p:cNvPr id="7" name="Graphic 6" descr="Playbook">
            <a:extLst>
              <a:ext uri="{FF2B5EF4-FFF2-40B4-BE49-F238E27FC236}">
                <a16:creationId xmlns:a16="http://schemas.microsoft.com/office/drawing/2014/main" id="{135B0D51-F8DB-4E8C-8BD9-14A3A687DD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986397"/>
            <a:ext cx="914400" cy="914400"/>
          </a:xfrm>
          <a:prstGeom prst="rect">
            <a:avLst/>
          </a:prstGeom>
        </p:spPr>
      </p:pic>
    </p:spTree>
    <p:custDataLst>
      <p:tags r:id="rId1"/>
    </p:custDataLst>
    <p:extLst>
      <p:ext uri="{BB962C8B-B14F-4D97-AF65-F5344CB8AC3E}">
        <p14:creationId xmlns:p14="http://schemas.microsoft.com/office/powerpoint/2010/main" val="1068410433"/>
      </p:ext>
    </p:extLst>
  </p:cSld>
  <p:clrMapOvr>
    <a:masterClrMapping/>
  </p:clrMapOvr>
  <mc:AlternateContent xmlns:mc="http://schemas.openxmlformats.org/markup-compatibility/2006" xmlns:p14="http://schemas.microsoft.com/office/powerpoint/2010/main">
    <mc:Choice Requires="p14">
      <p:transition spd="med" p14:dur="700" advTm="96364">
        <p:fade/>
      </p:transition>
    </mc:Choice>
    <mc:Fallback xmlns="">
      <p:transition spd="med" advTm="9636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Encryption</a:t>
            </a:r>
          </a:p>
        </p:txBody>
      </p:sp>
      <p:sp>
        <p:nvSpPr>
          <p:cNvPr id="8" name="Text Placeholder 3">
            <a:extLst>
              <a:ext uri="{FF2B5EF4-FFF2-40B4-BE49-F238E27FC236}">
                <a16:creationId xmlns:a16="http://schemas.microsoft.com/office/drawing/2014/main" id="{A5906FAD-B17B-4AA9-998E-A9D706FFA657}"/>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SQL Databas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Transparent Data Encryption (TD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Managed by Azure SQL</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zure Blob Storage</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CEK - AES_CBC_256 Key</a:t>
            </a:r>
          </a:p>
          <a:p>
            <a:pPr marL="0"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KEK – A256KW 256-bit Key</a:t>
            </a:r>
          </a:p>
        </p:txBody>
      </p:sp>
      <p:pic>
        <p:nvPicPr>
          <p:cNvPr id="4" name="Picture 3" descr="A stop sign&#10;&#10;Description generated with high confidence">
            <a:extLst>
              <a:ext uri="{FF2B5EF4-FFF2-40B4-BE49-F238E27FC236}">
                <a16:creationId xmlns:a16="http://schemas.microsoft.com/office/drawing/2014/main" id="{01AFD1B4-0C50-4FC9-9848-D0ED44DC1B9C}"/>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3494168"/>
            <a:ext cx="780290" cy="780290"/>
          </a:xfrm>
          <a:prstGeom prst="rect">
            <a:avLst/>
          </a:prstGeom>
        </p:spPr>
      </p:pic>
      <p:pic>
        <p:nvPicPr>
          <p:cNvPr id="7" name="Picture 6" descr="A close up of a sign&#10;&#10;Description generated with high confidence">
            <a:extLst>
              <a:ext uri="{FF2B5EF4-FFF2-40B4-BE49-F238E27FC236}">
                <a16:creationId xmlns:a16="http://schemas.microsoft.com/office/drawing/2014/main" id="{0141180B-8512-47B4-BE0D-4593868500F3}"/>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1669143"/>
            <a:ext cx="780290" cy="780290"/>
          </a:xfrm>
          <a:prstGeom prst="rect">
            <a:avLst/>
          </a:prstGeom>
        </p:spPr>
      </p:pic>
    </p:spTree>
    <p:extLst>
      <p:ext uri="{BB962C8B-B14F-4D97-AF65-F5344CB8AC3E}">
        <p14:creationId xmlns:p14="http://schemas.microsoft.com/office/powerpoint/2010/main" val="2342744891"/>
      </p:ext>
    </p:extLst>
  </p:cSld>
  <p:clrMapOvr>
    <a:masterClrMapping/>
  </p:clrMapOvr>
  <mc:AlternateContent xmlns:mc="http://schemas.openxmlformats.org/markup-compatibility/2006" xmlns:p14="http://schemas.microsoft.com/office/powerpoint/2010/main">
    <mc:Choice Requires="p14">
      <p:transition spd="med" p14:dur="700" advTm="110487">
        <p:fade/>
      </p:transition>
    </mc:Choice>
    <mc:Fallback xmlns="">
      <p:transition spd="med" advTm="110487">
        <p:fade/>
      </p:transition>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In Process</a:t>
            </a:r>
          </a:p>
        </p:txBody>
      </p:sp>
      <p:sp>
        <p:nvSpPr>
          <p:cNvPr id="8" name="Rectangle 7"/>
          <p:cNvSpPr/>
          <p:nvPr/>
        </p:nvSpPr>
        <p:spPr>
          <a:xfrm>
            <a:off x="5706079" y="2249714"/>
            <a:ext cx="5508459" cy="108260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5812208" y="751155"/>
            <a:ext cx="2892610" cy="18871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 name="Text Placeholder 3">
            <a:extLst>
              <a:ext uri="{FF2B5EF4-FFF2-40B4-BE49-F238E27FC236}">
                <a16:creationId xmlns:a16="http://schemas.microsoft.com/office/drawing/2014/main" id="{D7E6F097-EA7B-4F3A-B75E-D9BBF9AA36DA}"/>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Rol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alysis Services Model</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Visual Caches</a:t>
            </a:r>
          </a:p>
        </p:txBody>
      </p:sp>
      <p:pic>
        <p:nvPicPr>
          <p:cNvPr id="9" name="Graphic 8" descr="Upward trend">
            <a:extLst>
              <a:ext uri="{FF2B5EF4-FFF2-40B4-BE49-F238E27FC236}">
                <a16:creationId xmlns:a16="http://schemas.microsoft.com/office/drawing/2014/main" id="{54BE24AD-6FEE-476B-AA33-3FB013F4FC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3967417"/>
            <a:ext cx="914400" cy="914400"/>
          </a:xfrm>
          <a:prstGeom prst="rect">
            <a:avLst/>
          </a:prstGeom>
        </p:spPr>
      </p:pic>
      <p:pic>
        <p:nvPicPr>
          <p:cNvPr id="4" name="Picture 3" descr="A picture containing object&#10;&#10;Description generated with high confidence">
            <a:extLst>
              <a:ext uri="{FF2B5EF4-FFF2-40B4-BE49-F238E27FC236}">
                <a16:creationId xmlns:a16="http://schemas.microsoft.com/office/drawing/2014/main" id="{90F17E0C-7820-4BEF-8757-FC94D834E249}"/>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6079" y="2979616"/>
            <a:ext cx="780290" cy="780290"/>
          </a:xfrm>
          <a:prstGeom prst="rect">
            <a:avLst/>
          </a:prstGeom>
        </p:spPr>
      </p:pic>
      <p:pic>
        <p:nvPicPr>
          <p:cNvPr id="13" name="Graphic 12" descr="Users">
            <a:extLst>
              <a:ext uri="{FF2B5EF4-FFF2-40B4-BE49-F238E27FC236}">
                <a16:creationId xmlns:a16="http://schemas.microsoft.com/office/drawing/2014/main" id="{F511ED3B-3E59-4E8C-BFAD-B082B77D86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1584295"/>
            <a:ext cx="914400" cy="914400"/>
          </a:xfrm>
          <a:prstGeom prst="rect">
            <a:avLst/>
          </a:prstGeom>
        </p:spPr>
      </p:pic>
    </p:spTree>
    <p:extLst>
      <p:ext uri="{BB962C8B-B14F-4D97-AF65-F5344CB8AC3E}">
        <p14:creationId xmlns:p14="http://schemas.microsoft.com/office/powerpoint/2010/main" val="4147694129"/>
      </p:ext>
    </p:extLst>
  </p:cSld>
  <p:clrMapOvr>
    <a:masterClrMapping/>
  </p:clrMapOvr>
  <mc:AlternateContent xmlns:mc="http://schemas.openxmlformats.org/markup-compatibility/2006" xmlns:p14="http://schemas.microsoft.com/office/powerpoint/2010/main">
    <mc:Choice Requires="p14">
      <p:transition spd="med" p14:dur="700" advTm="108483">
        <p:fade/>
      </p:transition>
    </mc:Choice>
    <mc:Fallback xmlns="">
      <p:transition spd="med" advTm="108483">
        <p:fade/>
      </p:transition>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ere is my data stored?</a:t>
            </a:r>
          </a:p>
        </p:txBody>
      </p:sp>
      <p:pic>
        <p:nvPicPr>
          <p:cNvPr id="5" name="Picture 4"/>
          <p:cNvPicPr>
            <a:picLocks noChangeAspect="1"/>
          </p:cNvPicPr>
          <p:nvPr/>
        </p:nvPicPr>
        <p:blipFill>
          <a:blip r:embed="rId3"/>
          <a:stretch>
            <a:fillRect/>
          </a:stretch>
        </p:blipFill>
        <p:spPr>
          <a:xfrm>
            <a:off x="792153" y="1189494"/>
            <a:ext cx="1998280" cy="2334440"/>
          </a:xfrm>
          <a:prstGeom prst="rect">
            <a:avLst/>
          </a:prstGeom>
        </p:spPr>
      </p:pic>
      <p:sp>
        <p:nvSpPr>
          <p:cNvPr id="6" name="Title 1"/>
          <p:cNvSpPr txBox="1">
            <a:spLocks/>
          </p:cNvSpPr>
          <p:nvPr/>
        </p:nvSpPr>
        <p:spPr>
          <a:xfrm>
            <a:off x="269241" y="365310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prstClr val="black"/>
                    </a:gs>
                    <a:gs pos="100000">
                      <a:prstClr val="black"/>
                    </a:gs>
                  </a:gsLst>
                  <a:lin ang="5400000" scaled="0"/>
                </a:gradFill>
                <a:effectLst/>
                <a:uLnTx/>
                <a:uFillTx/>
                <a:latin typeface="Segoe UI Light"/>
                <a:ea typeface="+mn-ea"/>
                <a:cs typeface="Segoe UI" pitchFamily="34" charset="0"/>
              </a:rPr>
              <a:t>Is my data stored in same region?</a:t>
            </a:r>
          </a:p>
        </p:txBody>
      </p:sp>
      <p:sp>
        <p:nvSpPr>
          <p:cNvPr id="7" name="Rectangle 6"/>
          <p:cNvSpPr/>
          <p:nvPr/>
        </p:nvSpPr>
        <p:spPr>
          <a:xfrm>
            <a:off x="493346" y="4773637"/>
            <a:ext cx="3961918" cy="693970"/>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a:noFill/>
                </a:ln>
                <a:solidFill>
                  <a:sysClr val="windowText" lastClr="000000"/>
                </a:solidFill>
                <a:effectLst/>
                <a:uLnTx/>
                <a:uFillTx/>
                <a:latin typeface="Segoe UI"/>
                <a:ea typeface="+mn-ea"/>
                <a:cs typeface="+mn-cs"/>
                <a:hlinkClick r:id="rId4"/>
              </a:rPr>
              <a:t>Data Sovereignty</a:t>
            </a:r>
            <a:endParaRPr kumimoji="0" lang="en-US" sz="3921"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3" name="Table 2">
            <a:extLst>
              <a:ext uri="{FF2B5EF4-FFF2-40B4-BE49-F238E27FC236}">
                <a16:creationId xmlns:a16="http://schemas.microsoft.com/office/drawing/2014/main" id="{3E8D02C9-9D4C-4EA5-93F5-E119997AC4B8}"/>
              </a:ext>
            </a:extLst>
          </p:cNvPr>
          <p:cNvGraphicFramePr>
            <a:graphicFrameLocks noGrp="1"/>
          </p:cNvGraphicFramePr>
          <p:nvPr/>
        </p:nvGraphicFramePr>
        <p:xfrm>
          <a:off x="4826065" y="4745657"/>
          <a:ext cx="6266694" cy="651900"/>
        </p:xfrm>
        <a:graphic>
          <a:graphicData uri="http://schemas.openxmlformats.org/drawingml/2006/table">
            <a:tbl>
              <a:tblPr/>
              <a:tblGrid>
                <a:gridCol w="1460842">
                  <a:extLst>
                    <a:ext uri="{9D8B030D-6E8A-4147-A177-3AD203B41FA5}">
                      <a16:colId xmlns:a16="http://schemas.microsoft.com/office/drawing/2014/main" val="3125400099"/>
                    </a:ext>
                  </a:extLst>
                </a:gridCol>
                <a:gridCol w="4805852">
                  <a:extLst>
                    <a:ext uri="{9D8B030D-6E8A-4147-A177-3AD203B41FA5}">
                      <a16:colId xmlns:a16="http://schemas.microsoft.com/office/drawing/2014/main" val="2883773696"/>
                    </a:ext>
                  </a:extLst>
                </a:gridCol>
              </a:tblGrid>
              <a:tr h="651900">
                <a:tc>
                  <a:txBody>
                    <a:bodyPr/>
                    <a:lstStyle/>
                    <a:p>
                      <a:pPr algn="l" fontAlgn="t"/>
                      <a:r>
                        <a:rPr lang="en-US" sz="1700" b="1">
                          <a:effectLst/>
                        </a:rPr>
                        <a:t>Europe</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North Europe (Ireland)</a:t>
                      </a:r>
                    </a:p>
                    <a:p>
                      <a:pPr algn="l" fontAlgn="t">
                        <a:buFont typeface="Arial" panose="020B0604020202020204" pitchFamily="34" charset="0"/>
                        <a:buChar char="•"/>
                      </a:pPr>
                      <a:r>
                        <a:rPr lang="en-US" sz="1700">
                          <a:effectLst/>
                        </a:rPr>
                        <a:t>West Europe (Netherland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2234363720"/>
                  </a:ext>
                </a:extLst>
              </a:tr>
            </a:tbl>
          </a:graphicData>
        </a:graphic>
      </p:graphicFrame>
      <p:graphicFrame>
        <p:nvGraphicFramePr>
          <p:cNvPr id="8" name="Table 7">
            <a:extLst>
              <a:ext uri="{FF2B5EF4-FFF2-40B4-BE49-F238E27FC236}">
                <a16:creationId xmlns:a16="http://schemas.microsoft.com/office/drawing/2014/main" id="{E3A2419C-B072-4EAF-BA74-E5CDD57C7654}"/>
              </a:ext>
            </a:extLst>
          </p:cNvPr>
          <p:cNvGraphicFramePr>
            <a:graphicFrameLocks noGrp="1"/>
          </p:cNvGraphicFramePr>
          <p:nvPr/>
        </p:nvGraphicFramePr>
        <p:xfrm>
          <a:off x="4831794" y="5408016"/>
          <a:ext cx="6266694" cy="651900"/>
        </p:xfrm>
        <a:graphic>
          <a:graphicData uri="http://schemas.openxmlformats.org/drawingml/2006/table">
            <a:tbl>
              <a:tblPr/>
              <a:tblGrid>
                <a:gridCol w="1460842">
                  <a:extLst>
                    <a:ext uri="{9D8B030D-6E8A-4147-A177-3AD203B41FA5}">
                      <a16:colId xmlns:a16="http://schemas.microsoft.com/office/drawing/2014/main" val="3619379971"/>
                    </a:ext>
                  </a:extLst>
                </a:gridCol>
                <a:gridCol w="4805852">
                  <a:extLst>
                    <a:ext uri="{9D8B030D-6E8A-4147-A177-3AD203B41FA5}">
                      <a16:colId xmlns:a16="http://schemas.microsoft.com/office/drawing/2014/main" val="538620819"/>
                    </a:ext>
                  </a:extLst>
                </a:gridCol>
              </a:tblGrid>
              <a:tr h="651900">
                <a:tc>
                  <a:txBody>
                    <a:bodyPr/>
                    <a:lstStyle/>
                    <a:p>
                      <a:pPr algn="l" fontAlgn="t"/>
                      <a:r>
                        <a:rPr lang="en-US" sz="1700" b="1">
                          <a:effectLst/>
                        </a:rPr>
                        <a:t>Australia</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Australia East (New South Wales)</a:t>
                      </a:r>
                    </a:p>
                    <a:p>
                      <a:pPr algn="l" fontAlgn="t">
                        <a:buFont typeface="Arial" panose="020B0604020202020204" pitchFamily="34" charset="0"/>
                        <a:buChar char="•"/>
                      </a:pPr>
                      <a:r>
                        <a:rPr lang="en-US" sz="1700">
                          <a:effectLst/>
                        </a:rPr>
                        <a:t>Australia Southeast (Victoria)</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3081896976"/>
                  </a:ext>
                </a:extLst>
              </a:tr>
            </a:tbl>
          </a:graphicData>
        </a:graphic>
      </p:graphicFrame>
      <p:graphicFrame>
        <p:nvGraphicFramePr>
          <p:cNvPr id="9" name="Table 8">
            <a:extLst>
              <a:ext uri="{FF2B5EF4-FFF2-40B4-BE49-F238E27FC236}">
                <a16:creationId xmlns:a16="http://schemas.microsoft.com/office/drawing/2014/main" id="{71C66E54-2288-473F-BD16-AB8EB3C076A6}"/>
              </a:ext>
            </a:extLst>
          </p:cNvPr>
          <p:cNvGraphicFramePr>
            <a:graphicFrameLocks noGrp="1"/>
          </p:cNvGraphicFramePr>
          <p:nvPr/>
        </p:nvGraphicFramePr>
        <p:xfrm>
          <a:off x="4826065" y="6070374"/>
          <a:ext cx="6266694" cy="651900"/>
        </p:xfrm>
        <a:graphic>
          <a:graphicData uri="http://schemas.openxmlformats.org/drawingml/2006/table">
            <a:tbl>
              <a:tblPr/>
              <a:tblGrid>
                <a:gridCol w="1460842">
                  <a:extLst>
                    <a:ext uri="{9D8B030D-6E8A-4147-A177-3AD203B41FA5}">
                      <a16:colId xmlns:a16="http://schemas.microsoft.com/office/drawing/2014/main" val="4122192126"/>
                    </a:ext>
                  </a:extLst>
                </a:gridCol>
                <a:gridCol w="4805852">
                  <a:extLst>
                    <a:ext uri="{9D8B030D-6E8A-4147-A177-3AD203B41FA5}">
                      <a16:colId xmlns:a16="http://schemas.microsoft.com/office/drawing/2014/main" val="722850526"/>
                    </a:ext>
                  </a:extLst>
                </a:gridCol>
              </a:tblGrid>
              <a:tr h="651900">
                <a:tc>
                  <a:txBody>
                    <a:bodyPr/>
                    <a:lstStyle/>
                    <a:p>
                      <a:pPr algn="l" fontAlgn="t"/>
                      <a:r>
                        <a:rPr lang="en-US" sz="1700" b="1">
                          <a:effectLst/>
                        </a:rPr>
                        <a:t>United Kingdom</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a:effectLst/>
                        </a:rPr>
                        <a:t>UK South (London, England)</a:t>
                      </a:r>
                    </a:p>
                    <a:p>
                      <a:pPr algn="l" fontAlgn="t">
                        <a:buFont typeface="Arial" panose="020B0604020202020204" pitchFamily="34" charset="0"/>
                        <a:buChar char="•"/>
                      </a:pPr>
                      <a:r>
                        <a:rPr lang="en-US" sz="1700">
                          <a:effectLst/>
                        </a:rPr>
                        <a:t>UK West (Cardiff, Wale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553926336"/>
                  </a:ext>
                </a:extLst>
              </a:tr>
            </a:tbl>
          </a:graphicData>
        </a:graphic>
      </p:graphicFrame>
      <p:pic>
        <p:nvPicPr>
          <p:cNvPr id="12" name="Picture 11">
            <a:extLst>
              <a:ext uri="{FF2B5EF4-FFF2-40B4-BE49-F238E27FC236}">
                <a16:creationId xmlns:a16="http://schemas.microsoft.com/office/drawing/2014/main" id="{D00C110D-4C41-46AB-8BFB-8F33215BB566}"/>
              </a:ext>
            </a:extLst>
          </p:cNvPr>
          <p:cNvPicPr>
            <a:picLocks noChangeAspect="1"/>
          </p:cNvPicPr>
          <p:nvPr/>
        </p:nvPicPr>
        <p:blipFill>
          <a:blip r:embed="rId5"/>
          <a:stretch>
            <a:fillRect/>
          </a:stretch>
        </p:blipFill>
        <p:spPr>
          <a:xfrm>
            <a:off x="5157022" y="1239525"/>
            <a:ext cx="6768058" cy="2317075"/>
          </a:xfrm>
          <a:prstGeom prst="rect">
            <a:avLst/>
          </a:prstGeom>
        </p:spPr>
      </p:pic>
    </p:spTree>
    <p:extLst>
      <p:ext uri="{BB962C8B-B14F-4D97-AF65-F5344CB8AC3E}">
        <p14:creationId xmlns:p14="http://schemas.microsoft.com/office/powerpoint/2010/main" val="2631486505"/>
      </p:ext>
    </p:extLst>
  </p:cSld>
  <p:clrMapOvr>
    <a:masterClrMapping/>
  </p:clrMapOvr>
  <mc:AlternateContent xmlns:mc="http://schemas.openxmlformats.org/markup-compatibility/2006" xmlns:p14="http://schemas.microsoft.com/office/powerpoint/2010/main">
    <mc:Choice Requires="p14">
      <p:transition spd="med" p14:dur="700" advTm="143746">
        <p:fade/>
      </p:transition>
    </mc:Choice>
    <mc:Fallback xmlns="">
      <p:transition spd="med" advTm="143746">
        <p:fade/>
      </p:transition>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7" name="Text Placeholder 3">
            <a:extLst>
              <a:ext uri="{FF2B5EF4-FFF2-40B4-BE49-F238E27FC236}">
                <a16:creationId xmlns:a16="http://schemas.microsoft.com/office/drawing/2014/main" id="{B1D82A9A-B0B6-4E2B-BE13-A2BB8ADF6316}"/>
              </a:ext>
            </a:extLst>
          </p:cNvPr>
          <p:cNvSpPr txBox="1">
            <a:spLocks/>
          </p:cNvSpPr>
          <p:nvPr/>
        </p:nvSpPr>
        <p:spPr>
          <a:xfrm>
            <a:off x="6735357" y="1255336"/>
            <a:ext cx="4980404" cy="422885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Bypass the interne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Built-In Redundanc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3600" b="0" i="0" u="none" strike="noStrike" kern="1200" cap="none" spc="0" normalizeH="0" baseline="0" noProof="0">
                <a:ln>
                  <a:noFill/>
                </a:ln>
                <a:solidFill>
                  <a:prstClr val="black"/>
                </a:solidFill>
                <a:effectLst/>
                <a:uLnTx/>
                <a:uFillTx/>
                <a:latin typeface="Segoe UI Light"/>
                <a:ea typeface="+mn-ea"/>
                <a:cs typeface="+mn-cs"/>
              </a:rPr>
              <a:t>Predictable network performance and availability</a:t>
            </a: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11" name="Graphic 10" descr="Line Arrow: Rotate left">
            <a:extLst>
              <a:ext uri="{FF2B5EF4-FFF2-40B4-BE49-F238E27FC236}">
                <a16:creationId xmlns:a16="http://schemas.microsoft.com/office/drawing/2014/main" id="{A5CB15EA-6573-42A4-90F3-96465A9253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31445"/>
            <a:ext cx="914400" cy="914400"/>
          </a:xfrm>
          <a:prstGeom prst="rect">
            <a:avLst/>
          </a:prstGeom>
        </p:spPr>
      </p:pic>
      <p:pic>
        <p:nvPicPr>
          <p:cNvPr id="13" name="Graphic 12" descr="Repeat">
            <a:extLst>
              <a:ext uri="{FF2B5EF4-FFF2-40B4-BE49-F238E27FC236}">
                <a16:creationId xmlns:a16="http://schemas.microsoft.com/office/drawing/2014/main" id="{D4E727CC-1F69-467B-BA4A-F009B68192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433383"/>
            <a:ext cx="914400" cy="914400"/>
          </a:xfrm>
          <a:prstGeom prst="rect">
            <a:avLst/>
          </a:prstGeom>
        </p:spPr>
      </p:pic>
      <p:pic>
        <p:nvPicPr>
          <p:cNvPr id="15" name="Graphic 14" descr="Network">
            <a:extLst>
              <a:ext uri="{FF2B5EF4-FFF2-40B4-BE49-F238E27FC236}">
                <a16:creationId xmlns:a16="http://schemas.microsoft.com/office/drawing/2014/main" id="{DF3D651B-B16C-4DD1-9259-CFA6CA2769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868876"/>
            <a:ext cx="914400" cy="914400"/>
          </a:xfrm>
          <a:prstGeom prst="rect">
            <a:avLst/>
          </a:prstGeom>
        </p:spPr>
      </p:pic>
    </p:spTree>
    <p:custDataLst>
      <p:tags r:id="rId1"/>
    </p:custDataLst>
    <p:extLst>
      <p:ext uri="{BB962C8B-B14F-4D97-AF65-F5344CB8AC3E}">
        <p14:creationId xmlns:p14="http://schemas.microsoft.com/office/powerpoint/2010/main" val="1003691614"/>
      </p:ext>
    </p:extLst>
  </p:cSld>
  <p:clrMapOvr>
    <a:masterClrMapping/>
  </p:clrMapOvr>
  <mc:AlternateContent xmlns:mc="http://schemas.openxmlformats.org/markup-compatibility/2006" xmlns:p14="http://schemas.microsoft.com/office/powerpoint/2010/main">
    <mc:Choice Requires="p14">
      <p:transition spd="med" p14:dur="700" advTm="71402">
        <p:fade/>
      </p:transition>
    </mc:Choice>
    <mc:Fallback xmlns="">
      <p:transition spd="med" advTm="7140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4" end="4"/>
                                            </p:txEl>
                                          </p:spTgt>
                                        </p:tgtEl>
                                        <p:attrNameLst>
                                          <p:attrName>style.visibility</p:attrName>
                                        </p:attrNameLst>
                                      </p:cBhvr>
                                      <p:to>
                                        <p:strVal val="visible"/>
                                      </p:to>
                                    </p:set>
                                    <p:animEffect transition="in" filter="fade">
                                      <p:cBhvr>
                                        <p:cTn id="26"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6" name="Title 2"/>
          <p:cNvSpPr txBox="1">
            <a:spLocks/>
          </p:cNvSpPr>
          <p:nvPr/>
        </p:nvSpPr>
        <p:spPr>
          <a:xfrm>
            <a:off x="219135" y="1712241"/>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Exceptions</a:t>
            </a:r>
          </a:p>
        </p:txBody>
      </p:sp>
      <p:sp>
        <p:nvSpPr>
          <p:cNvPr id="7" name="Text Placeholder 3">
            <a:extLst>
              <a:ext uri="{FF2B5EF4-FFF2-40B4-BE49-F238E27FC236}">
                <a16:creationId xmlns:a16="http://schemas.microsoft.com/office/drawing/2014/main" id="{B27496E2-9C34-47DB-9523-9D2C5A235905}"/>
              </a:ext>
            </a:extLst>
          </p:cNvPr>
          <p:cNvSpPr txBox="1">
            <a:spLocks/>
          </p:cNvSpPr>
          <p:nvPr/>
        </p:nvSpPr>
        <p:spPr>
          <a:xfrm>
            <a:off x="6553200" y="562895"/>
            <a:ext cx="4980404" cy="573221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esktop / Gatewa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c Content Pack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Telemetry Data</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ap Visual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rtana</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ustom Links</a:t>
            </a:r>
          </a:p>
        </p:txBody>
      </p:sp>
      <p:pic>
        <p:nvPicPr>
          <p:cNvPr id="11" name="Graphic 10" descr="Download">
            <a:extLst>
              <a:ext uri="{FF2B5EF4-FFF2-40B4-BE49-F238E27FC236}">
                <a16:creationId xmlns:a16="http://schemas.microsoft.com/office/drawing/2014/main" id="{91ABB206-4550-4425-9B6E-EBFC65A707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718129"/>
            <a:ext cx="914400" cy="914400"/>
          </a:xfrm>
          <a:prstGeom prst="rect">
            <a:avLst/>
          </a:prstGeom>
        </p:spPr>
      </p:pic>
      <p:pic>
        <p:nvPicPr>
          <p:cNvPr id="13" name="Graphic 12" descr="Users">
            <a:extLst>
              <a:ext uri="{FF2B5EF4-FFF2-40B4-BE49-F238E27FC236}">
                <a16:creationId xmlns:a16="http://schemas.microsoft.com/office/drawing/2014/main" id="{5D85C240-AF08-459E-9C3F-112B2E2118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650836"/>
            <a:ext cx="914400" cy="914400"/>
          </a:xfrm>
          <a:prstGeom prst="rect">
            <a:avLst/>
          </a:prstGeom>
        </p:spPr>
      </p:pic>
      <p:pic>
        <p:nvPicPr>
          <p:cNvPr id="15" name="Graphic 14" descr="Telescope">
            <a:extLst>
              <a:ext uri="{FF2B5EF4-FFF2-40B4-BE49-F238E27FC236}">
                <a16:creationId xmlns:a16="http://schemas.microsoft.com/office/drawing/2014/main" id="{7CB39861-D115-47A1-A5FB-8CA2F2F662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2583543"/>
            <a:ext cx="914400" cy="914400"/>
          </a:xfrm>
          <a:prstGeom prst="rect">
            <a:avLst/>
          </a:prstGeom>
        </p:spPr>
      </p:pic>
      <p:pic>
        <p:nvPicPr>
          <p:cNvPr id="17" name="Graphic 16" descr="Earth Globe Europe-Africa">
            <a:extLst>
              <a:ext uri="{FF2B5EF4-FFF2-40B4-BE49-F238E27FC236}">
                <a16:creationId xmlns:a16="http://schemas.microsoft.com/office/drawing/2014/main" id="{4C7EB373-B141-45EF-ABD1-960655F2EF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3516250"/>
            <a:ext cx="914400" cy="914400"/>
          </a:xfrm>
          <a:prstGeom prst="rect">
            <a:avLst/>
          </a:prstGeom>
        </p:spPr>
      </p:pic>
      <p:pic>
        <p:nvPicPr>
          <p:cNvPr id="19" name="Graphic 18" descr="Optical disc">
            <a:extLst>
              <a:ext uri="{FF2B5EF4-FFF2-40B4-BE49-F238E27FC236}">
                <a16:creationId xmlns:a16="http://schemas.microsoft.com/office/drawing/2014/main" id="{982D2B0C-BDCA-49C0-A044-C85B7678334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800" y="4430650"/>
            <a:ext cx="914400" cy="914400"/>
          </a:xfrm>
          <a:prstGeom prst="rect">
            <a:avLst/>
          </a:prstGeom>
        </p:spPr>
      </p:pic>
      <p:pic>
        <p:nvPicPr>
          <p:cNvPr id="21" name="Graphic 20" descr="Link">
            <a:extLst>
              <a:ext uri="{FF2B5EF4-FFF2-40B4-BE49-F238E27FC236}">
                <a16:creationId xmlns:a16="http://schemas.microsoft.com/office/drawing/2014/main" id="{9AA69144-61B5-4BD0-8F44-7A70331522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8800" y="5362877"/>
            <a:ext cx="914400" cy="914400"/>
          </a:xfrm>
          <a:prstGeom prst="rect">
            <a:avLst/>
          </a:prstGeom>
        </p:spPr>
      </p:pic>
    </p:spTree>
    <p:custDataLst>
      <p:tags r:id="rId1"/>
    </p:custDataLst>
    <p:extLst>
      <p:ext uri="{BB962C8B-B14F-4D97-AF65-F5344CB8AC3E}">
        <p14:creationId xmlns:p14="http://schemas.microsoft.com/office/powerpoint/2010/main" val="283720539"/>
      </p:ext>
    </p:extLst>
  </p:cSld>
  <p:clrMapOvr>
    <a:masterClrMapping/>
  </p:clrMapOvr>
  <mc:AlternateContent xmlns:mc="http://schemas.openxmlformats.org/markup-compatibility/2006" xmlns:p14="http://schemas.microsoft.com/office/powerpoint/2010/main">
    <mc:Choice Requires="p14">
      <p:transition spd="med" p14:dur="700" advTm="200581">
        <p:fade/>
      </p:transition>
    </mc:Choice>
    <mc:Fallback xmlns="">
      <p:transition spd="med" advTm="20058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50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2" end="2"/>
                                            </p:txEl>
                                          </p:spTgt>
                                        </p:tgtEl>
                                        <p:attrNameLst>
                                          <p:attrName>style.visibility</p:attrName>
                                        </p:attrNameLst>
                                      </p:cBhvr>
                                      <p:to>
                                        <p:strVal val="visible"/>
                                      </p:to>
                                    </p:set>
                                    <p:animEffect transition="in" filter="fade">
                                      <p:cBhvr>
                                        <p:cTn id="24" dur="500"/>
                                        <p:tgtEl>
                                          <p:spTgt spid="7">
                                            <p:txEl>
                                              <p:pRg st="2" end="2"/>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3" end="3"/>
                                            </p:txEl>
                                          </p:spTgt>
                                        </p:tgtEl>
                                        <p:attrNameLst>
                                          <p:attrName>style.visibility</p:attrName>
                                        </p:attrNameLst>
                                      </p:cBhvr>
                                      <p:to>
                                        <p:strVal val="visible"/>
                                      </p:to>
                                    </p:set>
                                    <p:animEffect transition="in" filter="fade">
                                      <p:cBhvr>
                                        <p:cTn id="32" dur="500"/>
                                        <p:tgtEl>
                                          <p:spTgt spid="7">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10" presetClass="entr" presetSubtype="0" fill="hold" nodeType="with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fade">
                                      <p:cBhvr>
                                        <p:cTn id="40" dur="500"/>
                                        <p:tgtEl>
                                          <p:spTgt spid="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500"/>
                                        <p:tgtEl>
                                          <p:spTgt spid="21"/>
                                        </p:tgtEl>
                                      </p:cBhvr>
                                    </p:animEffect>
                                  </p:childTnLst>
                                </p:cTn>
                              </p:par>
                              <p:par>
                                <p:cTn id="46" presetID="10" presetClass="entr" presetSubtype="0" fill="hold" nodeType="withEffect">
                                  <p:stCondLst>
                                    <p:cond delay="0"/>
                                  </p:stCondLst>
                                  <p:childTnLst>
                                    <p:set>
                                      <p:cBhvr>
                                        <p:cTn id="47" dur="1" fill="hold">
                                          <p:stCondLst>
                                            <p:cond delay="0"/>
                                          </p:stCondLst>
                                        </p:cTn>
                                        <p:tgtEl>
                                          <p:spTgt spid="7">
                                            <p:txEl>
                                              <p:pRg st="5" end="5"/>
                                            </p:txEl>
                                          </p:spTgt>
                                        </p:tgtEl>
                                        <p:attrNameLst>
                                          <p:attrName>style.visibility</p:attrName>
                                        </p:attrNameLst>
                                      </p:cBhvr>
                                      <p:to>
                                        <p:strVal val="visible"/>
                                      </p:to>
                                    </p:set>
                                    <p:animEffect transition="in" filter="fade">
                                      <p:cBhvr>
                                        <p:cTn id="48"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0145FCA1-83CB-4A4E-946B-1BF0D277712B}"/>
              </a:ext>
            </a:extLst>
          </p:cNvPr>
          <p:cNvSpPr txBox="1"/>
          <p:nvPr/>
        </p:nvSpPr>
        <p:spPr>
          <a:xfrm>
            <a:off x="1155034" y="2244060"/>
            <a:ext cx="3547677" cy="209288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P</a:t>
            </a:r>
            <a:r>
              <a:rPr kumimoji="0" lang="en-US" sz="1800" b="0" i="0" u="none" strike="noStrike" kern="1200" cap="none" spc="0" normalizeH="0" baseline="0" noProof="0" err="1">
                <a:ln>
                  <a:noFill/>
                </a:ln>
                <a:solidFill>
                  <a:prstClr val="black"/>
                </a:solidFill>
                <a:effectLst/>
                <a:uLnTx/>
                <a:uFillTx/>
                <a:latin typeface="Segoe UI"/>
                <a:ea typeface="+mn-ea"/>
                <a:cs typeface="+mn-cs"/>
              </a:rPr>
              <a:t>utting</a:t>
            </a:r>
            <a:r>
              <a:rPr kumimoji="0" lang="en-US" sz="1800" b="0" i="0" u="none" strike="noStrike" kern="1200" cap="none" spc="0" normalizeH="0" baseline="0" noProof="0">
                <a:ln>
                  <a:noFill/>
                </a:ln>
                <a:solidFill>
                  <a:prstClr val="black"/>
                </a:solidFill>
                <a:effectLst/>
                <a:uLnTx/>
                <a:uFillTx/>
                <a:latin typeface="Segoe UI"/>
                <a:ea typeface="+mn-ea"/>
                <a:cs typeface="+mn-cs"/>
              </a:rPr>
              <a:t> data into the hands of more users who are responsible for solving business problem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Enabling users to make decisions with the data.</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700E2F9D-83AD-4389-A943-B01C6A26A978}"/>
              </a:ext>
            </a:extLst>
          </p:cNvPr>
          <p:cNvGrpSpPr/>
          <p:nvPr/>
        </p:nvGrpSpPr>
        <p:grpSpPr>
          <a:xfrm>
            <a:off x="5965617" y="1578873"/>
            <a:ext cx="3795888" cy="607458"/>
            <a:chOff x="15588833" y="3625334"/>
            <a:chExt cx="7591775" cy="1214915"/>
          </a:xfrm>
        </p:grpSpPr>
        <p:sp>
          <p:nvSpPr>
            <p:cNvPr id="5" name="Oval 70">
              <a:extLst>
                <a:ext uri="{FF2B5EF4-FFF2-40B4-BE49-F238E27FC236}">
                  <a16:creationId xmlns:a16="http://schemas.microsoft.com/office/drawing/2014/main" id="{B82B7809-39BA-48FA-AF04-BD0522ACBBD1}"/>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0A18CCBE-EA28-41D3-9C1F-11B3EB9DA004}"/>
                </a:ext>
              </a:extLst>
            </p:cNvPr>
            <p:cNvSpPr txBox="1">
              <a:spLocks/>
            </p:cNvSpPr>
            <p:nvPr/>
          </p:nvSpPr>
          <p:spPr>
            <a:xfrm>
              <a:off x="17175035" y="3801904"/>
              <a:ext cx="6005573"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is permitted to have Power BI Desktop installed?</a:t>
              </a:r>
            </a:p>
          </p:txBody>
        </p:sp>
        <p:grpSp>
          <p:nvGrpSpPr>
            <p:cNvPr id="7" name="Group 72">
              <a:extLst>
                <a:ext uri="{FF2B5EF4-FFF2-40B4-BE49-F238E27FC236}">
                  <a16:creationId xmlns:a16="http://schemas.microsoft.com/office/drawing/2014/main" id="{91D13C90-4931-4196-AE1C-35A17C492C1D}"/>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C512AB3A-6A46-4600-8BBF-99CB9696517B}"/>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30E758E0-9293-48BD-B0C3-12D8AC75B736}"/>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46F44C96-0982-4DA1-B24A-B0985E8BE7B7}"/>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F5A01421-977F-491D-AFC3-135AD252521E}"/>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AAD31A6A-971C-40D6-9BD3-0D0963776047}"/>
              </a:ext>
            </a:extLst>
          </p:cNvPr>
          <p:cNvGrpSpPr/>
          <p:nvPr/>
        </p:nvGrpSpPr>
        <p:grpSpPr>
          <a:xfrm>
            <a:off x="5972635" y="2456114"/>
            <a:ext cx="3832879" cy="646331"/>
            <a:chOff x="15602870" y="5379819"/>
            <a:chExt cx="7665758" cy="1292662"/>
          </a:xfrm>
        </p:grpSpPr>
        <p:sp>
          <p:nvSpPr>
            <p:cNvPr id="13" name="Oval 78">
              <a:extLst>
                <a:ext uri="{FF2B5EF4-FFF2-40B4-BE49-F238E27FC236}">
                  <a16:creationId xmlns:a16="http://schemas.microsoft.com/office/drawing/2014/main" id="{BCDF4D31-B4FF-48E0-97C4-A48C632F9F91}"/>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AF3DF436-34C2-4DDB-932F-79239EA69774}"/>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F847AD0B-A61E-433A-AF25-5B6F80E4D989}"/>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C0900604-C027-4102-B88E-7D1C351D7619}"/>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3F9F44D5-B0DE-49E6-ACC5-23326C8D4C38}"/>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FA8EE2DF-64A6-462A-887B-88186C60D0FC}"/>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B312FE46-8DBE-4DC7-A559-7A98F73E2EF1}"/>
                </a:ext>
              </a:extLst>
            </p:cNvPr>
            <p:cNvSpPr txBox="1">
              <a:spLocks/>
            </p:cNvSpPr>
            <p:nvPr/>
          </p:nvSpPr>
          <p:spPr>
            <a:xfrm>
              <a:off x="17263054" y="5379819"/>
              <a:ext cx="6005574" cy="129266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is permitted to have Power BI Pro or Power BI Premium Per User (PPU) licenses?</a:t>
              </a:r>
            </a:p>
          </p:txBody>
        </p:sp>
      </p:grpSp>
      <p:grpSp>
        <p:nvGrpSpPr>
          <p:cNvPr id="20" name="Group 85">
            <a:extLst>
              <a:ext uri="{FF2B5EF4-FFF2-40B4-BE49-F238E27FC236}">
                <a16:creationId xmlns:a16="http://schemas.microsoft.com/office/drawing/2014/main" id="{90D799E9-4DE7-41C6-9D45-81466F814475}"/>
              </a:ext>
            </a:extLst>
          </p:cNvPr>
          <p:cNvGrpSpPr/>
          <p:nvPr/>
        </p:nvGrpSpPr>
        <p:grpSpPr>
          <a:xfrm>
            <a:off x="5972635" y="3376759"/>
            <a:ext cx="3832879" cy="607458"/>
            <a:chOff x="15602870" y="7221105"/>
            <a:chExt cx="7665757" cy="1214915"/>
          </a:xfrm>
        </p:grpSpPr>
        <p:sp>
          <p:nvSpPr>
            <p:cNvPr id="21" name="Oval 86">
              <a:extLst>
                <a:ext uri="{FF2B5EF4-FFF2-40B4-BE49-F238E27FC236}">
                  <a16:creationId xmlns:a16="http://schemas.microsoft.com/office/drawing/2014/main" id="{E5127E08-8421-469F-B7A6-348DB519AAE7}"/>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C30AEAD0-24D0-41F6-9FB5-015D1075B804}"/>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3A528ED2-5F68-493E-993F-DEA70D060130}"/>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B46F7F0A-129D-4D6C-8915-6009D19BF90D}"/>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F4081576-7837-4630-BAC5-B68D66EC2503}"/>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3272AA1C-5ACA-4B2B-9AE7-E9C110CF8F08}"/>
                </a:ext>
              </a:extLst>
            </p:cNvPr>
            <p:cNvSpPr txBox="1">
              <a:spLocks/>
            </p:cNvSpPr>
            <p:nvPr/>
          </p:nvSpPr>
          <p:spPr>
            <a:xfrm>
              <a:off x="17263054" y="7386737"/>
              <a:ext cx="6005573"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re there data sources that are strongly preferred? </a:t>
              </a:r>
            </a:p>
          </p:txBody>
        </p:sp>
      </p:grpSp>
      <p:grpSp>
        <p:nvGrpSpPr>
          <p:cNvPr id="27" name="Group 92">
            <a:extLst>
              <a:ext uri="{FF2B5EF4-FFF2-40B4-BE49-F238E27FC236}">
                <a16:creationId xmlns:a16="http://schemas.microsoft.com/office/drawing/2014/main" id="{FF80C3DF-7AF8-48BF-98C0-26D9601FB724}"/>
              </a:ext>
            </a:extLst>
          </p:cNvPr>
          <p:cNvGrpSpPr/>
          <p:nvPr/>
        </p:nvGrpSpPr>
        <p:grpSpPr>
          <a:xfrm>
            <a:off x="5972635" y="4254711"/>
            <a:ext cx="3771364" cy="734289"/>
            <a:chOff x="15602870" y="8977015"/>
            <a:chExt cx="7542728" cy="1468577"/>
          </a:xfrm>
        </p:grpSpPr>
        <p:sp>
          <p:nvSpPr>
            <p:cNvPr id="28" name="Oval 93">
              <a:extLst>
                <a:ext uri="{FF2B5EF4-FFF2-40B4-BE49-F238E27FC236}">
                  <a16:creationId xmlns:a16="http://schemas.microsoft.com/office/drawing/2014/main" id="{53A7F7A6-A1B1-4133-AD92-36A1E49F8503}"/>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741B2692-34FE-484B-9369-4BB6236EF1BA}"/>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38B24556-1762-4B51-A0D0-937E3A98BD08}"/>
                </a:ext>
              </a:extLst>
            </p:cNvPr>
            <p:cNvSpPr txBox="1">
              <a:spLocks/>
            </p:cNvSpPr>
            <p:nvPr/>
          </p:nvSpPr>
          <p:spPr>
            <a:xfrm>
              <a:off x="17140024" y="9152931"/>
              <a:ext cx="6005574" cy="129266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manage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ntent</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s this decision different for data versus reports?</a:t>
              </a:r>
              <a:endPar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p:txBody>
        </p:sp>
      </p:grpSp>
      <p:grpSp>
        <p:nvGrpSpPr>
          <p:cNvPr id="31" name="Group 96">
            <a:extLst>
              <a:ext uri="{FF2B5EF4-FFF2-40B4-BE49-F238E27FC236}">
                <a16:creationId xmlns:a16="http://schemas.microsoft.com/office/drawing/2014/main" id="{FFD919D8-1B75-4974-9F66-AFD25BFCFF37}"/>
              </a:ext>
            </a:extLst>
          </p:cNvPr>
          <p:cNvGrpSpPr/>
          <p:nvPr/>
        </p:nvGrpSpPr>
        <p:grpSpPr>
          <a:xfrm>
            <a:off x="5972635" y="5140107"/>
            <a:ext cx="3832878" cy="731994"/>
            <a:chOff x="15602870" y="10747797"/>
            <a:chExt cx="7665756" cy="1463987"/>
          </a:xfrm>
        </p:grpSpPr>
        <p:sp>
          <p:nvSpPr>
            <p:cNvPr id="32" name="Oval 97">
              <a:extLst>
                <a:ext uri="{FF2B5EF4-FFF2-40B4-BE49-F238E27FC236}">
                  <a16:creationId xmlns:a16="http://schemas.microsoft.com/office/drawing/2014/main" id="{831E46A1-8CD0-4227-BA5B-E60385520D98}"/>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E4508ED5-4F4C-406F-9F6E-8BE61E63CB60}"/>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11D33504-03D4-4F86-8022-2C8B9578CEA0}"/>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11991ED5-53BB-443E-91AF-5C62E0B5F5D2}"/>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55017833-699C-4F89-8419-435262675735}"/>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6E07664C-19BA-4127-A055-F109E1F1327F}"/>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7348EADD-B212-4DBA-932F-64BECDB2992E}"/>
                </a:ext>
              </a:extLst>
            </p:cNvPr>
            <p:cNvSpPr txBox="1">
              <a:spLocks/>
            </p:cNvSpPr>
            <p:nvPr/>
          </p:nvSpPr>
          <p:spPr>
            <a:xfrm>
              <a:off x="17263052" y="10919123"/>
              <a:ext cx="6005574" cy="129266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Who can consume content? Is this decision different for external partners, customers, and suppliers?</a:t>
              </a:r>
            </a:p>
          </p:txBody>
        </p:sp>
      </p:grpSp>
      <p:sp>
        <p:nvSpPr>
          <p:cNvPr id="39" name="Titel 38">
            <a:extLst>
              <a:ext uri="{FF2B5EF4-FFF2-40B4-BE49-F238E27FC236}">
                <a16:creationId xmlns:a16="http://schemas.microsoft.com/office/drawing/2014/main" id="{0351D8A8-A572-468B-BBB3-093FB3CC6EDB}"/>
              </a:ext>
            </a:extLst>
          </p:cNvPr>
          <p:cNvSpPr>
            <a:spLocks noGrp="1"/>
          </p:cNvSpPr>
          <p:nvPr>
            <p:ph type="title"/>
          </p:nvPr>
        </p:nvSpPr>
        <p:spPr/>
        <p:txBody>
          <a:bodyPr/>
          <a:lstStyle/>
          <a:p>
            <a:r>
              <a:rPr lang="de-DE"/>
              <a:t>Data </a:t>
            </a:r>
            <a:r>
              <a:rPr lang="de-DE" err="1"/>
              <a:t>Democratization</a:t>
            </a:r>
            <a:endParaRPr lang="de-DE"/>
          </a:p>
        </p:txBody>
      </p:sp>
    </p:spTree>
    <p:extLst>
      <p:ext uri="{BB962C8B-B14F-4D97-AF65-F5344CB8AC3E}">
        <p14:creationId xmlns:p14="http://schemas.microsoft.com/office/powerpoint/2010/main" val="155886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want to bypass the internet when connecting to Power BI?</a:t>
            </a:r>
            <a:endParaRPr lang="en-US"/>
          </a:p>
        </p:txBody>
      </p:sp>
      <p:sp>
        <p:nvSpPr>
          <p:cNvPr id="4" name="Text Placeholder 1">
            <a:extLst>
              <a:ext uri="{FF2B5EF4-FFF2-40B4-BE49-F238E27FC236}">
                <a16:creationId xmlns:a16="http://schemas.microsoft.com/office/drawing/2014/main" id="{9AC517FB-116F-419E-B6AC-4BADF365DF64}"/>
              </a:ext>
            </a:extLst>
          </p:cNvPr>
          <p:cNvSpPr>
            <a:spLocks noGrp="1"/>
          </p:cNvSpPr>
          <p:nvPr>
            <p:ph type="body" sz="quarter" idx="10"/>
          </p:nvPr>
        </p:nvSpPr>
        <p:spPr>
          <a:xfrm>
            <a:off x="302482" y="3178513"/>
            <a:ext cx="11587037" cy="3480144"/>
          </a:xfrm>
        </p:spPr>
        <p:txBody>
          <a:bodyPr/>
          <a:lstStyle/>
          <a:p>
            <a:r>
              <a:rPr lang="en-GB"/>
              <a:t>Actions</a:t>
            </a:r>
          </a:p>
          <a:p>
            <a:pPr lvl="2"/>
            <a:r>
              <a:rPr lang="en-GB">
                <a:solidFill>
                  <a:srgbClr val="EDC30D"/>
                </a:solidFill>
              </a:rPr>
              <a:t>Confirm ExpressRoute prerequisites met</a:t>
            </a:r>
          </a:p>
          <a:p>
            <a:pPr lvl="2"/>
            <a:r>
              <a:rPr lang="en-GB">
                <a:solidFill>
                  <a:srgbClr val="EDC30D"/>
                </a:solidFill>
              </a:rPr>
              <a:t>Find an ExpressRoute connectivity provider</a:t>
            </a:r>
          </a:p>
          <a:p>
            <a:pPr lvl="2"/>
            <a:r>
              <a:rPr lang="en-GB">
                <a:solidFill>
                  <a:srgbClr val="EDC30D"/>
                </a:solidFill>
              </a:rPr>
              <a:t>Create an ExpressRoute circuit</a:t>
            </a:r>
          </a:p>
          <a:p>
            <a:pPr lvl="2"/>
            <a:r>
              <a:rPr lang="en-GB">
                <a:solidFill>
                  <a:srgbClr val="EDC30D"/>
                </a:solidFill>
              </a:rPr>
              <a:t>Create routing for ExpressRoute circuit</a:t>
            </a:r>
          </a:p>
          <a:p>
            <a:pPr lvl="2"/>
            <a:r>
              <a:rPr lang="en-GB">
                <a:solidFill>
                  <a:srgbClr val="EDC30D"/>
                </a:solidFill>
              </a:rPr>
              <a:t>Link Virtual Network to ExpressRoute</a:t>
            </a:r>
            <a:endParaRPr lang="en-US">
              <a:solidFill>
                <a:srgbClr val="EDC30D"/>
              </a:solidFill>
            </a:endParaRPr>
          </a:p>
        </p:txBody>
      </p:sp>
    </p:spTree>
    <p:custDataLst>
      <p:tags r:id="rId1"/>
    </p:custDataLst>
    <p:extLst>
      <p:ext uri="{BB962C8B-B14F-4D97-AF65-F5344CB8AC3E}">
        <p14:creationId xmlns:p14="http://schemas.microsoft.com/office/powerpoint/2010/main" val="514022627"/>
      </p:ext>
    </p:extLst>
  </p:cSld>
  <p:clrMapOvr>
    <a:masterClrMapping/>
  </p:clrMapOvr>
  <mc:AlternateContent xmlns:mc="http://schemas.openxmlformats.org/markup-compatibility/2006" xmlns:p14="http://schemas.microsoft.com/office/powerpoint/2010/main">
    <mc:Choice Requires="p14">
      <p:transition spd="med" p14:dur="700" advTm="30106">
        <p:fade/>
      </p:transition>
    </mc:Choice>
    <mc:Fallback xmlns="">
      <p:transition spd="med" advTm="30106">
        <p:fade/>
      </p:transition>
    </mc:Fallback>
  </mc:AlternateContent>
</p:sld>
</file>

<file path=ppt/slides/slide2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ompliance and market availability</a:t>
            </a:r>
          </a:p>
        </p:txBody>
      </p:sp>
      <p:graphicFrame>
        <p:nvGraphicFramePr>
          <p:cNvPr id="6" name="Table 5"/>
          <p:cNvGraphicFramePr>
            <a:graphicFrameLocks noGrp="1"/>
          </p:cNvGraphicFramePr>
          <p:nvPr/>
        </p:nvGraphicFramePr>
        <p:xfrm>
          <a:off x="41817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CSL (IRAP)</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hina GB 18030</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JIS </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SA STAR Attestation</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CSA STAR Certification</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DoD</a:t>
                      </a:r>
                      <a:endParaRPr lang="en-US" sz="1100" b="0" i="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EU Model Claus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EU-U.S. Privacy Shield</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FedRAMP</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FERPA</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FIPS 140-2</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
        <p:nvSpPr>
          <p:cNvPr id="7" name="TextBox 6"/>
          <p:cNvSpPr txBox="1"/>
          <p:nvPr/>
        </p:nvSpPr>
        <p:spPr>
          <a:xfrm>
            <a:off x="308015" y="6029063"/>
            <a:ext cx="11883985" cy="600164"/>
          </a:xfrm>
          <a:prstGeom prst="rect">
            <a:avLst/>
          </a:prstGeom>
          <a:noFill/>
        </p:spPr>
        <p:txBody>
          <a:bodyPr wrap="square" rtlCol="0">
            <a:spAutoFit/>
          </a:bodyPr>
          <a:lstStyle/>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rPr>
              <a:t>All dates are subject to change; </a:t>
            </a:r>
          </a:p>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Segoe UI"/>
                <a:ea typeface="+mn-ea"/>
                <a:cs typeface="+mn-cs"/>
                <a:hlinkClick r:id="rId3"/>
              </a:rPr>
              <a:t>https://www.microsoft.com/en-us/trustcenter/compliance/complianceofferings?product=PowerBI</a:t>
            </a:r>
            <a:endPar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endParaRPr>
          </a:p>
          <a:p>
            <a:pPr marL="217262"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2917">
                      <a:srgbClr val="5F5F5F"/>
                    </a:gs>
                    <a:gs pos="100000">
                      <a:srgbClr val="5F5F5F"/>
                    </a:gs>
                  </a:gsLst>
                  <a:lin ang="5400000" scaled="0"/>
                </a:gradFill>
                <a:effectLst/>
                <a:uLnTx/>
                <a:uFillTx/>
                <a:latin typeface="Segoe UI"/>
                <a:ea typeface="+mn-ea"/>
                <a:cs typeface="+mn-cs"/>
              </a:rPr>
              <a:t>Audit schedules are hard to predict and can be outside Microsoft’s control. Some certifications have an annual audit window and failure to pass the audit could result in a 1 year delay.</a:t>
            </a:r>
          </a:p>
        </p:txBody>
      </p:sp>
      <p:graphicFrame>
        <p:nvGraphicFramePr>
          <p:cNvPr id="8" name="Table 7"/>
          <p:cNvGraphicFramePr>
            <a:graphicFrameLocks noGrp="1"/>
          </p:cNvGraphicFramePr>
          <p:nvPr/>
        </p:nvGraphicFramePr>
        <p:xfrm>
          <a:off x="8442876" y="1232506"/>
          <a:ext cx="3441108" cy="3386378"/>
        </p:xfrm>
        <a:graphic>
          <a:graphicData uri="http://schemas.openxmlformats.org/drawingml/2006/table">
            <a:tbl>
              <a:tblPr firstRow="1" firstCol="1" bandRow="1"/>
              <a:tblGrid>
                <a:gridCol w="2204255">
                  <a:extLst>
                    <a:ext uri="{9D8B030D-6E8A-4147-A177-3AD203B41FA5}">
                      <a16:colId xmlns:a16="http://schemas.microsoft.com/office/drawing/2014/main" val="20000"/>
                    </a:ext>
                  </a:extLst>
                </a:gridCol>
                <a:gridCol w="1236853">
                  <a:extLst>
                    <a:ext uri="{9D8B030D-6E8A-4147-A177-3AD203B41FA5}">
                      <a16:colId xmlns:a16="http://schemas.microsoft.com/office/drawing/2014/main" val="1250221636"/>
                    </a:ext>
                  </a:extLst>
                </a:gridCol>
              </a:tblGrid>
              <a:tr h="42541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REGIONS </a:t>
                      </a:r>
                      <a:r>
                        <a:rPr lang="en-US" sz="10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hlinkClick r:id="rId4"/>
                        </a:rPr>
                        <a:t>DATA LOCATIONS</a:t>
                      </a:r>
                      <a:r>
                        <a:rPr lang="en-US" sz="10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 </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endParaRPr lang="en-US" sz="16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algn="l" defTabSz="932563" rtl="0" eaLnBrk="1" latinLnBrk="0" hangingPunct="1">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Asia Pacific</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Austral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13"/>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Brazil</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498351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anad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7459475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Europe</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Ind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2307468724"/>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Japan</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2825818"/>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nited Kingdom</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65333230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nited Stat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2883046"/>
                  </a:ext>
                </a:extLst>
              </a:tr>
            </a:tbl>
          </a:graphicData>
        </a:graphic>
      </p:graphicFrame>
      <p:graphicFrame>
        <p:nvGraphicFramePr>
          <p:cNvPr id="9" name="Table 8"/>
          <p:cNvGraphicFramePr>
            <a:graphicFrameLocks noGrp="1"/>
          </p:cNvGraphicFramePr>
          <p:nvPr/>
        </p:nvGraphicFramePr>
        <p:xfrm>
          <a:off x="8442877" y="4739073"/>
          <a:ext cx="3441108" cy="1289990"/>
        </p:xfrm>
        <a:graphic>
          <a:graphicData uri="http://schemas.openxmlformats.org/drawingml/2006/table">
            <a:tbl>
              <a:tblPr firstRow="1" firstCol="1" bandRow="1"/>
              <a:tblGrid>
                <a:gridCol w="2206194">
                  <a:extLst>
                    <a:ext uri="{9D8B030D-6E8A-4147-A177-3AD203B41FA5}">
                      <a16:colId xmlns:a16="http://schemas.microsoft.com/office/drawing/2014/main" val="20000"/>
                    </a:ext>
                  </a:extLst>
                </a:gridCol>
                <a:gridCol w="1234914">
                  <a:extLst>
                    <a:ext uri="{9D8B030D-6E8A-4147-A177-3AD203B41FA5}">
                      <a16:colId xmlns:a16="http://schemas.microsoft.com/office/drawing/2014/main" val="1250221636"/>
                    </a:ext>
                  </a:extLst>
                </a:gridCol>
              </a:tblGrid>
              <a:tr h="2988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NATIONAL CLOUDS</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US Government </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Chin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714260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Germany</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3218790"/>
                  </a:ext>
                </a:extLst>
              </a:tr>
            </a:tbl>
          </a:graphicData>
        </a:graphic>
      </p:graphicFrame>
      <p:graphicFrame>
        <p:nvGraphicFramePr>
          <p:cNvPr id="11" name="Table 10">
            <a:extLst>
              <a:ext uri="{FF2B5EF4-FFF2-40B4-BE49-F238E27FC236}">
                <a16:creationId xmlns:a16="http://schemas.microsoft.com/office/drawing/2014/main" id="{F660F5C6-184A-4DF5-AD93-CA659651638F}"/>
              </a:ext>
            </a:extLst>
          </p:cNvPr>
          <p:cNvGraphicFramePr>
            <a:graphicFrameLocks noGrp="1"/>
          </p:cNvGraphicFramePr>
          <p:nvPr/>
        </p:nvGraphicFramePr>
        <p:xfrm>
          <a:off x="443052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FISC</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HIPAA/HITECH</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ISO 27001 </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ISO 27018</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err="1">
                          <a:gradFill>
                            <a:gsLst>
                              <a:gs pos="2917">
                                <a:schemeClr val="tx1"/>
                              </a:gs>
                              <a:gs pos="100000">
                                <a:schemeClr val="tx1"/>
                              </a:gs>
                            </a:gsLst>
                            <a:lin ang="5400000" scaled="0"/>
                          </a:gradFill>
                          <a:effectLst/>
                          <a:latin typeface="+mn-lt"/>
                          <a:cs typeface="Segoe UI Semibold" panose="020B0702040204020203" pitchFamily="34" charset="0"/>
                        </a:rPr>
                        <a:t>MeitY</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NZ CC Framework</a:t>
                      </a:r>
                      <a:endParaRPr lang="en-US" sz="1100" b="0" i="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PCI DS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SOC 1</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SOC 2</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SOC 3</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UK G-Cloud</a:t>
                      </a:r>
                      <a:endParaRPr lang="en-US" sz="1100" b="0" i="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Tree>
    <p:extLst>
      <p:ext uri="{BB962C8B-B14F-4D97-AF65-F5344CB8AC3E}">
        <p14:creationId xmlns:p14="http://schemas.microsoft.com/office/powerpoint/2010/main" val="133337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34F292-2D5F-4FCE-857A-430611378108}"/>
              </a:ext>
            </a:extLst>
          </p:cNvPr>
          <p:cNvSpPr>
            <a:spLocks noGrp="1"/>
          </p:cNvSpPr>
          <p:nvPr>
            <p:ph type="ctrTitle"/>
          </p:nvPr>
        </p:nvSpPr>
        <p:spPr/>
        <p:txBody>
          <a:bodyPr/>
          <a:lstStyle/>
          <a:p>
            <a:r>
              <a:rPr lang="de-DE" err="1"/>
              <a:t>PowerBI</a:t>
            </a:r>
            <a:r>
              <a:rPr lang="de-DE"/>
              <a:t> Security: </a:t>
            </a:r>
            <a:r>
              <a:rPr lang="de-DE" err="1"/>
              <a:t>How</a:t>
            </a:r>
            <a:r>
              <a:rPr lang="de-DE"/>
              <a:t> to Secure?</a:t>
            </a:r>
          </a:p>
        </p:txBody>
      </p:sp>
      <p:sp>
        <p:nvSpPr>
          <p:cNvPr id="3" name="Textplatzhalter 2">
            <a:extLst>
              <a:ext uri="{FF2B5EF4-FFF2-40B4-BE49-F238E27FC236}">
                <a16:creationId xmlns:a16="http://schemas.microsoft.com/office/drawing/2014/main" id="{A853A8BA-9F33-414D-AA64-D7542CF460FD}"/>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98448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phic 8" descr="Key">
            <a:extLst>
              <a:ext uri="{FF2B5EF4-FFF2-40B4-BE49-F238E27FC236}">
                <a16:creationId xmlns:a16="http://schemas.microsoft.com/office/drawing/2014/main" id="{516B4448-3A2F-488D-AD13-470FA92487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58897" y="1172000"/>
            <a:ext cx="914400" cy="914400"/>
          </a:xfrm>
          <a:prstGeom prst="rect">
            <a:avLst/>
          </a:prstGeom>
        </p:spPr>
      </p:pic>
      <p:sp>
        <p:nvSpPr>
          <p:cNvPr id="4" name="Title 3"/>
          <p:cNvSpPr>
            <a:spLocks noGrp="1"/>
          </p:cNvSpPr>
          <p:nvPr>
            <p:ph type="title"/>
          </p:nvPr>
        </p:nvSpPr>
        <p:spPr/>
        <p:txBody>
          <a:bodyPr/>
          <a:lstStyle/>
          <a:p>
            <a:r>
              <a:rPr lang="en-GB"/>
              <a:t>Data Security</a:t>
            </a:r>
          </a:p>
        </p:txBody>
      </p:sp>
      <p:pic>
        <p:nvPicPr>
          <p:cNvPr id="5" name="Graphic 4" descr="Download">
            <a:extLst>
              <a:ext uri="{FF2B5EF4-FFF2-40B4-BE49-F238E27FC236}">
                <a16:creationId xmlns:a16="http://schemas.microsoft.com/office/drawing/2014/main" id="{C66DF67C-0027-4B52-B3AE-9F9879C37F7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63370" y="3574702"/>
            <a:ext cx="914400" cy="914400"/>
          </a:xfrm>
          <a:prstGeom prst="rect">
            <a:avLst/>
          </a:prstGeom>
        </p:spPr>
      </p:pic>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709225" y="599260"/>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ow-Level Securit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oles</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Import or Direct Query</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alysis Services Inherits</a:t>
            </a:r>
          </a:p>
        </p:txBody>
      </p:sp>
      <p:pic>
        <p:nvPicPr>
          <p:cNvPr id="11" name="Graphic 10" descr="Users">
            <a:extLst>
              <a:ext uri="{FF2B5EF4-FFF2-40B4-BE49-F238E27FC236}">
                <a16:creationId xmlns:a16="http://schemas.microsoft.com/office/drawing/2014/main" id="{38FC633F-920B-46F3-A817-33294D78450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58897" y="2342005"/>
            <a:ext cx="914400" cy="914400"/>
          </a:xfrm>
          <a:prstGeom prst="rect">
            <a:avLst/>
          </a:prstGeom>
        </p:spPr>
      </p:pic>
      <p:pic>
        <p:nvPicPr>
          <p:cNvPr id="13" name="Graphic 12" descr="Return">
            <a:extLst>
              <a:ext uri="{FF2B5EF4-FFF2-40B4-BE49-F238E27FC236}">
                <a16:creationId xmlns:a16="http://schemas.microsoft.com/office/drawing/2014/main" id="{84CC04FA-AB33-48A6-A905-9DA687F6F52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58897" y="4744707"/>
            <a:ext cx="914400" cy="914400"/>
          </a:xfrm>
          <a:prstGeom prst="rect">
            <a:avLst/>
          </a:prstGeom>
        </p:spPr>
      </p:pic>
    </p:spTree>
    <p:custDataLst>
      <p:tags r:id="rId1"/>
    </p:custDataLst>
    <p:extLst>
      <p:ext uri="{BB962C8B-B14F-4D97-AF65-F5344CB8AC3E}">
        <p14:creationId xmlns:p14="http://schemas.microsoft.com/office/powerpoint/2010/main" val="384390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Tools">
            <a:extLst>
              <a:ext uri="{FF2B5EF4-FFF2-40B4-BE49-F238E27FC236}">
                <a16:creationId xmlns:a16="http://schemas.microsoft.com/office/drawing/2014/main" id="{366AE027-5625-41B7-AAB9-F758486F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2134387"/>
            <a:ext cx="914400" cy="914400"/>
          </a:xfrm>
          <a:prstGeom prst="rect">
            <a:avLst/>
          </a:prstGeom>
        </p:spPr>
      </p:pic>
      <p:sp>
        <p:nvSpPr>
          <p:cNvPr id="4" name="Title 3"/>
          <p:cNvSpPr>
            <a:spLocks noGrp="1"/>
          </p:cNvSpPr>
          <p:nvPr>
            <p:ph type="title"/>
          </p:nvPr>
        </p:nvSpPr>
        <p:spPr/>
        <p:txBody>
          <a:bodyPr/>
          <a:lstStyle/>
          <a:p>
            <a:r>
              <a:rPr lang="en-GB"/>
              <a:t>Dynamic Row Level Security</a:t>
            </a:r>
          </a:p>
        </p:txBody>
      </p:sp>
      <p:sp>
        <p:nvSpPr>
          <p:cNvPr id="8" name="Text Placeholder 3">
            <a:extLst>
              <a:ext uri="{FF2B5EF4-FFF2-40B4-BE49-F238E27FC236}">
                <a16:creationId xmlns:a16="http://schemas.microsoft.com/office/drawing/2014/main" id="{C2EF726E-601D-4366-95DE-7EAF986A748E}"/>
              </a:ext>
            </a:extLst>
          </p:cNvPr>
          <p:cNvSpPr txBox="1">
            <a:spLocks/>
          </p:cNvSpPr>
          <p:nvPr/>
        </p:nvSpPr>
        <p:spPr>
          <a:xfrm>
            <a:off x="6647580" y="1031180"/>
            <a:ext cx="5066322" cy="5059847"/>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ynamic</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duces Maintenanc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NAM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USERPRINCIPALNAM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p:txBody>
      </p:sp>
      <p:pic>
        <p:nvPicPr>
          <p:cNvPr id="3" name="Graphic 2" descr="Bar chart">
            <a:extLst>
              <a:ext uri="{FF2B5EF4-FFF2-40B4-BE49-F238E27FC236}">
                <a16:creationId xmlns:a16="http://schemas.microsoft.com/office/drawing/2014/main" id="{F33F34E3-4492-4B65-A2AE-09587C01BF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74714" y="884337"/>
            <a:ext cx="914400" cy="914400"/>
          </a:xfrm>
          <a:prstGeom prst="rect">
            <a:avLst/>
          </a:prstGeom>
        </p:spPr>
      </p:pic>
      <p:pic>
        <p:nvPicPr>
          <p:cNvPr id="7" name="Graphic 6" descr="World">
            <a:extLst>
              <a:ext uri="{FF2B5EF4-FFF2-40B4-BE49-F238E27FC236}">
                <a16:creationId xmlns:a16="http://schemas.microsoft.com/office/drawing/2014/main" id="{8683D661-C7FD-4F3F-A75E-6DC461086E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320420"/>
            <a:ext cx="914400" cy="914400"/>
          </a:xfrm>
          <a:prstGeom prst="rect">
            <a:avLst/>
          </a:prstGeom>
        </p:spPr>
      </p:pic>
      <p:pic>
        <p:nvPicPr>
          <p:cNvPr id="12" name="Graphic 11" descr="Email">
            <a:extLst>
              <a:ext uri="{FF2B5EF4-FFF2-40B4-BE49-F238E27FC236}">
                <a16:creationId xmlns:a16="http://schemas.microsoft.com/office/drawing/2014/main" id="{1A79104C-75C6-4379-9DAB-0DC278FD4F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506454"/>
            <a:ext cx="914400" cy="914400"/>
          </a:xfrm>
          <a:prstGeom prst="rect">
            <a:avLst/>
          </a:prstGeom>
        </p:spPr>
      </p:pic>
    </p:spTree>
    <p:extLst>
      <p:ext uri="{BB962C8B-B14F-4D97-AF65-F5344CB8AC3E}">
        <p14:creationId xmlns:p14="http://schemas.microsoft.com/office/powerpoint/2010/main" val="2415839098"/>
      </p:ext>
    </p:extLst>
  </p:cSld>
  <p:clrMapOvr>
    <a:masterClrMapping/>
  </p:clrMapOvr>
  <mc:AlternateContent xmlns:mc="http://schemas.openxmlformats.org/markup-compatibility/2006" xmlns:p14="http://schemas.microsoft.com/office/powerpoint/2010/main">
    <mc:Choice Requires="p14">
      <p:transition spd="med" p14:dur="700" advTm="99511">
        <p:fade/>
      </p:transition>
    </mc:Choice>
    <mc:Fallback xmlns="">
      <p:transition spd="med" advTm="99511">
        <p:fade/>
      </p:transition>
    </mc:Fallback>
  </mc:AlternateContent>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
          <p:cNvSpPr>
            <a:spLocks noGrp="1"/>
          </p:cNvSpPr>
          <p:nvPr>
            <p:ph type="title"/>
          </p:nvPr>
        </p:nvSpPr>
        <p:spPr/>
        <p:txBody>
          <a:bodyPr/>
          <a:lstStyle/>
          <a:p>
            <a:r>
              <a:rPr lang="en-US"/>
              <a:t>Sharing</a:t>
            </a:r>
          </a:p>
        </p:txBody>
      </p:sp>
      <p:sp>
        <p:nvSpPr>
          <p:cNvPr id="25" name="Text Placeholder 2"/>
          <p:cNvSpPr txBox="1">
            <a:spLocks/>
          </p:cNvSpPr>
          <p:nvPr/>
        </p:nvSpPr>
        <p:spPr>
          <a:xfrm>
            <a:off x="6431233" y="1416161"/>
            <a:ext cx="5363719" cy="4025679"/>
          </a:xfrm>
          <a:prstGeom prst="rect">
            <a:avLst/>
          </a:prstGeom>
        </p:spPr>
        <p:txBody>
          <a:bodyPr vert="horz" wrap="square" lIns="146284" tIns="91427" rIns="146284"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690" marR="0" lvl="0" indent="-365690" algn="l" defTabSz="932563" rtl="0" eaLnBrk="1" fontAlgn="auto" latinLnBrk="0" hangingPunct="1">
              <a:lnSpc>
                <a:spcPct val="90000"/>
              </a:lnSpc>
              <a:spcBef>
                <a:spcPts val="1800"/>
              </a:spcBef>
              <a:spcAft>
                <a:spcPts val="0"/>
              </a:spcAft>
              <a:buClr>
                <a:srgbClr val="EDC30D"/>
              </a:buClr>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App Workspaces / Apps</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Reports &amp; Dashboards</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Public</a:t>
            </a: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endPar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endParaRPr>
          </a:p>
          <a:p>
            <a:pPr marL="0" marR="0" lvl="0" indent="0" algn="l" defTabSz="932563" rtl="0" eaLnBrk="1" fontAlgn="auto" latinLnBrk="0" hangingPunct="1">
              <a:lnSpc>
                <a:spcPct val="95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prstClr val="black"/>
                </a:solidFill>
                <a:effectLst/>
                <a:uLnTx/>
                <a:uFillTx/>
                <a:latin typeface="Segoe UI"/>
                <a:ea typeface="+mn-ea"/>
                <a:cs typeface="Segoe UI Semibold" panose="020B0702040204020203" pitchFamily="34" charset="0"/>
              </a:rPr>
              <a:t>Printing</a:t>
            </a:r>
          </a:p>
        </p:txBody>
      </p:sp>
      <p:sp>
        <p:nvSpPr>
          <p:cNvPr id="17" name="Oval 16"/>
          <p:cNvSpPr/>
          <p:nvPr/>
        </p:nvSpPr>
        <p:spPr bwMode="auto">
          <a:xfrm>
            <a:off x="5872491" y="1481106"/>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p:nvPicPr>
        <p:blipFill>
          <a:blip r:embed="rId3"/>
          <a:stretch>
            <a:fillRect/>
          </a:stretch>
        </p:blipFill>
        <p:spPr>
          <a:xfrm>
            <a:off x="5969072" y="1636467"/>
            <a:ext cx="203581" cy="99424"/>
          </a:xfrm>
          <a:prstGeom prst="rect">
            <a:avLst/>
          </a:prstGeom>
        </p:spPr>
      </p:pic>
      <p:sp>
        <p:nvSpPr>
          <p:cNvPr id="19" name="Oval 18"/>
          <p:cNvSpPr/>
          <p:nvPr/>
        </p:nvSpPr>
        <p:spPr bwMode="auto">
          <a:xfrm>
            <a:off x="5872491" y="2605094"/>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5964936" y="2760456"/>
            <a:ext cx="203581" cy="99424"/>
          </a:xfrm>
          <a:prstGeom prst="rect">
            <a:avLst/>
          </a:prstGeom>
        </p:spPr>
      </p:pic>
      <p:sp>
        <p:nvSpPr>
          <p:cNvPr id="10" name="Oval 9"/>
          <p:cNvSpPr/>
          <p:nvPr/>
        </p:nvSpPr>
        <p:spPr bwMode="auto">
          <a:xfrm>
            <a:off x="5872491" y="3729083"/>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a:stretch>
            <a:fillRect/>
          </a:stretch>
        </p:blipFill>
        <p:spPr>
          <a:xfrm>
            <a:off x="5964936" y="3884445"/>
            <a:ext cx="203581" cy="99424"/>
          </a:xfrm>
          <a:prstGeom prst="rect">
            <a:avLst/>
          </a:prstGeom>
        </p:spPr>
      </p:pic>
      <p:sp>
        <p:nvSpPr>
          <p:cNvPr id="15" name="Oval 14">
            <a:extLst>
              <a:ext uri="{FF2B5EF4-FFF2-40B4-BE49-F238E27FC236}">
                <a16:creationId xmlns:a16="http://schemas.microsoft.com/office/drawing/2014/main" id="{99DD2986-6A65-4CB4-8578-3B6ADF345C1B}"/>
              </a:ext>
            </a:extLst>
          </p:cNvPr>
          <p:cNvSpPr/>
          <p:nvPr/>
        </p:nvSpPr>
        <p:spPr bwMode="auto">
          <a:xfrm>
            <a:off x="5867675" y="4871309"/>
            <a:ext cx="396742" cy="401721"/>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60237366-DD72-4DBA-9463-9BB9EBD4136C}"/>
              </a:ext>
            </a:extLst>
          </p:cNvPr>
          <p:cNvPicPr>
            <a:picLocks noChangeAspect="1"/>
          </p:cNvPicPr>
          <p:nvPr/>
        </p:nvPicPr>
        <p:blipFill>
          <a:blip r:embed="rId3"/>
          <a:stretch>
            <a:fillRect/>
          </a:stretch>
        </p:blipFill>
        <p:spPr>
          <a:xfrm>
            <a:off x="5960119" y="5026671"/>
            <a:ext cx="203581" cy="99424"/>
          </a:xfrm>
          <a:prstGeom prst="rect">
            <a:avLst/>
          </a:prstGeom>
        </p:spPr>
      </p:pic>
    </p:spTree>
    <p:extLst>
      <p:ext uri="{BB962C8B-B14F-4D97-AF65-F5344CB8AC3E}">
        <p14:creationId xmlns:p14="http://schemas.microsoft.com/office/powerpoint/2010/main" val="85073521"/>
      </p:ext>
    </p:extLst>
  </p:cSld>
  <p:clrMapOvr>
    <a:masterClrMapping/>
  </p:clrMapOvr>
  <mc:AlternateContent xmlns:mc="http://schemas.openxmlformats.org/markup-compatibility/2006" xmlns:p14="http://schemas.microsoft.com/office/powerpoint/2010/main">
    <mc:Choice Requires="p14">
      <p:transition spd="med" p14:dur="700" advTm="24768">
        <p:fade/>
      </p:transition>
    </mc:Choice>
    <mc:Fallback xmlns="">
      <p:transition spd="med" advTm="24768">
        <p:fade/>
      </p:transition>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Users">
            <a:extLst>
              <a:ext uri="{FF2B5EF4-FFF2-40B4-BE49-F238E27FC236}">
                <a16:creationId xmlns:a16="http://schemas.microsoft.com/office/drawing/2014/main" id="{87653021-67BC-45BE-B139-D3C85AF6B1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5451" y="2985989"/>
            <a:ext cx="914400" cy="914400"/>
          </a:xfrm>
          <a:prstGeom prst="rect">
            <a:avLst/>
          </a:prstGeom>
        </p:spPr>
      </p:pic>
      <p:sp>
        <p:nvSpPr>
          <p:cNvPr id="11"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12"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pp Workspaces</a:t>
            </a:r>
          </a:p>
        </p:txBody>
      </p:sp>
      <p:sp>
        <p:nvSpPr>
          <p:cNvPr id="8" name="Text Placeholder 3">
            <a:extLst>
              <a:ext uri="{FF2B5EF4-FFF2-40B4-BE49-F238E27FC236}">
                <a16:creationId xmlns:a16="http://schemas.microsoft.com/office/drawing/2014/main" id="{A1DF0229-118B-4604-85EB-E44E666354A8}"/>
              </a:ext>
            </a:extLst>
          </p:cNvPr>
          <p:cNvSpPr txBox="1">
            <a:spLocks/>
          </p:cNvSpPr>
          <p:nvPr/>
        </p:nvSpPr>
        <p:spPr>
          <a:xfrm>
            <a:off x="6541754" y="971657"/>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ollaborative Development</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yone can Creat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Workspace OneDriv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Belong to Man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License</a:t>
            </a:r>
          </a:p>
        </p:txBody>
      </p:sp>
      <p:pic>
        <p:nvPicPr>
          <p:cNvPr id="14" name="Graphic 13" descr="Pencil">
            <a:extLst>
              <a:ext uri="{FF2B5EF4-FFF2-40B4-BE49-F238E27FC236}">
                <a16:creationId xmlns:a16="http://schemas.microsoft.com/office/drawing/2014/main" id="{2861CC3B-A5C3-42DD-BE1B-ECDCAD1B20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025152"/>
            <a:ext cx="914400" cy="914400"/>
          </a:xfrm>
          <a:prstGeom prst="rect">
            <a:avLst/>
          </a:prstGeom>
        </p:spPr>
      </p:pic>
      <p:pic>
        <p:nvPicPr>
          <p:cNvPr id="16" name="Graphic 15" descr="Group">
            <a:extLst>
              <a:ext uri="{FF2B5EF4-FFF2-40B4-BE49-F238E27FC236}">
                <a16:creationId xmlns:a16="http://schemas.microsoft.com/office/drawing/2014/main" id="{0C420654-F941-40BE-8FDE-7FA659A98F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1064305"/>
            <a:ext cx="914400" cy="914400"/>
          </a:xfrm>
          <a:prstGeom prst="rect">
            <a:avLst/>
          </a:prstGeom>
        </p:spPr>
      </p:pic>
      <p:pic>
        <p:nvPicPr>
          <p:cNvPr id="18" name="Graphic 17" descr="Network">
            <a:extLst>
              <a:ext uri="{FF2B5EF4-FFF2-40B4-BE49-F238E27FC236}">
                <a16:creationId xmlns:a16="http://schemas.microsoft.com/office/drawing/2014/main" id="{E24157F0-C6FA-4528-B53D-AF53CBA778E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451" y="3856395"/>
            <a:ext cx="914400" cy="914400"/>
          </a:xfrm>
          <a:prstGeom prst="rect">
            <a:avLst/>
          </a:prstGeom>
        </p:spPr>
      </p:pic>
      <p:pic>
        <p:nvPicPr>
          <p:cNvPr id="19" name="Graphic 18" descr="Lightbulb">
            <a:extLst>
              <a:ext uri="{FF2B5EF4-FFF2-40B4-BE49-F238E27FC236}">
                <a16:creationId xmlns:a16="http://schemas.microsoft.com/office/drawing/2014/main" id="{BCD95C80-077A-42A1-899A-0D4560043BC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800" y="4809233"/>
            <a:ext cx="914400" cy="914400"/>
          </a:xfrm>
          <a:prstGeom prst="rect">
            <a:avLst/>
          </a:prstGeom>
        </p:spPr>
      </p:pic>
      <p:pic>
        <p:nvPicPr>
          <p:cNvPr id="2" name="Picture 1">
            <a:extLst>
              <a:ext uri="{FF2B5EF4-FFF2-40B4-BE49-F238E27FC236}">
                <a16:creationId xmlns:a16="http://schemas.microsoft.com/office/drawing/2014/main" id="{2359B765-DE66-40B2-A51B-0A0AF25503CD}"/>
              </a:ext>
            </a:extLst>
          </p:cNvPr>
          <p:cNvPicPr>
            <a:picLocks noChangeAspect="1"/>
          </p:cNvPicPr>
          <p:nvPr/>
        </p:nvPicPr>
        <p:blipFill>
          <a:blip r:embed="rId14"/>
          <a:stretch>
            <a:fillRect/>
          </a:stretch>
        </p:blipFill>
        <p:spPr>
          <a:xfrm>
            <a:off x="680852" y="3491137"/>
            <a:ext cx="4034816" cy="2816281"/>
          </a:xfrm>
          <a:prstGeom prst="rect">
            <a:avLst/>
          </a:prstGeom>
        </p:spPr>
      </p:pic>
    </p:spTree>
    <p:custDataLst>
      <p:tags r:id="rId1"/>
    </p:custDataLst>
    <p:extLst>
      <p:ext uri="{BB962C8B-B14F-4D97-AF65-F5344CB8AC3E}">
        <p14:creationId xmlns:p14="http://schemas.microsoft.com/office/powerpoint/2010/main" val="59105265"/>
      </p:ext>
    </p:extLst>
  </p:cSld>
  <p:clrMapOvr>
    <a:masterClrMapping/>
  </p:clrMapOvr>
  <mc:AlternateContent xmlns:mc="http://schemas.openxmlformats.org/markup-compatibility/2006" xmlns:p14="http://schemas.microsoft.com/office/powerpoint/2010/main">
    <mc:Choice Requires="p14">
      <p:transition spd="med" p14:dur="700" advTm="90280">
        <p:fade/>
      </p:transition>
    </mc:Choice>
    <mc:Fallback xmlns="">
      <p:transition spd="med" advTm="902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5099" y="1363446"/>
            <a:ext cx="5066323" cy="1098397"/>
          </a:xfrm>
        </p:spPr>
        <p:txBody>
          <a:bodyPr/>
          <a:lstStyle/>
          <a:p>
            <a:r>
              <a:rPr lang="en-US"/>
              <a:t>Sharing</a:t>
            </a:r>
            <a:endParaRPr lang="en-GB"/>
          </a:p>
        </p:txBody>
      </p:sp>
      <p:sp>
        <p:nvSpPr>
          <p:cNvPr id="5"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pps</a:t>
            </a:r>
          </a:p>
        </p:txBody>
      </p:sp>
      <p:pic>
        <p:nvPicPr>
          <p:cNvPr id="6" name="Picture 5">
            <a:extLst>
              <a:ext uri="{FF2B5EF4-FFF2-40B4-BE49-F238E27FC236}">
                <a16:creationId xmlns:a16="http://schemas.microsoft.com/office/drawing/2014/main" id="{28FB4CC2-97DD-40EA-B391-AC495F60D4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572" y="3923771"/>
            <a:ext cx="4139870" cy="1752545"/>
          </a:xfrm>
          <a:prstGeom prst="rect">
            <a:avLst/>
          </a:prstGeom>
        </p:spPr>
      </p:pic>
      <p:sp>
        <p:nvSpPr>
          <p:cNvPr id="8" name="Text Placeholder 3">
            <a:extLst>
              <a:ext uri="{FF2B5EF4-FFF2-40B4-BE49-F238E27FC236}">
                <a16:creationId xmlns:a16="http://schemas.microsoft.com/office/drawing/2014/main" id="{1916F12F-837A-48EF-AA25-36045E8FE63A}"/>
              </a:ext>
            </a:extLst>
          </p:cNvPr>
          <p:cNvSpPr txBox="1">
            <a:spLocks/>
          </p:cNvSpPr>
          <p:nvPr/>
        </p:nvSpPr>
        <p:spPr>
          <a:xfrm>
            <a:off x="6681065" y="40380"/>
            <a:ext cx="5650246" cy="677724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quires App Workspace</a:t>
            </a:r>
            <a:endParaRPr kumimoji="0" lang="en-GB" sz="3600" b="0" i="0" u="none" strike="noStrike" kern="1200" cap="none" spc="0" normalizeH="0" baseline="0" noProof="0">
              <a:ln>
                <a:noFill/>
              </a:ln>
              <a:solidFill>
                <a:srgbClr val="F2C811"/>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Multiple Asset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Broad Audience</a:t>
            </a:r>
            <a:endParaRPr kumimoji="0" lang="en-GB" sz="3600" b="0" i="0" u="none" strike="noStrike" kern="1200" cap="none" spc="0" normalizeH="0" baseline="0" noProof="0">
              <a:ln>
                <a:noFill/>
              </a:ln>
              <a:solidFill>
                <a:srgbClr val="F2C811"/>
              </a:solidFill>
              <a:effectLst/>
              <a:uLnTx/>
              <a:uFillTx/>
              <a:latin typeface="Segoe UI Light"/>
              <a:ea typeface="+mn-ea"/>
              <a:cs typeface="+mn-cs"/>
            </a:endParaRP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ad-Onl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ownload or Push</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taged Change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0" name="Graphic 9" descr="Group">
            <a:extLst>
              <a:ext uri="{FF2B5EF4-FFF2-40B4-BE49-F238E27FC236}">
                <a16:creationId xmlns:a16="http://schemas.microsoft.com/office/drawing/2014/main" id="{C8F577A3-9D0C-43EF-B6B8-C960BB7B93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5451" y="2059093"/>
            <a:ext cx="914400" cy="914400"/>
          </a:xfrm>
          <a:prstGeom prst="rect">
            <a:avLst/>
          </a:prstGeom>
        </p:spPr>
      </p:pic>
      <p:pic>
        <p:nvPicPr>
          <p:cNvPr id="13" name="Graphic 12" descr="Books">
            <a:extLst>
              <a:ext uri="{FF2B5EF4-FFF2-40B4-BE49-F238E27FC236}">
                <a16:creationId xmlns:a16="http://schemas.microsoft.com/office/drawing/2014/main" id="{53BDAC85-F4A2-47E3-B9B8-EF133AB8C7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136849"/>
            <a:ext cx="914400" cy="914400"/>
          </a:xfrm>
          <a:prstGeom prst="rect">
            <a:avLst/>
          </a:prstGeom>
        </p:spPr>
      </p:pic>
      <p:pic>
        <p:nvPicPr>
          <p:cNvPr id="14" name="Graphic 13" descr="Open Book">
            <a:extLst>
              <a:ext uri="{FF2B5EF4-FFF2-40B4-BE49-F238E27FC236}">
                <a16:creationId xmlns:a16="http://schemas.microsoft.com/office/drawing/2014/main" id="{FE64E605-5BF8-46ED-90D3-2302A6B661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047859"/>
            <a:ext cx="914400" cy="914400"/>
          </a:xfrm>
          <a:prstGeom prst="rect">
            <a:avLst/>
          </a:prstGeom>
        </p:spPr>
      </p:pic>
      <p:pic>
        <p:nvPicPr>
          <p:cNvPr id="15" name="Graphic 14" descr="Shooting star">
            <a:extLst>
              <a:ext uri="{FF2B5EF4-FFF2-40B4-BE49-F238E27FC236}">
                <a16:creationId xmlns:a16="http://schemas.microsoft.com/office/drawing/2014/main" id="{93417764-7C5B-4D2D-AD2B-42E44F218D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53658" y="3997540"/>
            <a:ext cx="854430" cy="854430"/>
          </a:xfrm>
          <a:prstGeom prst="rect">
            <a:avLst/>
          </a:prstGeom>
        </p:spPr>
      </p:pic>
      <p:pic>
        <p:nvPicPr>
          <p:cNvPr id="16" name="Graphic 15" descr="Building">
            <a:extLst>
              <a:ext uri="{FF2B5EF4-FFF2-40B4-BE49-F238E27FC236}">
                <a16:creationId xmlns:a16="http://schemas.microsoft.com/office/drawing/2014/main" id="{F997004B-9D98-4961-B54D-4828DF1447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5451" y="148083"/>
            <a:ext cx="914400" cy="914400"/>
          </a:xfrm>
          <a:prstGeom prst="rect">
            <a:avLst/>
          </a:prstGeom>
        </p:spPr>
      </p:pic>
      <p:pic>
        <p:nvPicPr>
          <p:cNvPr id="18" name="Graphic 17" descr="Theatre">
            <a:extLst>
              <a:ext uri="{FF2B5EF4-FFF2-40B4-BE49-F238E27FC236}">
                <a16:creationId xmlns:a16="http://schemas.microsoft.com/office/drawing/2014/main" id="{5866DE12-A1B8-4899-A195-9194CA697D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5451" y="4857430"/>
            <a:ext cx="914400" cy="914400"/>
          </a:xfrm>
          <a:prstGeom prst="rect">
            <a:avLst/>
          </a:prstGeom>
        </p:spPr>
      </p:pic>
      <p:pic>
        <p:nvPicPr>
          <p:cNvPr id="19" name="Graphic 18" descr="Lightbulb">
            <a:extLst>
              <a:ext uri="{FF2B5EF4-FFF2-40B4-BE49-F238E27FC236}">
                <a16:creationId xmlns:a16="http://schemas.microsoft.com/office/drawing/2014/main" id="{A328DC5E-E792-432A-A067-A0515AFED1E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38800" y="5723629"/>
            <a:ext cx="914400" cy="914400"/>
          </a:xfrm>
          <a:prstGeom prst="rect">
            <a:avLst/>
          </a:prstGeom>
        </p:spPr>
      </p:pic>
    </p:spTree>
    <p:custDataLst>
      <p:tags r:id="rId1"/>
    </p:custDataLst>
    <p:extLst>
      <p:ext uri="{BB962C8B-B14F-4D97-AF65-F5344CB8AC3E}">
        <p14:creationId xmlns:p14="http://schemas.microsoft.com/office/powerpoint/2010/main" val="1261000777"/>
      </p:ext>
    </p:extLst>
  </p:cSld>
  <p:clrMapOvr>
    <a:masterClrMapping/>
  </p:clrMapOvr>
  <mc:AlternateContent xmlns:mc="http://schemas.openxmlformats.org/markup-compatibility/2006" xmlns:p14="http://schemas.microsoft.com/office/powerpoint/2010/main">
    <mc:Choice Requires="p14">
      <p:transition spd="med" p14:dur="700" advTm="89073">
        <p:fade/>
      </p:transition>
    </mc:Choice>
    <mc:Fallback xmlns="">
      <p:transition spd="med" advTm="8907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360795-3491-42BD-9F0D-0DC6779875E3}"/>
              </a:ext>
            </a:extLst>
          </p:cNvPr>
          <p:cNvPicPr>
            <a:picLocks noChangeAspect="1"/>
          </p:cNvPicPr>
          <p:nvPr/>
        </p:nvPicPr>
        <p:blipFill>
          <a:blip r:embed="rId4"/>
          <a:stretch>
            <a:fillRect/>
          </a:stretch>
        </p:blipFill>
        <p:spPr>
          <a:xfrm>
            <a:off x="401822" y="3494134"/>
            <a:ext cx="4683932" cy="2806516"/>
          </a:xfrm>
          <a:prstGeom prst="rect">
            <a:avLst/>
          </a:prstGeom>
        </p:spPr>
      </p:pic>
      <p:pic>
        <p:nvPicPr>
          <p:cNvPr id="10" name="Picture 9">
            <a:extLst>
              <a:ext uri="{FF2B5EF4-FFF2-40B4-BE49-F238E27FC236}">
                <a16:creationId xmlns:a16="http://schemas.microsoft.com/office/drawing/2014/main" id="{7551693E-355F-4AB0-8080-AB930F5A28ED}"/>
              </a:ext>
            </a:extLst>
          </p:cNvPr>
          <p:cNvPicPr>
            <a:picLocks noChangeAspect="1"/>
          </p:cNvPicPr>
          <p:nvPr/>
        </p:nvPicPr>
        <p:blipFill>
          <a:blip r:embed="rId5"/>
          <a:stretch>
            <a:fillRect/>
          </a:stretch>
        </p:blipFill>
        <p:spPr>
          <a:xfrm>
            <a:off x="399113" y="3491128"/>
            <a:ext cx="4173395" cy="2806516"/>
          </a:xfrm>
          <a:prstGeom prst="rect">
            <a:avLst/>
          </a:prstGeom>
        </p:spPr>
      </p:pic>
      <p:sp>
        <p:nvSpPr>
          <p:cNvPr id="7" name="Title 2"/>
          <p:cNvSpPr txBox="1">
            <a:spLocks/>
          </p:cNvSpPr>
          <p:nvPr/>
        </p:nvSpPr>
        <p:spPr>
          <a:xfrm>
            <a:off x="165941" y="1363740"/>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5499"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941" y="2268632"/>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AAD B2B</a:t>
            </a:r>
          </a:p>
        </p:txBody>
      </p:sp>
      <p:sp>
        <p:nvSpPr>
          <p:cNvPr id="12" name="Text Placeholder 3">
            <a:extLst>
              <a:ext uri="{FF2B5EF4-FFF2-40B4-BE49-F238E27FC236}">
                <a16:creationId xmlns:a16="http://schemas.microsoft.com/office/drawing/2014/main" id="{EA9C8496-1DAB-47D4-9B99-26F16F3CBCCE}"/>
              </a:ext>
            </a:extLst>
          </p:cNvPr>
          <p:cNvSpPr txBox="1">
            <a:spLocks/>
          </p:cNvSpPr>
          <p:nvPr/>
        </p:nvSpPr>
        <p:spPr>
          <a:xfrm>
            <a:off x="6549851" y="1047982"/>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ny Email Addres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lanned or Ad-hoc Invite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App sharing</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6" name="Graphic 15" descr="Lightbulb">
            <a:extLst>
              <a:ext uri="{FF2B5EF4-FFF2-40B4-BE49-F238E27FC236}">
                <a16:creationId xmlns:a16="http://schemas.microsoft.com/office/drawing/2014/main" id="{C009F855-AC1E-48A1-B6AC-FAA337D334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889617"/>
            <a:ext cx="914400" cy="914400"/>
          </a:xfrm>
          <a:prstGeom prst="rect">
            <a:avLst/>
          </a:prstGeom>
        </p:spPr>
      </p:pic>
      <p:pic>
        <p:nvPicPr>
          <p:cNvPr id="4" name="Graphic 3" descr="User">
            <a:extLst>
              <a:ext uri="{FF2B5EF4-FFF2-40B4-BE49-F238E27FC236}">
                <a16:creationId xmlns:a16="http://schemas.microsoft.com/office/drawing/2014/main" id="{33573352-D601-4053-90BA-1A8E7ED3BE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1095491"/>
            <a:ext cx="914400" cy="914400"/>
          </a:xfrm>
          <a:prstGeom prst="rect">
            <a:avLst/>
          </a:prstGeom>
        </p:spPr>
      </p:pic>
      <p:pic>
        <p:nvPicPr>
          <p:cNvPr id="6" name="Graphic 5" descr="Email">
            <a:extLst>
              <a:ext uri="{FF2B5EF4-FFF2-40B4-BE49-F238E27FC236}">
                <a16:creationId xmlns:a16="http://schemas.microsoft.com/office/drawing/2014/main" id="{EB6D3FF3-959E-4E9D-BE2D-C4A5DF5F99B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451" y="2057400"/>
            <a:ext cx="914400" cy="914400"/>
          </a:xfrm>
          <a:prstGeom prst="rect">
            <a:avLst/>
          </a:prstGeom>
        </p:spPr>
      </p:pic>
      <p:pic>
        <p:nvPicPr>
          <p:cNvPr id="18" name="Graphic 17" descr="Envelope">
            <a:extLst>
              <a:ext uri="{FF2B5EF4-FFF2-40B4-BE49-F238E27FC236}">
                <a16:creationId xmlns:a16="http://schemas.microsoft.com/office/drawing/2014/main" id="{CE481543-EF10-4A21-8A7B-F1DF3905D8B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5451" y="3036934"/>
            <a:ext cx="914400" cy="914400"/>
          </a:xfrm>
          <a:prstGeom prst="rect">
            <a:avLst/>
          </a:prstGeom>
        </p:spPr>
      </p:pic>
      <p:pic>
        <p:nvPicPr>
          <p:cNvPr id="20" name="Graphic 19" descr="Books">
            <a:extLst>
              <a:ext uri="{FF2B5EF4-FFF2-40B4-BE49-F238E27FC236}">
                <a16:creationId xmlns:a16="http://schemas.microsoft.com/office/drawing/2014/main" id="{EBE7484E-7C37-4C31-83C5-D71BC1C7E51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35451" y="3974944"/>
            <a:ext cx="914400" cy="914400"/>
          </a:xfrm>
          <a:prstGeom prst="rect">
            <a:avLst/>
          </a:prstGeom>
        </p:spPr>
      </p:pic>
    </p:spTree>
    <p:custDataLst>
      <p:tags r:id="rId1"/>
    </p:custDataLst>
    <p:extLst>
      <p:ext uri="{BB962C8B-B14F-4D97-AF65-F5344CB8AC3E}">
        <p14:creationId xmlns:p14="http://schemas.microsoft.com/office/powerpoint/2010/main" val="2822810171"/>
      </p:ext>
    </p:extLst>
  </p:cSld>
  <p:clrMapOvr>
    <a:masterClrMapping/>
  </p:clrMapOvr>
  <mc:AlternateContent xmlns:mc="http://schemas.openxmlformats.org/markup-compatibility/2006" xmlns:p14="http://schemas.microsoft.com/office/powerpoint/2010/main">
    <mc:Choice Requires="p14">
      <p:transition spd="med" p14:dur="700" advTm="93004">
        <p:fade/>
      </p:transition>
    </mc:Choice>
    <mc:Fallback xmlns="">
      <p:transition spd="med" advTm="9300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12"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Reports &amp; Dashboards</a:t>
            </a:r>
          </a:p>
        </p:txBody>
      </p:sp>
      <p:sp>
        <p:nvSpPr>
          <p:cNvPr id="10" name="Text Placeholder 3">
            <a:extLst>
              <a:ext uri="{FF2B5EF4-FFF2-40B4-BE49-F238E27FC236}">
                <a16:creationId xmlns:a16="http://schemas.microsoft.com/office/drawing/2014/main" id="{F2FE7567-9D87-4761-98A4-3981EE9E1E63}"/>
              </a:ext>
            </a:extLst>
          </p:cNvPr>
          <p:cNvSpPr txBox="1">
            <a:spLocks/>
          </p:cNvSpPr>
          <p:nvPr/>
        </p:nvSpPr>
        <p:spPr>
          <a:xfrm>
            <a:off x="6541754" y="1442555"/>
            <a:ext cx="5650246" cy="384861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hare from Anywher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ad-Onl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ternal Users</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5" name="Graphic 14" descr="Network">
            <a:extLst>
              <a:ext uri="{FF2B5EF4-FFF2-40B4-BE49-F238E27FC236}">
                <a16:creationId xmlns:a16="http://schemas.microsoft.com/office/drawing/2014/main" id="{88F56E52-CFA7-494F-8A7B-63A806FCC8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0752" y="1521505"/>
            <a:ext cx="914400" cy="914400"/>
          </a:xfrm>
          <a:prstGeom prst="rect">
            <a:avLst/>
          </a:prstGeom>
        </p:spPr>
      </p:pic>
      <p:pic>
        <p:nvPicPr>
          <p:cNvPr id="16" name="Graphic 15" descr="Lightbulb">
            <a:extLst>
              <a:ext uri="{FF2B5EF4-FFF2-40B4-BE49-F238E27FC236}">
                <a16:creationId xmlns:a16="http://schemas.microsoft.com/office/drawing/2014/main" id="{931FDEA9-EB59-4F33-9D57-35BA00014B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4407302"/>
            <a:ext cx="914400" cy="914400"/>
          </a:xfrm>
          <a:prstGeom prst="rect">
            <a:avLst/>
          </a:prstGeom>
        </p:spPr>
      </p:pic>
      <p:pic>
        <p:nvPicPr>
          <p:cNvPr id="17" name="Graphic 16" descr="User">
            <a:extLst>
              <a:ext uri="{FF2B5EF4-FFF2-40B4-BE49-F238E27FC236}">
                <a16:creationId xmlns:a16="http://schemas.microsoft.com/office/drawing/2014/main" id="{103EF4F3-1479-48A9-A426-B9C57FA43E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5451" y="3356368"/>
            <a:ext cx="914400" cy="914400"/>
          </a:xfrm>
          <a:prstGeom prst="rect">
            <a:avLst/>
          </a:prstGeom>
        </p:spPr>
      </p:pic>
      <p:pic>
        <p:nvPicPr>
          <p:cNvPr id="18" name="Graphic 17" descr="Open Book">
            <a:extLst>
              <a:ext uri="{FF2B5EF4-FFF2-40B4-BE49-F238E27FC236}">
                <a16:creationId xmlns:a16="http://schemas.microsoft.com/office/drawing/2014/main" id="{A0DB276D-1168-4F15-9F83-70DFC7614F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8800" y="2535398"/>
            <a:ext cx="914400" cy="914400"/>
          </a:xfrm>
          <a:prstGeom prst="rect">
            <a:avLst/>
          </a:prstGeom>
        </p:spPr>
      </p:pic>
      <p:pic>
        <p:nvPicPr>
          <p:cNvPr id="3" name="Picture 2">
            <a:extLst>
              <a:ext uri="{FF2B5EF4-FFF2-40B4-BE49-F238E27FC236}">
                <a16:creationId xmlns:a16="http://schemas.microsoft.com/office/drawing/2014/main" id="{DA7B0864-3528-473C-AD4F-CF42CFC8A5B0}"/>
              </a:ext>
            </a:extLst>
          </p:cNvPr>
          <p:cNvPicPr>
            <a:picLocks noChangeAspect="1"/>
          </p:cNvPicPr>
          <p:nvPr/>
        </p:nvPicPr>
        <p:blipFill rotWithShape="1">
          <a:blip r:embed="rId12"/>
          <a:srcRect r="614" b="3514"/>
          <a:stretch/>
        </p:blipFill>
        <p:spPr>
          <a:xfrm>
            <a:off x="302722" y="3892952"/>
            <a:ext cx="4761647" cy="1874802"/>
          </a:xfrm>
          <a:prstGeom prst="rect">
            <a:avLst/>
          </a:prstGeom>
        </p:spPr>
      </p:pic>
    </p:spTree>
    <p:custDataLst>
      <p:tags r:id="rId1"/>
    </p:custDataLst>
    <p:extLst>
      <p:ext uri="{BB962C8B-B14F-4D97-AF65-F5344CB8AC3E}">
        <p14:creationId xmlns:p14="http://schemas.microsoft.com/office/powerpoint/2010/main" val="2546548404"/>
      </p:ext>
    </p:extLst>
  </p:cSld>
  <p:clrMapOvr>
    <a:masterClrMapping/>
  </p:clrMapOvr>
  <mc:AlternateContent xmlns:mc="http://schemas.openxmlformats.org/markup-compatibility/2006" xmlns:p14="http://schemas.microsoft.com/office/powerpoint/2010/main">
    <mc:Choice Requires="p14">
      <p:transition spd="med" p14:dur="700" advTm="122565">
        <p:fade/>
      </p:transition>
    </mc:Choice>
    <mc:Fallback xmlns="">
      <p:transition spd="med" advTm="1225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1" end="1"/>
                                            </p:txEl>
                                          </p:spTgt>
                                        </p:tgtEl>
                                        <p:attrNameLst>
                                          <p:attrName>style.visibility</p:attrName>
                                        </p:attrNameLst>
                                      </p:cBhvr>
                                      <p:to>
                                        <p:strVal val="visible"/>
                                      </p:to>
                                    </p:set>
                                    <p:animEffect transition="in" filter="fade">
                                      <p:cBhvr>
                                        <p:cTn id="18" dur="5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xEl>
                                              <p:pRg st="2" end="2"/>
                                            </p:txEl>
                                          </p:spTgt>
                                        </p:tgtEl>
                                        <p:attrNameLst>
                                          <p:attrName>style.visibility</p:attrName>
                                        </p:attrNameLst>
                                      </p:cBhvr>
                                      <p:to>
                                        <p:strVal val="visible"/>
                                      </p:to>
                                    </p:set>
                                    <p:animEffect transition="in" filter="fade">
                                      <p:cBhvr>
                                        <p:cTn id="26" dur="500"/>
                                        <p:tgtEl>
                                          <p:spTgt spid="10">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xEl>
                                              <p:pRg st="3" end="3"/>
                                            </p:txEl>
                                          </p:spTgt>
                                        </p:tgtEl>
                                        <p:attrNameLst>
                                          <p:attrName>style.visibility</p:attrName>
                                        </p:attrNameLst>
                                      </p:cBhvr>
                                      <p:to>
                                        <p:strVal val="visible"/>
                                      </p:to>
                                    </p:set>
                                    <p:animEffect transition="in" filter="fade">
                                      <p:cBhvr>
                                        <p:cTn id="34"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8">
            <a:extLst>
              <a:ext uri="{FF2B5EF4-FFF2-40B4-BE49-F238E27FC236}">
                <a16:creationId xmlns:a16="http://schemas.microsoft.com/office/drawing/2014/main" id="{0F0DB2D2-06E8-4570-8BC7-B72F7D06EE40}"/>
              </a:ext>
            </a:extLst>
          </p:cNvPr>
          <p:cNvSpPr txBox="1"/>
          <p:nvPr/>
        </p:nvSpPr>
        <p:spPr>
          <a:xfrm>
            <a:off x="1155034" y="2244060"/>
            <a:ext cx="3547677" cy="2800767"/>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111111"/>
                </a:solidFill>
                <a:effectLst/>
                <a:uLnTx/>
                <a:uFillTx/>
                <a:latin typeface="Arial" panose="020B0604020202020204" pitchFamily="34" charset="0"/>
                <a:ea typeface="Lato Regular" panose="020F0502020204030203" pitchFamily="34" charset="0"/>
                <a:cs typeface="Arial" panose="020B0604020202020204" pitchFamily="34" charset="0"/>
              </a:rPr>
              <a:t>Main Feature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lang="en-US">
                <a:solidFill>
                  <a:prstClr val="black"/>
                </a:solidFill>
                <a:latin typeface="Segoe UI"/>
              </a:rPr>
              <a:t>T</a:t>
            </a:r>
            <a:r>
              <a:rPr kumimoji="0" lang="en-US" sz="1800" b="0" i="0" u="none" strike="noStrike" kern="1200" cap="none" spc="0" normalizeH="0" baseline="0" noProof="0">
                <a:ln>
                  <a:noFill/>
                </a:ln>
                <a:solidFill>
                  <a:prstClr val="black"/>
                </a:solidFill>
                <a:effectLst/>
                <a:uLnTx/>
                <a:uFillTx/>
                <a:latin typeface="Segoe UI"/>
                <a:ea typeface="+mn-ea"/>
                <a:cs typeface="+mn-cs"/>
              </a:rPr>
              <a:t>he ability to interpret, create, and communicate data accurately and effectively.</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Factors that matter:</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current user skillsets</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complexity of the data</a:t>
            </a:r>
          </a:p>
          <a:p>
            <a:pPr marL="628650" marR="0" lvl="1"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required types of analytics</a:t>
            </a:r>
          </a:p>
          <a:p>
            <a:pPr marL="171450" marR="0" lvl="0" indent="-171450" algn="l" defTabSz="342900" rtl="0" eaLnBrk="1" fontAlgn="auto" latinLnBrk="0" hangingPunct="1">
              <a:lnSpc>
                <a:spcPct val="100000"/>
              </a:lnSpc>
              <a:spcBef>
                <a:spcPts val="37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white">
                  <a:lumMod val="75000"/>
                </a:prstClr>
              </a:solidFill>
              <a:effectLst/>
              <a:uLnTx/>
              <a:uFillTx/>
              <a:latin typeface="Arial" panose="020B0604020202020204" pitchFamily="34" charset="0"/>
              <a:ea typeface="Lato" panose="020F0502020204030203" pitchFamily="34" charset="0"/>
              <a:cs typeface="Arial" panose="020B0604020202020204" pitchFamily="34" charset="0"/>
            </a:endParaRPr>
          </a:p>
        </p:txBody>
      </p:sp>
      <p:grpSp>
        <p:nvGrpSpPr>
          <p:cNvPr id="4" name="Group 69">
            <a:extLst>
              <a:ext uri="{FF2B5EF4-FFF2-40B4-BE49-F238E27FC236}">
                <a16:creationId xmlns:a16="http://schemas.microsoft.com/office/drawing/2014/main" id="{19A557F5-462F-4F99-8D4D-2F3E7E8F8604}"/>
              </a:ext>
            </a:extLst>
          </p:cNvPr>
          <p:cNvGrpSpPr/>
          <p:nvPr/>
        </p:nvGrpSpPr>
        <p:grpSpPr>
          <a:xfrm>
            <a:off x="5965617" y="1578873"/>
            <a:ext cx="3778382" cy="607458"/>
            <a:chOff x="15588833" y="3625334"/>
            <a:chExt cx="7556763" cy="1214915"/>
          </a:xfrm>
        </p:grpSpPr>
        <p:sp>
          <p:nvSpPr>
            <p:cNvPr id="5" name="Oval 70">
              <a:extLst>
                <a:ext uri="{FF2B5EF4-FFF2-40B4-BE49-F238E27FC236}">
                  <a16:creationId xmlns:a16="http://schemas.microsoft.com/office/drawing/2014/main" id="{2C5B67C6-4507-4C03-9F11-1933EA35FF0E}"/>
                </a:ext>
              </a:extLst>
            </p:cNvPr>
            <p:cNvSpPr>
              <a:spLocks noChangeAspect="1"/>
            </p:cNvSpPr>
            <p:nvPr/>
          </p:nvSpPr>
          <p:spPr>
            <a:xfrm>
              <a:off x="15588833" y="3625334"/>
              <a:ext cx="1250723" cy="1214915"/>
            </a:xfrm>
            <a:prstGeom prst="ellipse">
              <a:avLst/>
            </a:prstGeom>
            <a:solidFill>
              <a:srgbClr val="8FBF59"/>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 name="Text Placeholder 3">
              <a:extLst>
                <a:ext uri="{FF2B5EF4-FFF2-40B4-BE49-F238E27FC236}">
                  <a16:creationId xmlns:a16="http://schemas.microsoft.com/office/drawing/2014/main" id="{735C9FED-7ED6-442E-A7F9-B3B33A39273A}"/>
                </a:ext>
              </a:extLst>
            </p:cNvPr>
            <p:cNvSpPr txBox="1">
              <a:spLocks/>
            </p:cNvSpPr>
            <p:nvPr/>
          </p:nvSpPr>
          <p:spPr>
            <a:xfrm>
              <a:off x="17140023" y="4124504"/>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Interpreting</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hart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nd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graph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nvGrpSpPr>
            <p:cNvPr id="7" name="Group 72">
              <a:extLst>
                <a:ext uri="{FF2B5EF4-FFF2-40B4-BE49-F238E27FC236}">
                  <a16:creationId xmlns:a16="http://schemas.microsoft.com/office/drawing/2014/main" id="{FCA954D2-5428-4BBF-9055-2DBD9EB0F06E}"/>
                </a:ext>
              </a:extLst>
            </p:cNvPr>
            <p:cNvGrpSpPr/>
            <p:nvPr/>
          </p:nvGrpSpPr>
          <p:grpSpPr>
            <a:xfrm>
              <a:off x="15924310" y="3897035"/>
              <a:ext cx="546100" cy="671513"/>
              <a:chOff x="11245851" y="9561513"/>
              <a:chExt cx="546100" cy="671513"/>
            </a:xfrm>
            <a:solidFill>
              <a:sysClr val="window" lastClr="FFFFFF"/>
            </a:solidFill>
          </p:grpSpPr>
          <p:sp>
            <p:nvSpPr>
              <p:cNvPr id="8" name="Freeform 17">
                <a:extLst>
                  <a:ext uri="{FF2B5EF4-FFF2-40B4-BE49-F238E27FC236}">
                    <a16:creationId xmlns:a16="http://schemas.microsoft.com/office/drawing/2014/main" id="{BF845135-3FFC-40EB-B5D6-F9AD49FA0A31}"/>
                  </a:ext>
                </a:extLst>
              </p:cNvPr>
              <p:cNvSpPr>
                <a:spLocks noEditPoints="1"/>
              </p:cNvSpPr>
              <p:nvPr/>
            </p:nvSpPr>
            <p:spPr bwMode="auto">
              <a:xfrm>
                <a:off x="11377613" y="10113963"/>
                <a:ext cx="73025" cy="71438"/>
              </a:xfrm>
              <a:custGeom>
                <a:avLst/>
                <a:gdLst>
                  <a:gd name="T0" fmla="*/ 9 w 19"/>
                  <a:gd name="T1" fmla="*/ 0 h 19"/>
                  <a:gd name="T2" fmla="*/ 3 w 19"/>
                  <a:gd name="T3" fmla="*/ 3 h 19"/>
                  <a:gd name="T4" fmla="*/ 0 w 19"/>
                  <a:gd name="T5" fmla="*/ 10 h 19"/>
                  <a:gd name="T6" fmla="*/ 9 w 19"/>
                  <a:gd name="T7" fmla="*/ 19 h 19"/>
                  <a:gd name="T8" fmla="*/ 19 w 19"/>
                  <a:gd name="T9" fmla="*/ 10 h 19"/>
                  <a:gd name="T10" fmla="*/ 9 w 19"/>
                  <a:gd name="T11" fmla="*/ 0 h 19"/>
                  <a:gd name="T12" fmla="*/ 7 w 19"/>
                  <a:gd name="T13" fmla="*/ 10 h 19"/>
                  <a:gd name="T14" fmla="*/ 8 w 19"/>
                  <a:gd name="T15" fmla="*/ 8 h 19"/>
                  <a:gd name="T16" fmla="*/ 9 w 19"/>
                  <a:gd name="T17" fmla="*/ 8 h 19"/>
                  <a:gd name="T18" fmla="*/ 11 w 19"/>
                  <a:gd name="T19" fmla="*/ 10 h 19"/>
                  <a:gd name="T20" fmla="*/ 7 w 19"/>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9" y="0"/>
                    </a:moveTo>
                    <a:cubicBezTo>
                      <a:pt x="7" y="0"/>
                      <a:pt x="4" y="1"/>
                      <a:pt x="3" y="3"/>
                    </a:cubicBezTo>
                    <a:cubicBezTo>
                      <a:pt x="1" y="5"/>
                      <a:pt x="0" y="7"/>
                      <a:pt x="0" y="10"/>
                    </a:cubicBezTo>
                    <a:cubicBezTo>
                      <a:pt x="0" y="15"/>
                      <a:pt x="4" y="19"/>
                      <a:pt x="9" y="19"/>
                    </a:cubicBezTo>
                    <a:cubicBezTo>
                      <a:pt x="14" y="19"/>
                      <a:pt x="19" y="15"/>
                      <a:pt x="19" y="10"/>
                    </a:cubicBezTo>
                    <a:cubicBezTo>
                      <a:pt x="19" y="5"/>
                      <a:pt x="14" y="0"/>
                      <a:pt x="9" y="0"/>
                    </a:cubicBezTo>
                    <a:close/>
                    <a:moveTo>
                      <a:pt x="7" y="10"/>
                    </a:moveTo>
                    <a:cubicBezTo>
                      <a:pt x="7" y="9"/>
                      <a:pt x="8" y="9"/>
                      <a:pt x="8" y="8"/>
                    </a:cubicBezTo>
                    <a:cubicBezTo>
                      <a:pt x="8" y="8"/>
                      <a:pt x="9" y="8"/>
                      <a:pt x="9" y="8"/>
                    </a:cubicBezTo>
                    <a:cubicBezTo>
                      <a:pt x="10" y="8"/>
                      <a:pt x="11" y="9"/>
                      <a:pt x="11" y="10"/>
                    </a:cubicBezTo>
                    <a:cubicBezTo>
                      <a:pt x="11" y="12"/>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Freeform 18">
                <a:extLst>
                  <a:ext uri="{FF2B5EF4-FFF2-40B4-BE49-F238E27FC236}">
                    <a16:creationId xmlns:a16="http://schemas.microsoft.com/office/drawing/2014/main" id="{D32D7088-FD51-4610-A8AA-985980A70E96}"/>
                  </a:ext>
                </a:extLst>
              </p:cNvPr>
              <p:cNvSpPr>
                <a:spLocks noEditPoints="1"/>
              </p:cNvSpPr>
              <p:nvPr/>
            </p:nvSpPr>
            <p:spPr bwMode="auto">
              <a:xfrm>
                <a:off x="11245851" y="9566275"/>
                <a:ext cx="331788" cy="666750"/>
              </a:xfrm>
              <a:custGeom>
                <a:avLst/>
                <a:gdLst>
                  <a:gd name="T0" fmla="*/ 68 w 88"/>
                  <a:gd name="T1" fmla="*/ 1 h 178"/>
                  <a:gd name="T2" fmla="*/ 64 w 88"/>
                  <a:gd name="T3" fmla="*/ 1 h 178"/>
                  <a:gd name="T4" fmla="*/ 63 w 88"/>
                  <a:gd name="T5" fmla="*/ 4 h 178"/>
                  <a:gd name="T6" fmla="*/ 63 w 88"/>
                  <a:gd name="T7" fmla="*/ 29 h 178"/>
                  <a:gd name="T8" fmla="*/ 54 w 88"/>
                  <a:gd name="T9" fmla="*/ 42 h 178"/>
                  <a:gd name="T10" fmla="*/ 34 w 88"/>
                  <a:gd name="T11" fmla="*/ 42 h 178"/>
                  <a:gd name="T12" fmla="*/ 25 w 88"/>
                  <a:gd name="T13" fmla="*/ 29 h 178"/>
                  <a:gd name="T14" fmla="*/ 25 w 88"/>
                  <a:gd name="T15" fmla="*/ 4 h 178"/>
                  <a:gd name="T16" fmla="*/ 23 w 88"/>
                  <a:gd name="T17" fmla="*/ 1 h 178"/>
                  <a:gd name="T18" fmla="*/ 20 w 88"/>
                  <a:gd name="T19" fmla="*/ 1 h 178"/>
                  <a:gd name="T20" fmla="*/ 0 w 88"/>
                  <a:gd name="T21" fmla="*/ 37 h 178"/>
                  <a:gd name="T22" fmla="*/ 24 w 88"/>
                  <a:gd name="T23" fmla="*/ 72 h 178"/>
                  <a:gd name="T24" fmla="*/ 19 w 88"/>
                  <a:gd name="T25" fmla="*/ 153 h 178"/>
                  <a:gd name="T26" fmla="*/ 44 w 88"/>
                  <a:gd name="T27" fmla="*/ 178 h 178"/>
                  <a:gd name="T28" fmla="*/ 69 w 88"/>
                  <a:gd name="T29" fmla="*/ 153 h 178"/>
                  <a:gd name="T30" fmla="*/ 63 w 88"/>
                  <a:gd name="T31" fmla="*/ 72 h 178"/>
                  <a:gd name="T32" fmla="*/ 88 w 88"/>
                  <a:gd name="T33" fmla="*/ 37 h 178"/>
                  <a:gd name="T34" fmla="*/ 68 w 88"/>
                  <a:gd name="T35" fmla="*/ 1 h 178"/>
                  <a:gd name="T36" fmla="*/ 58 w 88"/>
                  <a:gd name="T37" fmla="*/ 67 h 178"/>
                  <a:gd name="T38" fmla="*/ 56 w 88"/>
                  <a:gd name="T39" fmla="*/ 70 h 178"/>
                  <a:gd name="T40" fmla="*/ 62 w 88"/>
                  <a:gd name="T41" fmla="*/ 153 h 178"/>
                  <a:gd name="T42" fmla="*/ 44 w 88"/>
                  <a:gd name="T43" fmla="*/ 170 h 178"/>
                  <a:gd name="T44" fmla="*/ 26 w 88"/>
                  <a:gd name="T45" fmla="*/ 153 h 178"/>
                  <a:gd name="T46" fmla="*/ 32 w 88"/>
                  <a:gd name="T47" fmla="*/ 70 h 178"/>
                  <a:gd name="T48" fmla="*/ 30 w 88"/>
                  <a:gd name="T49" fmla="*/ 67 h 178"/>
                  <a:gd name="T50" fmla="*/ 8 w 88"/>
                  <a:gd name="T51" fmla="*/ 37 h 178"/>
                  <a:gd name="T52" fmla="*/ 18 w 88"/>
                  <a:gd name="T53" fmla="*/ 12 h 178"/>
                  <a:gd name="T54" fmla="*/ 18 w 88"/>
                  <a:gd name="T55" fmla="*/ 30 h 178"/>
                  <a:gd name="T56" fmla="*/ 19 w 88"/>
                  <a:gd name="T57" fmla="*/ 32 h 178"/>
                  <a:gd name="T58" fmla="*/ 29 w 88"/>
                  <a:gd name="T59" fmla="*/ 48 h 178"/>
                  <a:gd name="T60" fmla="*/ 32 w 88"/>
                  <a:gd name="T61" fmla="*/ 50 h 178"/>
                  <a:gd name="T62" fmla="*/ 56 w 88"/>
                  <a:gd name="T63" fmla="*/ 50 h 178"/>
                  <a:gd name="T64" fmla="*/ 59 w 88"/>
                  <a:gd name="T65" fmla="*/ 48 h 178"/>
                  <a:gd name="T66" fmla="*/ 69 w 88"/>
                  <a:gd name="T67" fmla="*/ 32 h 178"/>
                  <a:gd name="T68" fmla="*/ 70 w 88"/>
                  <a:gd name="T69" fmla="*/ 30 h 178"/>
                  <a:gd name="T70" fmla="*/ 70 w 88"/>
                  <a:gd name="T71" fmla="*/ 12 h 178"/>
                  <a:gd name="T72" fmla="*/ 80 w 88"/>
                  <a:gd name="T73" fmla="*/ 37 h 178"/>
                  <a:gd name="T74" fmla="*/ 58 w 88"/>
                  <a:gd name="T75"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78">
                    <a:moveTo>
                      <a:pt x="68" y="1"/>
                    </a:moveTo>
                    <a:cubicBezTo>
                      <a:pt x="67" y="0"/>
                      <a:pt x="66" y="0"/>
                      <a:pt x="64" y="1"/>
                    </a:cubicBezTo>
                    <a:cubicBezTo>
                      <a:pt x="63" y="2"/>
                      <a:pt x="63" y="3"/>
                      <a:pt x="63" y="4"/>
                    </a:cubicBezTo>
                    <a:cubicBezTo>
                      <a:pt x="63" y="29"/>
                      <a:pt x="63" y="29"/>
                      <a:pt x="63" y="29"/>
                    </a:cubicBezTo>
                    <a:cubicBezTo>
                      <a:pt x="54" y="42"/>
                      <a:pt x="54" y="42"/>
                      <a:pt x="54" y="42"/>
                    </a:cubicBezTo>
                    <a:cubicBezTo>
                      <a:pt x="34" y="42"/>
                      <a:pt x="34" y="42"/>
                      <a:pt x="34" y="42"/>
                    </a:cubicBezTo>
                    <a:cubicBezTo>
                      <a:pt x="25" y="29"/>
                      <a:pt x="25" y="29"/>
                      <a:pt x="25" y="29"/>
                    </a:cubicBezTo>
                    <a:cubicBezTo>
                      <a:pt x="25" y="4"/>
                      <a:pt x="25" y="4"/>
                      <a:pt x="25" y="4"/>
                    </a:cubicBezTo>
                    <a:cubicBezTo>
                      <a:pt x="25" y="3"/>
                      <a:pt x="25" y="2"/>
                      <a:pt x="23" y="1"/>
                    </a:cubicBezTo>
                    <a:cubicBezTo>
                      <a:pt x="22" y="0"/>
                      <a:pt x="21" y="0"/>
                      <a:pt x="20" y="1"/>
                    </a:cubicBezTo>
                    <a:cubicBezTo>
                      <a:pt x="7" y="9"/>
                      <a:pt x="0" y="23"/>
                      <a:pt x="0" y="37"/>
                    </a:cubicBezTo>
                    <a:cubicBezTo>
                      <a:pt x="0" y="54"/>
                      <a:pt x="17" y="67"/>
                      <a:pt x="24" y="72"/>
                    </a:cubicBezTo>
                    <a:cubicBezTo>
                      <a:pt x="19" y="153"/>
                      <a:pt x="19" y="153"/>
                      <a:pt x="19" y="153"/>
                    </a:cubicBezTo>
                    <a:cubicBezTo>
                      <a:pt x="19" y="167"/>
                      <a:pt x="30" y="178"/>
                      <a:pt x="44" y="178"/>
                    </a:cubicBezTo>
                    <a:cubicBezTo>
                      <a:pt x="58" y="178"/>
                      <a:pt x="69" y="167"/>
                      <a:pt x="69" y="153"/>
                    </a:cubicBezTo>
                    <a:cubicBezTo>
                      <a:pt x="63" y="72"/>
                      <a:pt x="63" y="72"/>
                      <a:pt x="63" y="72"/>
                    </a:cubicBezTo>
                    <a:cubicBezTo>
                      <a:pt x="71" y="67"/>
                      <a:pt x="88" y="54"/>
                      <a:pt x="88" y="37"/>
                    </a:cubicBezTo>
                    <a:cubicBezTo>
                      <a:pt x="88" y="23"/>
                      <a:pt x="81" y="9"/>
                      <a:pt x="68" y="1"/>
                    </a:cubicBezTo>
                    <a:close/>
                    <a:moveTo>
                      <a:pt x="58" y="67"/>
                    </a:moveTo>
                    <a:cubicBezTo>
                      <a:pt x="56" y="68"/>
                      <a:pt x="56" y="69"/>
                      <a:pt x="56" y="70"/>
                    </a:cubicBezTo>
                    <a:cubicBezTo>
                      <a:pt x="62" y="153"/>
                      <a:pt x="62" y="153"/>
                      <a:pt x="62" y="153"/>
                    </a:cubicBezTo>
                    <a:cubicBezTo>
                      <a:pt x="62" y="163"/>
                      <a:pt x="54" y="170"/>
                      <a:pt x="44" y="170"/>
                    </a:cubicBezTo>
                    <a:cubicBezTo>
                      <a:pt x="34" y="170"/>
                      <a:pt x="26" y="163"/>
                      <a:pt x="26" y="153"/>
                    </a:cubicBezTo>
                    <a:cubicBezTo>
                      <a:pt x="32" y="70"/>
                      <a:pt x="32" y="70"/>
                      <a:pt x="32" y="70"/>
                    </a:cubicBezTo>
                    <a:cubicBezTo>
                      <a:pt x="32" y="69"/>
                      <a:pt x="31" y="68"/>
                      <a:pt x="30" y="67"/>
                    </a:cubicBezTo>
                    <a:cubicBezTo>
                      <a:pt x="25" y="64"/>
                      <a:pt x="8" y="52"/>
                      <a:pt x="8" y="37"/>
                    </a:cubicBezTo>
                    <a:cubicBezTo>
                      <a:pt x="8" y="28"/>
                      <a:pt x="11" y="19"/>
                      <a:pt x="18" y="12"/>
                    </a:cubicBezTo>
                    <a:cubicBezTo>
                      <a:pt x="18" y="30"/>
                      <a:pt x="18" y="30"/>
                      <a:pt x="18" y="30"/>
                    </a:cubicBezTo>
                    <a:cubicBezTo>
                      <a:pt x="18" y="31"/>
                      <a:pt x="18" y="31"/>
                      <a:pt x="19" y="32"/>
                    </a:cubicBezTo>
                    <a:cubicBezTo>
                      <a:pt x="29" y="48"/>
                      <a:pt x="29" y="48"/>
                      <a:pt x="29" y="48"/>
                    </a:cubicBezTo>
                    <a:cubicBezTo>
                      <a:pt x="30" y="49"/>
                      <a:pt x="31" y="50"/>
                      <a:pt x="32" y="50"/>
                    </a:cubicBezTo>
                    <a:cubicBezTo>
                      <a:pt x="56" y="50"/>
                      <a:pt x="56" y="50"/>
                      <a:pt x="56" y="50"/>
                    </a:cubicBezTo>
                    <a:cubicBezTo>
                      <a:pt x="57" y="50"/>
                      <a:pt x="58" y="49"/>
                      <a:pt x="59" y="48"/>
                    </a:cubicBezTo>
                    <a:cubicBezTo>
                      <a:pt x="69" y="32"/>
                      <a:pt x="69" y="32"/>
                      <a:pt x="69" y="32"/>
                    </a:cubicBezTo>
                    <a:cubicBezTo>
                      <a:pt x="70" y="31"/>
                      <a:pt x="70" y="31"/>
                      <a:pt x="70" y="30"/>
                    </a:cubicBezTo>
                    <a:cubicBezTo>
                      <a:pt x="70" y="12"/>
                      <a:pt x="70" y="12"/>
                      <a:pt x="70" y="12"/>
                    </a:cubicBezTo>
                    <a:cubicBezTo>
                      <a:pt x="77" y="19"/>
                      <a:pt x="80" y="28"/>
                      <a:pt x="80" y="37"/>
                    </a:cubicBezTo>
                    <a:cubicBezTo>
                      <a:pt x="80" y="52"/>
                      <a:pt x="63" y="64"/>
                      <a:pt x="5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Freeform 19">
                <a:extLst>
                  <a:ext uri="{FF2B5EF4-FFF2-40B4-BE49-F238E27FC236}">
                    <a16:creationId xmlns:a16="http://schemas.microsoft.com/office/drawing/2014/main" id="{B1725417-2CCE-4F87-AD8E-4A326646A5A0}"/>
                  </a:ext>
                </a:extLst>
              </p:cNvPr>
              <p:cNvSpPr>
                <a:spLocks noEditPoints="1"/>
              </p:cNvSpPr>
              <p:nvPr/>
            </p:nvSpPr>
            <p:spPr bwMode="auto">
              <a:xfrm>
                <a:off x="11596688" y="9561513"/>
                <a:ext cx="195263" cy="671513"/>
              </a:xfrm>
              <a:custGeom>
                <a:avLst/>
                <a:gdLst>
                  <a:gd name="T0" fmla="*/ 50 w 52"/>
                  <a:gd name="T1" fmla="*/ 100 h 179"/>
                  <a:gd name="T2" fmla="*/ 52 w 52"/>
                  <a:gd name="T3" fmla="*/ 97 h 179"/>
                  <a:gd name="T4" fmla="*/ 52 w 52"/>
                  <a:gd name="T5" fmla="*/ 81 h 179"/>
                  <a:gd name="T6" fmla="*/ 49 w 52"/>
                  <a:gd name="T7" fmla="*/ 78 h 179"/>
                  <a:gd name="T8" fmla="*/ 30 w 52"/>
                  <a:gd name="T9" fmla="*/ 78 h 179"/>
                  <a:gd name="T10" fmla="*/ 30 w 52"/>
                  <a:gd name="T11" fmla="*/ 27 h 179"/>
                  <a:gd name="T12" fmla="*/ 31 w 52"/>
                  <a:gd name="T13" fmla="*/ 27 h 179"/>
                  <a:gd name="T14" fmla="*/ 34 w 52"/>
                  <a:gd name="T15" fmla="*/ 25 h 179"/>
                  <a:gd name="T16" fmla="*/ 38 w 52"/>
                  <a:gd name="T17" fmla="*/ 14 h 179"/>
                  <a:gd name="T18" fmla="*/ 37 w 52"/>
                  <a:gd name="T19" fmla="*/ 11 h 179"/>
                  <a:gd name="T20" fmla="*/ 34 w 52"/>
                  <a:gd name="T21" fmla="*/ 3 h 179"/>
                  <a:gd name="T22" fmla="*/ 31 w 52"/>
                  <a:gd name="T23" fmla="*/ 0 h 179"/>
                  <a:gd name="T24" fmla="*/ 22 w 52"/>
                  <a:gd name="T25" fmla="*/ 0 h 179"/>
                  <a:gd name="T26" fmla="*/ 18 w 52"/>
                  <a:gd name="T27" fmla="*/ 3 h 179"/>
                  <a:gd name="T28" fmla="*/ 15 w 52"/>
                  <a:gd name="T29" fmla="*/ 11 h 179"/>
                  <a:gd name="T30" fmla="*/ 14 w 52"/>
                  <a:gd name="T31" fmla="*/ 14 h 179"/>
                  <a:gd name="T32" fmla="*/ 18 w 52"/>
                  <a:gd name="T33" fmla="*/ 25 h 179"/>
                  <a:gd name="T34" fmla="*/ 22 w 52"/>
                  <a:gd name="T35" fmla="*/ 27 h 179"/>
                  <a:gd name="T36" fmla="*/ 22 w 52"/>
                  <a:gd name="T37" fmla="*/ 27 h 179"/>
                  <a:gd name="T38" fmla="*/ 22 w 52"/>
                  <a:gd name="T39" fmla="*/ 78 h 179"/>
                  <a:gd name="T40" fmla="*/ 3 w 52"/>
                  <a:gd name="T41" fmla="*/ 78 h 179"/>
                  <a:gd name="T42" fmla="*/ 0 w 52"/>
                  <a:gd name="T43" fmla="*/ 81 h 179"/>
                  <a:gd name="T44" fmla="*/ 0 w 52"/>
                  <a:gd name="T45" fmla="*/ 97 h 179"/>
                  <a:gd name="T46" fmla="*/ 2 w 52"/>
                  <a:gd name="T47" fmla="*/ 100 h 179"/>
                  <a:gd name="T48" fmla="*/ 6 w 52"/>
                  <a:gd name="T49" fmla="*/ 106 h 179"/>
                  <a:gd name="T50" fmla="*/ 2 w 52"/>
                  <a:gd name="T51" fmla="*/ 112 h 179"/>
                  <a:gd name="T52" fmla="*/ 0 w 52"/>
                  <a:gd name="T53" fmla="*/ 115 h 179"/>
                  <a:gd name="T54" fmla="*/ 0 w 52"/>
                  <a:gd name="T55" fmla="*/ 157 h 179"/>
                  <a:gd name="T56" fmla="*/ 26 w 52"/>
                  <a:gd name="T57" fmla="*/ 179 h 179"/>
                  <a:gd name="T58" fmla="*/ 52 w 52"/>
                  <a:gd name="T59" fmla="*/ 157 h 179"/>
                  <a:gd name="T60" fmla="*/ 52 w 52"/>
                  <a:gd name="T61" fmla="*/ 115 h 179"/>
                  <a:gd name="T62" fmla="*/ 50 w 52"/>
                  <a:gd name="T63" fmla="*/ 112 h 179"/>
                  <a:gd name="T64" fmla="*/ 46 w 52"/>
                  <a:gd name="T65" fmla="*/ 106 h 179"/>
                  <a:gd name="T66" fmla="*/ 50 w 52"/>
                  <a:gd name="T67" fmla="*/ 100 h 179"/>
                  <a:gd name="T68" fmla="*/ 24 w 52"/>
                  <a:gd name="T69" fmla="*/ 8 h 179"/>
                  <a:gd name="T70" fmla="*/ 28 w 52"/>
                  <a:gd name="T71" fmla="*/ 8 h 179"/>
                  <a:gd name="T72" fmla="*/ 30 w 52"/>
                  <a:gd name="T73" fmla="*/ 13 h 179"/>
                  <a:gd name="T74" fmla="*/ 28 w 52"/>
                  <a:gd name="T75" fmla="*/ 20 h 179"/>
                  <a:gd name="T76" fmla="*/ 24 w 52"/>
                  <a:gd name="T77" fmla="*/ 20 h 179"/>
                  <a:gd name="T78" fmla="*/ 22 w 52"/>
                  <a:gd name="T79" fmla="*/ 13 h 179"/>
                  <a:gd name="T80" fmla="*/ 24 w 52"/>
                  <a:gd name="T81" fmla="*/ 8 h 179"/>
                  <a:gd name="T82" fmla="*/ 45 w 52"/>
                  <a:gd name="T83" fmla="*/ 95 h 179"/>
                  <a:gd name="T84" fmla="*/ 38 w 52"/>
                  <a:gd name="T85" fmla="*/ 106 h 179"/>
                  <a:gd name="T86" fmla="*/ 45 w 52"/>
                  <a:gd name="T87" fmla="*/ 117 h 179"/>
                  <a:gd name="T88" fmla="*/ 45 w 52"/>
                  <a:gd name="T89" fmla="*/ 157 h 179"/>
                  <a:gd name="T90" fmla="*/ 26 w 52"/>
                  <a:gd name="T91" fmla="*/ 172 h 179"/>
                  <a:gd name="T92" fmla="*/ 7 w 52"/>
                  <a:gd name="T93" fmla="*/ 157 h 179"/>
                  <a:gd name="T94" fmla="*/ 7 w 52"/>
                  <a:gd name="T95" fmla="*/ 117 h 179"/>
                  <a:gd name="T96" fmla="*/ 14 w 52"/>
                  <a:gd name="T97" fmla="*/ 106 h 179"/>
                  <a:gd name="T98" fmla="*/ 7 w 52"/>
                  <a:gd name="T99" fmla="*/ 95 h 179"/>
                  <a:gd name="T100" fmla="*/ 7 w 52"/>
                  <a:gd name="T101" fmla="*/ 85 h 179"/>
                  <a:gd name="T102" fmla="*/ 45 w 52"/>
                  <a:gd name="T103" fmla="*/ 85 h 179"/>
                  <a:gd name="T104" fmla="*/ 45 w 52"/>
                  <a:gd name="T105"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 h="179">
                    <a:moveTo>
                      <a:pt x="50" y="100"/>
                    </a:moveTo>
                    <a:cubicBezTo>
                      <a:pt x="52" y="100"/>
                      <a:pt x="52" y="98"/>
                      <a:pt x="52" y="97"/>
                    </a:cubicBezTo>
                    <a:cubicBezTo>
                      <a:pt x="52" y="81"/>
                      <a:pt x="52" y="81"/>
                      <a:pt x="52" y="81"/>
                    </a:cubicBezTo>
                    <a:cubicBezTo>
                      <a:pt x="52" y="79"/>
                      <a:pt x="51" y="78"/>
                      <a:pt x="49" y="78"/>
                    </a:cubicBezTo>
                    <a:cubicBezTo>
                      <a:pt x="30" y="78"/>
                      <a:pt x="30" y="78"/>
                      <a:pt x="30" y="78"/>
                    </a:cubicBezTo>
                    <a:cubicBezTo>
                      <a:pt x="30" y="27"/>
                      <a:pt x="30" y="27"/>
                      <a:pt x="30" y="27"/>
                    </a:cubicBezTo>
                    <a:cubicBezTo>
                      <a:pt x="31" y="27"/>
                      <a:pt x="31" y="27"/>
                      <a:pt x="31" y="27"/>
                    </a:cubicBezTo>
                    <a:cubicBezTo>
                      <a:pt x="32" y="27"/>
                      <a:pt x="34" y="26"/>
                      <a:pt x="34" y="25"/>
                    </a:cubicBezTo>
                    <a:cubicBezTo>
                      <a:pt x="38" y="14"/>
                      <a:pt x="38" y="14"/>
                      <a:pt x="38" y="14"/>
                    </a:cubicBezTo>
                    <a:cubicBezTo>
                      <a:pt x="38" y="13"/>
                      <a:pt x="38" y="12"/>
                      <a:pt x="37" y="11"/>
                    </a:cubicBezTo>
                    <a:cubicBezTo>
                      <a:pt x="34" y="3"/>
                      <a:pt x="34" y="3"/>
                      <a:pt x="34" y="3"/>
                    </a:cubicBezTo>
                    <a:cubicBezTo>
                      <a:pt x="33" y="1"/>
                      <a:pt x="32" y="0"/>
                      <a:pt x="31" y="0"/>
                    </a:cubicBezTo>
                    <a:cubicBezTo>
                      <a:pt x="22" y="0"/>
                      <a:pt x="22" y="0"/>
                      <a:pt x="22" y="0"/>
                    </a:cubicBezTo>
                    <a:cubicBezTo>
                      <a:pt x="20" y="0"/>
                      <a:pt x="19" y="1"/>
                      <a:pt x="18" y="3"/>
                    </a:cubicBezTo>
                    <a:cubicBezTo>
                      <a:pt x="15" y="11"/>
                      <a:pt x="15" y="11"/>
                      <a:pt x="15" y="11"/>
                    </a:cubicBezTo>
                    <a:cubicBezTo>
                      <a:pt x="14" y="12"/>
                      <a:pt x="14" y="13"/>
                      <a:pt x="14" y="14"/>
                    </a:cubicBezTo>
                    <a:cubicBezTo>
                      <a:pt x="18" y="25"/>
                      <a:pt x="18" y="25"/>
                      <a:pt x="18" y="25"/>
                    </a:cubicBezTo>
                    <a:cubicBezTo>
                      <a:pt x="18" y="26"/>
                      <a:pt x="20" y="27"/>
                      <a:pt x="22" y="27"/>
                    </a:cubicBezTo>
                    <a:cubicBezTo>
                      <a:pt x="22" y="27"/>
                      <a:pt x="22" y="27"/>
                      <a:pt x="22" y="27"/>
                    </a:cubicBezTo>
                    <a:cubicBezTo>
                      <a:pt x="22" y="78"/>
                      <a:pt x="22" y="78"/>
                      <a:pt x="22" y="78"/>
                    </a:cubicBezTo>
                    <a:cubicBezTo>
                      <a:pt x="3" y="78"/>
                      <a:pt x="3" y="78"/>
                      <a:pt x="3" y="78"/>
                    </a:cubicBezTo>
                    <a:cubicBezTo>
                      <a:pt x="1" y="78"/>
                      <a:pt x="0" y="79"/>
                      <a:pt x="0" y="81"/>
                    </a:cubicBezTo>
                    <a:cubicBezTo>
                      <a:pt x="0" y="97"/>
                      <a:pt x="0" y="97"/>
                      <a:pt x="0" y="97"/>
                    </a:cubicBezTo>
                    <a:cubicBezTo>
                      <a:pt x="0" y="98"/>
                      <a:pt x="0" y="100"/>
                      <a:pt x="2" y="100"/>
                    </a:cubicBezTo>
                    <a:cubicBezTo>
                      <a:pt x="4" y="101"/>
                      <a:pt x="6" y="104"/>
                      <a:pt x="6" y="106"/>
                    </a:cubicBezTo>
                    <a:cubicBezTo>
                      <a:pt x="6" y="108"/>
                      <a:pt x="4" y="110"/>
                      <a:pt x="2" y="112"/>
                    </a:cubicBezTo>
                    <a:cubicBezTo>
                      <a:pt x="0" y="112"/>
                      <a:pt x="0" y="114"/>
                      <a:pt x="0" y="115"/>
                    </a:cubicBezTo>
                    <a:cubicBezTo>
                      <a:pt x="0" y="157"/>
                      <a:pt x="0" y="157"/>
                      <a:pt x="0" y="157"/>
                    </a:cubicBezTo>
                    <a:cubicBezTo>
                      <a:pt x="0" y="169"/>
                      <a:pt x="11" y="179"/>
                      <a:pt x="26" y="179"/>
                    </a:cubicBezTo>
                    <a:cubicBezTo>
                      <a:pt x="41" y="179"/>
                      <a:pt x="52" y="169"/>
                      <a:pt x="52" y="157"/>
                    </a:cubicBezTo>
                    <a:cubicBezTo>
                      <a:pt x="52" y="115"/>
                      <a:pt x="52" y="115"/>
                      <a:pt x="52" y="115"/>
                    </a:cubicBezTo>
                    <a:cubicBezTo>
                      <a:pt x="52" y="114"/>
                      <a:pt x="52" y="112"/>
                      <a:pt x="50" y="112"/>
                    </a:cubicBezTo>
                    <a:cubicBezTo>
                      <a:pt x="48" y="110"/>
                      <a:pt x="46" y="108"/>
                      <a:pt x="46" y="106"/>
                    </a:cubicBezTo>
                    <a:cubicBezTo>
                      <a:pt x="46" y="104"/>
                      <a:pt x="48" y="101"/>
                      <a:pt x="50" y="100"/>
                    </a:cubicBezTo>
                    <a:close/>
                    <a:moveTo>
                      <a:pt x="24" y="8"/>
                    </a:moveTo>
                    <a:cubicBezTo>
                      <a:pt x="28" y="8"/>
                      <a:pt x="28" y="8"/>
                      <a:pt x="28" y="8"/>
                    </a:cubicBezTo>
                    <a:cubicBezTo>
                      <a:pt x="30" y="13"/>
                      <a:pt x="30" y="13"/>
                      <a:pt x="30" y="13"/>
                    </a:cubicBezTo>
                    <a:cubicBezTo>
                      <a:pt x="28" y="20"/>
                      <a:pt x="28" y="20"/>
                      <a:pt x="28" y="20"/>
                    </a:cubicBezTo>
                    <a:cubicBezTo>
                      <a:pt x="24" y="20"/>
                      <a:pt x="24" y="20"/>
                      <a:pt x="24" y="20"/>
                    </a:cubicBezTo>
                    <a:cubicBezTo>
                      <a:pt x="22" y="13"/>
                      <a:pt x="22" y="13"/>
                      <a:pt x="22" y="13"/>
                    </a:cubicBezTo>
                    <a:lnTo>
                      <a:pt x="24" y="8"/>
                    </a:lnTo>
                    <a:close/>
                    <a:moveTo>
                      <a:pt x="45" y="95"/>
                    </a:moveTo>
                    <a:cubicBezTo>
                      <a:pt x="41" y="97"/>
                      <a:pt x="38" y="101"/>
                      <a:pt x="38" y="106"/>
                    </a:cubicBezTo>
                    <a:cubicBezTo>
                      <a:pt x="38" y="110"/>
                      <a:pt x="41" y="115"/>
                      <a:pt x="45" y="117"/>
                    </a:cubicBezTo>
                    <a:cubicBezTo>
                      <a:pt x="45" y="157"/>
                      <a:pt x="45" y="157"/>
                      <a:pt x="45" y="157"/>
                    </a:cubicBezTo>
                    <a:cubicBezTo>
                      <a:pt x="45" y="165"/>
                      <a:pt x="36" y="172"/>
                      <a:pt x="26" y="172"/>
                    </a:cubicBezTo>
                    <a:cubicBezTo>
                      <a:pt x="16" y="172"/>
                      <a:pt x="7" y="165"/>
                      <a:pt x="7" y="157"/>
                    </a:cubicBezTo>
                    <a:cubicBezTo>
                      <a:pt x="7" y="117"/>
                      <a:pt x="7" y="117"/>
                      <a:pt x="7" y="117"/>
                    </a:cubicBezTo>
                    <a:cubicBezTo>
                      <a:pt x="11" y="115"/>
                      <a:pt x="14" y="110"/>
                      <a:pt x="14" y="106"/>
                    </a:cubicBezTo>
                    <a:cubicBezTo>
                      <a:pt x="14" y="101"/>
                      <a:pt x="11" y="97"/>
                      <a:pt x="7" y="95"/>
                    </a:cubicBezTo>
                    <a:cubicBezTo>
                      <a:pt x="7" y="85"/>
                      <a:pt x="7" y="85"/>
                      <a:pt x="7" y="85"/>
                    </a:cubicBezTo>
                    <a:cubicBezTo>
                      <a:pt x="45" y="85"/>
                      <a:pt x="45" y="85"/>
                      <a:pt x="45" y="85"/>
                    </a:cubicBezTo>
                    <a:lnTo>
                      <a:pt x="45"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Freeform 20">
                <a:extLst>
                  <a:ext uri="{FF2B5EF4-FFF2-40B4-BE49-F238E27FC236}">
                    <a16:creationId xmlns:a16="http://schemas.microsoft.com/office/drawing/2014/main" id="{26A22DC5-9B99-44C3-AA62-85A4874C6CC2}"/>
                  </a:ext>
                </a:extLst>
              </p:cNvPr>
              <p:cNvSpPr>
                <a:spLocks/>
              </p:cNvSpPr>
              <p:nvPr/>
            </p:nvSpPr>
            <p:spPr bwMode="auto">
              <a:xfrm>
                <a:off x="11679238" y="10004425"/>
                <a:ext cx="30163" cy="158750"/>
              </a:xfrm>
              <a:custGeom>
                <a:avLst/>
                <a:gdLst>
                  <a:gd name="T0" fmla="*/ 0 w 8"/>
                  <a:gd name="T1" fmla="*/ 4 h 42"/>
                  <a:gd name="T2" fmla="*/ 0 w 8"/>
                  <a:gd name="T3" fmla="*/ 39 h 42"/>
                  <a:gd name="T4" fmla="*/ 4 w 8"/>
                  <a:gd name="T5" fmla="*/ 42 h 42"/>
                  <a:gd name="T6" fmla="*/ 8 w 8"/>
                  <a:gd name="T7" fmla="*/ 39 h 42"/>
                  <a:gd name="T8" fmla="*/ 8 w 8"/>
                  <a:gd name="T9" fmla="*/ 4 h 42"/>
                  <a:gd name="T10" fmla="*/ 4 w 8"/>
                  <a:gd name="T11" fmla="*/ 0 h 42"/>
                  <a:gd name="T12" fmla="*/ 0 w 8"/>
                  <a:gd name="T13" fmla="*/ 4 h 42"/>
                </a:gdLst>
                <a:ahLst/>
                <a:cxnLst>
                  <a:cxn ang="0">
                    <a:pos x="T0" y="T1"/>
                  </a:cxn>
                  <a:cxn ang="0">
                    <a:pos x="T2" y="T3"/>
                  </a:cxn>
                  <a:cxn ang="0">
                    <a:pos x="T4" y="T5"/>
                  </a:cxn>
                  <a:cxn ang="0">
                    <a:pos x="T6" y="T7"/>
                  </a:cxn>
                  <a:cxn ang="0">
                    <a:pos x="T8" y="T9"/>
                  </a:cxn>
                  <a:cxn ang="0">
                    <a:pos x="T10" y="T11"/>
                  </a:cxn>
                  <a:cxn ang="0">
                    <a:pos x="T12" y="T13"/>
                  </a:cxn>
                </a:cxnLst>
                <a:rect l="0" t="0" r="r" b="b"/>
                <a:pathLst>
                  <a:path w="8" h="42">
                    <a:moveTo>
                      <a:pt x="0" y="4"/>
                    </a:moveTo>
                    <a:cubicBezTo>
                      <a:pt x="0" y="39"/>
                      <a:pt x="0" y="39"/>
                      <a:pt x="0" y="39"/>
                    </a:cubicBezTo>
                    <a:cubicBezTo>
                      <a:pt x="0" y="41"/>
                      <a:pt x="2" y="42"/>
                      <a:pt x="4" y="42"/>
                    </a:cubicBezTo>
                    <a:cubicBezTo>
                      <a:pt x="6" y="42"/>
                      <a:pt x="8" y="41"/>
                      <a:pt x="8" y="39"/>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grpSp>
        <p:nvGrpSpPr>
          <p:cNvPr id="12" name="Group 77">
            <a:extLst>
              <a:ext uri="{FF2B5EF4-FFF2-40B4-BE49-F238E27FC236}">
                <a16:creationId xmlns:a16="http://schemas.microsoft.com/office/drawing/2014/main" id="{2EA13F9C-BF30-43F5-ACF6-2CB048B337AF}"/>
              </a:ext>
            </a:extLst>
          </p:cNvPr>
          <p:cNvGrpSpPr/>
          <p:nvPr/>
        </p:nvGrpSpPr>
        <p:grpSpPr>
          <a:xfrm>
            <a:off x="5972635" y="2463242"/>
            <a:ext cx="3832878" cy="607458"/>
            <a:chOff x="15602870" y="5394070"/>
            <a:chExt cx="7665756" cy="1214915"/>
          </a:xfrm>
        </p:grpSpPr>
        <p:sp>
          <p:nvSpPr>
            <p:cNvPr id="13" name="Oval 78">
              <a:extLst>
                <a:ext uri="{FF2B5EF4-FFF2-40B4-BE49-F238E27FC236}">
                  <a16:creationId xmlns:a16="http://schemas.microsoft.com/office/drawing/2014/main" id="{D16FB771-F569-4A7C-BBC2-0A099B4AC5EA}"/>
                </a:ext>
              </a:extLst>
            </p:cNvPr>
            <p:cNvSpPr>
              <a:spLocks noChangeAspect="1"/>
            </p:cNvSpPr>
            <p:nvPr/>
          </p:nvSpPr>
          <p:spPr>
            <a:xfrm>
              <a:off x="15602870" y="5394070"/>
              <a:ext cx="1250723" cy="1214915"/>
            </a:xfrm>
            <a:prstGeom prst="ellipse">
              <a:avLst/>
            </a:prstGeom>
            <a:solidFill>
              <a:srgbClr val="40A3E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14" name="Group 79">
              <a:extLst>
                <a:ext uri="{FF2B5EF4-FFF2-40B4-BE49-F238E27FC236}">
                  <a16:creationId xmlns:a16="http://schemas.microsoft.com/office/drawing/2014/main" id="{9FC35D9A-7312-4EAA-A1AA-647F7C7F074E}"/>
                </a:ext>
              </a:extLst>
            </p:cNvPr>
            <p:cNvGrpSpPr/>
            <p:nvPr/>
          </p:nvGrpSpPr>
          <p:grpSpPr>
            <a:xfrm>
              <a:off x="15891681" y="5694346"/>
              <a:ext cx="673100" cy="614363"/>
              <a:chOff x="11047413" y="6575425"/>
              <a:chExt cx="673100" cy="614363"/>
            </a:xfrm>
            <a:solidFill>
              <a:sysClr val="window" lastClr="FFFFFF"/>
            </a:solidFill>
          </p:grpSpPr>
          <p:sp>
            <p:nvSpPr>
              <p:cNvPr id="16" name="Freeform 47">
                <a:extLst>
                  <a:ext uri="{FF2B5EF4-FFF2-40B4-BE49-F238E27FC236}">
                    <a16:creationId xmlns:a16="http://schemas.microsoft.com/office/drawing/2014/main" id="{65896B9F-4E0E-4C4C-BC0F-86244C2004BB}"/>
                  </a:ext>
                </a:extLst>
              </p:cNvPr>
              <p:cNvSpPr>
                <a:spLocks noEditPoints="1"/>
              </p:cNvSpPr>
              <p:nvPr/>
            </p:nvSpPr>
            <p:spPr bwMode="auto">
              <a:xfrm>
                <a:off x="11168063" y="6575425"/>
                <a:ext cx="549275" cy="107950"/>
              </a:xfrm>
              <a:custGeom>
                <a:avLst/>
                <a:gdLst>
                  <a:gd name="T0" fmla="*/ 4 w 146"/>
                  <a:gd name="T1" fmla="*/ 29 h 29"/>
                  <a:gd name="T2" fmla="*/ 142 w 146"/>
                  <a:gd name="T3" fmla="*/ 29 h 29"/>
                  <a:gd name="T4" fmla="*/ 142 w 146"/>
                  <a:gd name="T5" fmla="*/ 29 h 29"/>
                  <a:gd name="T6" fmla="*/ 146 w 146"/>
                  <a:gd name="T7" fmla="*/ 25 h 29"/>
                  <a:gd name="T8" fmla="*/ 144 w 146"/>
                  <a:gd name="T9" fmla="*/ 22 h 29"/>
                  <a:gd name="T10" fmla="*/ 122 w 146"/>
                  <a:gd name="T11" fmla="*/ 1 h 29"/>
                  <a:gd name="T12" fmla="*/ 120 w 146"/>
                  <a:gd name="T13" fmla="*/ 0 h 29"/>
                  <a:gd name="T14" fmla="*/ 26 w 146"/>
                  <a:gd name="T15" fmla="*/ 0 h 29"/>
                  <a:gd name="T16" fmla="*/ 24 w 146"/>
                  <a:gd name="T17" fmla="*/ 1 h 29"/>
                  <a:gd name="T18" fmla="*/ 1 w 146"/>
                  <a:gd name="T19" fmla="*/ 23 h 29"/>
                  <a:gd name="T20" fmla="*/ 0 w 146"/>
                  <a:gd name="T21" fmla="*/ 27 h 29"/>
                  <a:gd name="T22" fmla="*/ 4 w 146"/>
                  <a:gd name="T23" fmla="*/ 29 h 29"/>
                  <a:gd name="T24" fmla="*/ 28 w 146"/>
                  <a:gd name="T25" fmla="*/ 7 h 29"/>
                  <a:gd name="T26" fmla="*/ 118 w 146"/>
                  <a:gd name="T27" fmla="*/ 7 h 29"/>
                  <a:gd name="T28" fmla="*/ 133 w 146"/>
                  <a:gd name="T29" fmla="*/ 22 h 29"/>
                  <a:gd name="T30" fmla="*/ 13 w 146"/>
                  <a:gd name="T31" fmla="*/ 22 h 29"/>
                  <a:gd name="T32" fmla="*/ 28 w 146"/>
                  <a:gd name="T33"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9">
                    <a:moveTo>
                      <a:pt x="4" y="29"/>
                    </a:moveTo>
                    <a:cubicBezTo>
                      <a:pt x="142" y="29"/>
                      <a:pt x="142" y="29"/>
                      <a:pt x="142" y="29"/>
                    </a:cubicBezTo>
                    <a:cubicBezTo>
                      <a:pt x="142" y="29"/>
                      <a:pt x="142" y="29"/>
                      <a:pt x="142" y="29"/>
                    </a:cubicBezTo>
                    <a:cubicBezTo>
                      <a:pt x="144" y="29"/>
                      <a:pt x="146" y="28"/>
                      <a:pt x="146" y="25"/>
                    </a:cubicBezTo>
                    <a:cubicBezTo>
                      <a:pt x="146" y="24"/>
                      <a:pt x="145" y="23"/>
                      <a:pt x="144" y="22"/>
                    </a:cubicBezTo>
                    <a:cubicBezTo>
                      <a:pt x="122" y="1"/>
                      <a:pt x="122" y="1"/>
                      <a:pt x="122" y="1"/>
                    </a:cubicBezTo>
                    <a:cubicBezTo>
                      <a:pt x="122" y="0"/>
                      <a:pt x="121" y="0"/>
                      <a:pt x="120" y="0"/>
                    </a:cubicBezTo>
                    <a:cubicBezTo>
                      <a:pt x="26" y="0"/>
                      <a:pt x="26" y="0"/>
                      <a:pt x="26" y="0"/>
                    </a:cubicBezTo>
                    <a:cubicBezTo>
                      <a:pt x="25" y="0"/>
                      <a:pt x="25" y="0"/>
                      <a:pt x="24" y="1"/>
                    </a:cubicBezTo>
                    <a:cubicBezTo>
                      <a:pt x="1" y="23"/>
                      <a:pt x="1" y="23"/>
                      <a:pt x="1" y="23"/>
                    </a:cubicBezTo>
                    <a:cubicBezTo>
                      <a:pt x="0" y="24"/>
                      <a:pt x="0" y="25"/>
                      <a:pt x="0" y="27"/>
                    </a:cubicBezTo>
                    <a:cubicBezTo>
                      <a:pt x="1" y="28"/>
                      <a:pt x="2" y="29"/>
                      <a:pt x="4" y="29"/>
                    </a:cubicBezTo>
                    <a:close/>
                    <a:moveTo>
                      <a:pt x="28" y="7"/>
                    </a:moveTo>
                    <a:cubicBezTo>
                      <a:pt x="118" y="7"/>
                      <a:pt x="118" y="7"/>
                      <a:pt x="118" y="7"/>
                    </a:cubicBezTo>
                    <a:cubicBezTo>
                      <a:pt x="133" y="22"/>
                      <a:pt x="133" y="22"/>
                      <a:pt x="133" y="22"/>
                    </a:cubicBezTo>
                    <a:cubicBezTo>
                      <a:pt x="13" y="22"/>
                      <a:pt x="13" y="22"/>
                      <a:pt x="13" y="22"/>
                    </a:cubicBez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Freeform 48">
                <a:extLst>
                  <a:ext uri="{FF2B5EF4-FFF2-40B4-BE49-F238E27FC236}">
                    <a16:creationId xmlns:a16="http://schemas.microsoft.com/office/drawing/2014/main" id="{8007E2C9-DAB0-4310-B348-1F7845DB8E5B}"/>
                  </a:ext>
                </a:extLst>
              </p:cNvPr>
              <p:cNvSpPr>
                <a:spLocks noEditPoints="1"/>
              </p:cNvSpPr>
              <p:nvPr/>
            </p:nvSpPr>
            <p:spPr bwMode="auto">
              <a:xfrm>
                <a:off x="11047413" y="6964363"/>
                <a:ext cx="673100" cy="225425"/>
              </a:xfrm>
              <a:custGeom>
                <a:avLst/>
                <a:gdLst>
                  <a:gd name="T0" fmla="*/ 173 w 179"/>
                  <a:gd name="T1" fmla="*/ 13 h 60"/>
                  <a:gd name="T2" fmla="*/ 160 w 179"/>
                  <a:gd name="T3" fmla="*/ 12 h 60"/>
                  <a:gd name="T4" fmla="*/ 131 w 179"/>
                  <a:gd name="T5" fmla="*/ 25 h 60"/>
                  <a:gd name="T6" fmla="*/ 124 w 179"/>
                  <a:gd name="T7" fmla="*/ 21 h 60"/>
                  <a:gd name="T8" fmla="*/ 83 w 179"/>
                  <a:gd name="T9" fmla="*/ 9 h 60"/>
                  <a:gd name="T10" fmla="*/ 38 w 179"/>
                  <a:gd name="T11" fmla="*/ 9 h 60"/>
                  <a:gd name="T12" fmla="*/ 38 w 179"/>
                  <a:gd name="T13" fmla="*/ 4 h 60"/>
                  <a:gd name="T14" fmla="*/ 34 w 179"/>
                  <a:gd name="T15" fmla="*/ 0 h 60"/>
                  <a:gd name="T16" fmla="*/ 4 w 179"/>
                  <a:gd name="T17" fmla="*/ 0 h 60"/>
                  <a:gd name="T18" fmla="*/ 0 w 179"/>
                  <a:gd name="T19" fmla="*/ 4 h 60"/>
                  <a:gd name="T20" fmla="*/ 0 w 179"/>
                  <a:gd name="T21" fmla="*/ 57 h 60"/>
                  <a:gd name="T22" fmla="*/ 4 w 179"/>
                  <a:gd name="T23" fmla="*/ 60 h 60"/>
                  <a:gd name="T24" fmla="*/ 34 w 179"/>
                  <a:gd name="T25" fmla="*/ 60 h 60"/>
                  <a:gd name="T26" fmla="*/ 38 w 179"/>
                  <a:gd name="T27" fmla="*/ 57 h 60"/>
                  <a:gd name="T28" fmla="*/ 38 w 179"/>
                  <a:gd name="T29" fmla="*/ 49 h 60"/>
                  <a:gd name="T30" fmla="*/ 38 w 179"/>
                  <a:gd name="T31" fmla="*/ 49 h 60"/>
                  <a:gd name="T32" fmla="*/ 54 w 179"/>
                  <a:gd name="T33" fmla="*/ 47 h 60"/>
                  <a:gd name="T34" fmla="*/ 107 w 179"/>
                  <a:gd name="T35" fmla="*/ 59 h 60"/>
                  <a:gd name="T36" fmla="*/ 127 w 179"/>
                  <a:gd name="T37" fmla="*/ 56 h 60"/>
                  <a:gd name="T38" fmla="*/ 171 w 179"/>
                  <a:gd name="T39" fmla="*/ 36 h 60"/>
                  <a:gd name="T40" fmla="*/ 179 w 179"/>
                  <a:gd name="T41" fmla="*/ 25 h 60"/>
                  <a:gd name="T42" fmla="*/ 173 w 179"/>
                  <a:gd name="T43" fmla="*/ 13 h 60"/>
                  <a:gd name="T44" fmla="*/ 30 w 179"/>
                  <a:gd name="T45" fmla="*/ 53 h 60"/>
                  <a:gd name="T46" fmla="*/ 8 w 179"/>
                  <a:gd name="T47" fmla="*/ 53 h 60"/>
                  <a:gd name="T48" fmla="*/ 8 w 179"/>
                  <a:gd name="T49" fmla="*/ 8 h 60"/>
                  <a:gd name="T50" fmla="*/ 30 w 179"/>
                  <a:gd name="T51" fmla="*/ 8 h 60"/>
                  <a:gd name="T52" fmla="*/ 30 w 179"/>
                  <a:gd name="T53" fmla="*/ 53 h 60"/>
                  <a:gd name="T54" fmla="*/ 168 w 179"/>
                  <a:gd name="T55" fmla="*/ 29 h 60"/>
                  <a:gd name="T56" fmla="*/ 124 w 179"/>
                  <a:gd name="T57" fmla="*/ 49 h 60"/>
                  <a:gd name="T58" fmla="*/ 57 w 179"/>
                  <a:gd name="T59" fmla="*/ 40 h 60"/>
                  <a:gd name="T60" fmla="*/ 38 w 179"/>
                  <a:gd name="T61" fmla="*/ 41 h 60"/>
                  <a:gd name="T62" fmla="*/ 38 w 179"/>
                  <a:gd name="T63" fmla="*/ 16 h 60"/>
                  <a:gd name="T64" fmla="*/ 81 w 179"/>
                  <a:gd name="T65" fmla="*/ 16 h 60"/>
                  <a:gd name="T66" fmla="*/ 122 w 179"/>
                  <a:gd name="T67" fmla="*/ 28 h 60"/>
                  <a:gd name="T68" fmla="*/ 126 w 179"/>
                  <a:gd name="T69" fmla="*/ 31 h 60"/>
                  <a:gd name="T70" fmla="*/ 126 w 179"/>
                  <a:gd name="T71" fmla="*/ 32 h 60"/>
                  <a:gd name="T72" fmla="*/ 126 w 179"/>
                  <a:gd name="T73" fmla="*/ 32 h 60"/>
                  <a:gd name="T74" fmla="*/ 126 w 179"/>
                  <a:gd name="T75" fmla="*/ 35 h 60"/>
                  <a:gd name="T76" fmla="*/ 124 w 179"/>
                  <a:gd name="T77" fmla="*/ 39 h 60"/>
                  <a:gd name="T78" fmla="*/ 119 w 179"/>
                  <a:gd name="T79" fmla="*/ 39 h 60"/>
                  <a:gd name="T80" fmla="*/ 76 w 179"/>
                  <a:gd name="T81" fmla="*/ 26 h 60"/>
                  <a:gd name="T82" fmla="*/ 71 w 179"/>
                  <a:gd name="T83" fmla="*/ 29 h 60"/>
                  <a:gd name="T84" fmla="*/ 74 w 179"/>
                  <a:gd name="T85" fmla="*/ 34 h 60"/>
                  <a:gd name="T86" fmla="*/ 117 w 179"/>
                  <a:gd name="T87" fmla="*/ 46 h 60"/>
                  <a:gd name="T88" fmla="*/ 121 w 179"/>
                  <a:gd name="T89" fmla="*/ 47 h 60"/>
                  <a:gd name="T90" fmla="*/ 128 w 179"/>
                  <a:gd name="T91" fmla="*/ 45 h 60"/>
                  <a:gd name="T92" fmla="*/ 133 w 179"/>
                  <a:gd name="T93" fmla="*/ 38 h 60"/>
                  <a:gd name="T94" fmla="*/ 134 w 179"/>
                  <a:gd name="T95" fmla="*/ 32 h 60"/>
                  <a:gd name="T96" fmla="*/ 163 w 179"/>
                  <a:gd name="T97" fmla="*/ 19 h 60"/>
                  <a:gd name="T98" fmla="*/ 169 w 179"/>
                  <a:gd name="T99" fmla="*/ 19 h 60"/>
                  <a:gd name="T100" fmla="*/ 171 w 179"/>
                  <a:gd name="T101" fmla="*/ 25 h 60"/>
                  <a:gd name="T102" fmla="*/ 168 w 179"/>
                  <a:gd name="T10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60">
                    <a:moveTo>
                      <a:pt x="173" y="13"/>
                    </a:moveTo>
                    <a:cubicBezTo>
                      <a:pt x="169" y="10"/>
                      <a:pt x="165" y="10"/>
                      <a:pt x="160" y="12"/>
                    </a:cubicBezTo>
                    <a:cubicBezTo>
                      <a:pt x="131" y="25"/>
                      <a:pt x="131" y="25"/>
                      <a:pt x="131" y="25"/>
                    </a:cubicBezTo>
                    <a:cubicBezTo>
                      <a:pt x="129" y="24"/>
                      <a:pt x="127" y="22"/>
                      <a:pt x="124" y="21"/>
                    </a:cubicBezTo>
                    <a:cubicBezTo>
                      <a:pt x="83" y="9"/>
                      <a:pt x="83" y="9"/>
                      <a:pt x="83" y="9"/>
                    </a:cubicBezTo>
                    <a:cubicBezTo>
                      <a:pt x="76" y="7"/>
                      <a:pt x="57" y="6"/>
                      <a:pt x="38" y="9"/>
                    </a:cubicBezTo>
                    <a:cubicBezTo>
                      <a:pt x="38" y="4"/>
                      <a:pt x="38" y="4"/>
                      <a:pt x="38" y="4"/>
                    </a:cubicBezTo>
                    <a:cubicBezTo>
                      <a:pt x="38" y="2"/>
                      <a:pt x="36" y="0"/>
                      <a:pt x="34" y="0"/>
                    </a:cubicBezTo>
                    <a:cubicBezTo>
                      <a:pt x="4" y="0"/>
                      <a:pt x="4" y="0"/>
                      <a:pt x="4" y="0"/>
                    </a:cubicBezTo>
                    <a:cubicBezTo>
                      <a:pt x="2" y="0"/>
                      <a:pt x="0" y="2"/>
                      <a:pt x="0" y="4"/>
                    </a:cubicBezTo>
                    <a:cubicBezTo>
                      <a:pt x="0" y="57"/>
                      <a:pt x="0" y="57"/>
                      <a:pt x="0" y="57"/>
                    </a:cubicBezTo>
                    <a:cubicBezTo>
                      <a:pt x="0" y="59"/>
                      <a:pt x="2" y="60"/>
                      <a:pt x="4" y="60"/>
                    </a:cubicBezTo>
                    <a:cubicBezTo>
                      <a:pt x="34" y="60"/>
                      <a:pt x="34" y="60"/>
                      <a:pt x="34" y="60"/>
                    </a:cubicBezTo>
                    <a:cubicBezTo>
                      <a:pt x="36" y="60"/>
                      <a:pt x="38" y="59"/>
                      <a:pt x="38" y="57"/>
                    </a:cubicBezTo>
                    <a:cubicBezTo>
                      <a:pt x="38" y="49"/>
                      <a:pt x="38" y="49"/>
                      <a:pt x="38" y="49"/>
                    </a:cubicBezTo>
                    <a:cubicBezTo>
                      <a:pt x="38" y="49"/>
                      <a:pt x="38" y="49"/>
                      <a:pt x="38" y="49"/>
                    </a:cubicBezTo>
                    <a:cubicBezTo>
                      <a:pt x="43" y="47"/>
                      <a:pt x="50" y="45"/>
                      <a:pt x="54" y="47"/>
                    </a:cubicBezTo>
                    <a:cubicBezTo>
                      <a:pt x="74" y="56"/>
                      <a:pt x="93" y="59"/>
                      <a:pt x="107" y="59"/>
                    </a:cubicBezTo>
                    <a:cubicBezTo>
                      <a:pt x="116" y="59"/>
                      <a:pt x="124" y="57"/>
                      <a:pt x="127" y="56"/>
                    </a:cubicBezTo>
                    <a:cubicBezTo>
                      <a:pt x="171" y="36"/>
                      <a:pt x="171" y="36"/>
                      <a:pt x="171" y="36"/>
                    </a:cubicBezTo>
                    <a:cubicBezTo>
                      <a:pt x="175" y="34"/>
                      <a:pt x="178" y="30"/>
                      <a:pt x="179" y="25"/>
                    </a:cubicBezTo>
                    <a:cubicBezTo>
                      <a:pt x="179" y="21"/>
                      <a:pt x="177" y="16"/>
                      <a:pt x="173" y="13"/>
                    </a:cubicBezTo>
                    <a:close/>
                    <a:moveTo>
                      <a:pt x="30" y="53"/>
                    </a:moveTo>
                    <a:cubicBezTo>
                      <a:pt x="8" y="53"/>
                      <a:pt x="8" y="53"/>
                      <a:pt x="8" y="53"/>
                    </a:cubicBezTo>
                    <a:cubicBezTo>
                      <a:pt x="8" y="8"/>
                      <a:pt x="8" y="8"/>
                      <a:pt x="8" y="8"/>
                    </a:cubicBezTo>
                    <a:cubicBezTo>
                      <a:pt x="30" y="8"/>
                      <a:pt x="30" y="8"/>
                      <a:pt x="30" y="8"/>
                    </a:cubicBezTo>
                    <a:lnTo>
                      <a:pt x="30" y="53"/>
                    </a:lnTo>
                    <a:close/>
                    <a:moveTo>
                      <a:pt x="168" y="29"/>
                    </a:moveTo>
                    <a:cubicBezTo>
                      <a:pt x="124" y="49"/>
                      <a:pt x="124" y="49"/>
                      <a:pt x="124" y="49"/>
                    </a:cubicBezTo>
                    <a:cubicBezTo>
                      <a:pt x="118" y="52"/>
                      <a:pt x="90" y="55"/>
                      <a:pt x="57" y="40"/>
                    </a:cubicBezTo>
                    <a:cubicBezTo>
                      <a:pt x="52" y="37"/>
                      <a:pt x="44" y="39"/>
                      <a:pt x="38" y="41"/>
                    </a:cubicBezTo>
                    <a:cubicBezTo>
                      <a:pt x="38" y="16"/>
                      <a:pt x="38" y="16"/>
                      <a:pt x="38" y="16"/>
                    </a:cubicBezTo>
                    <a:cubicBezTo>
                      <a:pt x="57" y="13"/>
                      <a:pt x="75" y="15"/>
                      <a:pt x="81" y="16"/>
                    </a:cubicBezTo>
                    <a:cubicBezTo>
                      <a:pt x="122" y="28"/>
                      <a:pt x="122" y="28"/>
                      <a:pt x="122" y="28"/>
                    </a:cubicBezTo>
                    <a:cubicBezTo>
                      <a:pt x="124" y="29"/>
                      <a:pt x="125" y="30"/>
                      <a:pt x="126" y="31"/>
                    </a:cubicBezTo>
                    <a:cubicBezTo>
                      <a:pt x="126" y="31"/>
                      <a:pt x="126" y="32"/>
                      <a:pt x="126" y="32"/>
                    </a:cubicBezTo>
                    <a:cubicBezTo>
                      <a:pt x="126" y="32"/>
                      <a:pt x="126" y="32"/>
                      <a:pt x="126" y="32"/>
                    </a:cubicBezTo>
                    <a:cubicBezTo>
                      <a:pt x="126" y="33"/>
                      <a:pt x="126" y="34"/>
                      <a:pt x="126" y="35"/>
                    </a:cubicBezTo>
                    <a:cubicBezTo>
                      <a:pt x="126" y="37"/>
                      <a:pt x="125" y="38"/>
                      <a:pt x="124" y="39"/>
                    </a:cubicBezTo>
                    <a:cubicBezTo>
                      <a:pt x="122" y="40"/>
                      <a:pt x="121" y="40"/>
                      <a:pt x="119" y="39"/>
                    </a:cubicBezTo>
                    <a:cubicBezTo>
                      <a:pt x="76" y="26"/>
                      <a:pt x="76" y="26"/>
                      <a:pt x="76" y="26"/>
                    </a:cubicBezTo>
                    <a:cubicBezTo>
                      <a:pt x="74" y="26"/>
                      <a:pt x="72" y="27"/>
                      <a:pt x="71" y="29"/>
                    </a:cubicBezTo>
                    <a:cubicBezTo>
                      <a:pt x="71" y="31"/>
                      <a:pt x="72" y="33"/>
                      <a:pt x="74" y="34"/>
                    </a:cubicBezTo>
                    <a:cubicBezTo>
                      <a:pt x="117" y="46"/>
                      <a:pt x="117" y="46"/>
                      <a:pt x="117" y="46"/>
                    </a:cubicBezTo>
                    <a:cubicBezTo>
                      <a:pt x="118" y="47"/>
                      <a:pt x="120" y="47"/>
                      <a:pt x="121" y="47"/>
                    </a:cubicBezTo>
                    <a:cubicBezTo>
                      <a:pt x="123" y="47"/>
                      <a:pt x="126" y="46"/>
                      <a:pt x="128" y="45"/>
                    </a:cubicBezTo>
                    <a:cubicBezTo>
                      <a:pt x="130" y="43"/>
                      <a:pt x="132" y="41"/>
                      <a:pt x="133" y="38"/>
                    </a:cubicBezTo>
                    <a:cubicBezTo>
                      <a:pt x="134" y="36"/>
                      <a:pt x="134" y="34"/>
                      <a:pt x="134" y="32"/>
                    </a:cubicBezTo>
                    <a:cubicBezTo>
                      <a:pt x="163" y="19"/>
                      <a:pt x="163" y="19"/>
                      <a:pt x="163" y="19"/>
                    </a:cubicBezTo>
                    <a:cubicBezTo>
                      <a:pt x="165" y="18"/>
                      <a:pt x="167" y="18"/>
                      <a:pt x="169" y="19"/>
                    </a:cubicBezTo>
                    <a:cubicBezTo>
                      <a:pt x="170" y="20"/>
                      <a:pt x="171" y="23"/>
                      <a:pt x="171" y="25"/>
                    </a:cubicBezTo>
                    <a:cubicBezTo>
                      <a:pt x="171" y="27"/>
                      <a:pt x="170" y="28"/>
                      <a:pt x="1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Freeform 49">
                <a:extLst>
                  <a:ext uri="{FF2B5EF4-FFF2-40B4-BE49-F238E27FC236}">
                    <a16:creationId xmlns:a16="http://schemas.microsoft.com/office/drawing/2014/main" id="{8F84324A-EF0E-465A-861F-3563AA446C19}"/>
                  </a:ext>
                </a:extLst>
              </p:cNvPr>
              <p:cNvSpPr>
                <a:spLocks/>
              </p:cNvSpPr>
              <p:nvPr/>
            </p:nvSpPr>
            <p:spPr bwMode="auto">
              <a:xfrm>
                <a:off x="11168063" y="6710363"/>
                <a:ext cx="549275" cy="85725"/>
              </a:xfrm>
              <a:custGeom>
                <a:avLst/>
                <a:gdLst>
                  <a:gd name="T0" fmla="*/ 22 w 146"/>
                  <a:gd name="T1" fmla="*/ 2 h 23"/>
                  <a:gd name="T2" fmla="*/ 16 w 146"/>
                  <a:gd name="T3" fmla="*/ 2 h 23"/>
                  <a:gd name="T4" fmla="*/ 1 w 146"/>
                  <a:gd name="T5" fmla="*/ 17 h 23"/>
                  <a:gd name="T6" fmla="*/ 0 w 146"/>
                  <a:gd name="T7" fmla="*/ 21 h 23"/>
                  <a:gd name="T8" fmla="*/ 4 w 146"/>
                  <a:gd name="T9" fmla="*/ 23 h 23"/>
                  <a:gd name="T10" fmla="*/ 142 w 146"/>
                  <a:gd name="T11" fmla="*/ 23 h 23"/>
                  <a:gd name="T12" fmla="*/ 146 w 146"/>
                  <a:gd name="T13" fmla="*/ 21 h 23"/>
                  <a:gd name="T14" fmla="*/ 145 w 146"/>
                  <a:gd name="T15" fmla="*/ 17 h 23"/>
                  <a:gd name="T16" fmla="*/ 130 w 146"/>
                  <a:gd name="T17" fmla="*/ 2 h 23"/>
                  <a:gd name="T18" fmla="*/ 124 w 146"/>
                  <a:gd name="T19" fmla="*/ 2 h 23"/>
                  <a:gd name="T20" fmla="*/ 124 w 146"/>
                  <a:gd name="T21" fmla="*/ 7 h 23"/>
                  <a:gd name="T22" fmla="*/ 133 w 146"/>
                  <a:gd name="T23" fmla="*/ 16 h 23"/>
                  <a:gd name="T24" fmla="*/ 13 w 146"/>
                  <a:gd name="T25" fmla="*/ 16 h 23"/>
                  <a:gd name="T26" fmla="*/ 22 w 146"/>
                  <a:gd name="T27" fmla="*/ 7 h 23"/>
                  <a:gd name="T28" fmla="*/ 22 w 146"/>
                  <a:gd name="T2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22" y="2"/>
                    </a:moveTo>
                    <a:cubicBezTo>
                      <a:pt x="20" y="1"/>
                      <a:pt x="18" y="0"/>
                      <a:pt x="16" y="2"/>
                    </a:cubicBezTo>
                    <a:cubicBezTo>
                      <a:pt x="1" y="17"/>
                      <a:pt x="1" y="17"/>
                      <a:pt x="1" y="17"/>
                    </a:cubicBezTo>
                    <a:cubicBezTo>
                      <a:pt x="0" y="18"/>
                      <a:pt x="0" y="19"/>
                      <a:pt x="0" y="21"/>
                    </a:cubicBezTo>
                    <a:cubicBezTo>
                      <a:pt x="1" y="22"/>
                      <a:pt x="2" y="23"/>
                      <a:pt x="4" y="23"/>
                    </a:cubicBez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Freeform 50">
                <a:extLst>
                  <a:ext uri="{FF2B5EF4-FFF2-40B4-BE49-F238E27FC236}">
                    <a16:creationId xmlns:a16="http://schemas.microsoft.com/office/drawing/2014/main" id="{42BF6AA2-A0D9-495E-A08F-1BB026E6610B}"/>
                  </a:ext>
                </a:extLst>
              </p:cNvPr>
              <p:cNvSpPr>
                <a:spLocks/>
              </p:cNvSpPr>
              <p:nvPr/>
            </p:nvSpPr>
            <p:spPr bwMode="auto">
              <a:xfrm>
                <a:off x="11168063" y="6823075"/>
                <a:ext cx="549275" cy="85725"/>
              </a:xfrm>
              <a:custGeom>
                <a:avLst/>
                <a:gdLst>
                  <a:gd name="T0" fmla="*/ 4 w 146"/>
                  <a:gd name="T1" fmla="*/ 23 h 23"/>
                  <a:gd name="T2" fmla="*/ 142 w 146"/>
                  <a:gd name="T3" fmla="*/ 23 h 23"/>
                  <a:gd name="T4" fmla="*/ 146 w 146"/>
                  <a:gd name="T5" fmla="*/ 21 h 23"/>
                  <a:gd name="T6" fmla="*/ 145 w 146"/>
                  <a:gd name="T7" fmla="*/ 17 h 23"/>
                  <a:gd name="T8" fmla="*/ 130 w 146"/>
                  <a:gd name="T9" fmla="*/ 2 h 23"/>
                  <a:gd name="T10" fmla="*/ 124 w 146"/>
                  <a:gd name="T11" fmla="*/ 2 h 23"/>
                  <a:gd name="T12" fmla="*/ 124 w 146"/>
                  <a:gd name="T13" fmla="*/ 7 h 23"/>
                  <a:gd name="T14" fmla="*/ 133 w 146"/>
                  <a:gd name="T15" fmla="*/ 16 h 23"/>
                  <a:gd name="T16" fmla="*/ 13 w 146"/>
                  <a:gd name="T17" fmla="*/ 16 h 23"/>
                  <a:gd name="T18" fmla="*/ 22 w 146"/>
                  <a:gd name="T19" fmla="*/ 7 h 23"/>
                  <a:gd name="T20" fmla="*/ 22 w 146"/>
                  <a:gd name="T21" fmla="*/ 2 h 23"/>
                  <a:gd name="T22" fmla="*/ 16 w 146"/>
                  <a:gd name="T23" fmla="*/ 2 h 23"/>
                  <a:gd name="T24" fmla="*/ 1 w 146"/>
                  <a:gd name="T25" fmla="*/ 17 h 23"/>
                  <a:gd name="T26" fmla="*/ 0 w 146"/>
                  <a:gd name="T27" fmla="*/ 21 h 23"/>
                  <a:gd name="T28" fmla="*/ 4 w 146"/>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
                    <a:moveTo>
                      <a:pt x="4" y="23"/>
                    </a:moveTo>
                    <a:cubicBezTo>
                      <a:pt x="142" y="23"/>
                      <a:pt x="142" y="23"/>
                      <a:pt x="142" y="23"/>
                    </a:cubicBezTo>
                    <a:cubicBezTo>
                      <a:pt x="144" y="23"/>
                      <a:pt x="145" y="22"/>
                      <a:pt x="146" y="21"/>
                    </a:cubicBezTo>
                    <a:cubicBezTo>
                      <a:pt x="146" y="19"/>
                      <a:pt x="146" y="18"/>
                      <a:pt x="145" y="17"/>
                    </a:cubicBezTo>
                    <a:cubicBezTo>
                      <a:pt x="130" y="2"/>
                      <a:pt x="130" y="2"/>
                      <a:pt x="130" y="2"/>
                    </a:cubicBezTo>
                    <a:cubicBezTo>
                      <a:pt x="128" y="0"/>
                      <a:pt x="126" y="0"/>
                      <a:pt x="124" y="2"/>
                    </a:cubicBezTo>
                    <a:cubicBezTo>
                      <a:pt x="123" y="3"/>
                      <a:pt x="123" y="6"/>
                      <a:pt x="124" y="7"/>
                    </a:cubicBezTo>
                    <a:cubicBezTo>
                      <a:pt x="133" y="16"/>
                      <a:pt x="133" y="16"/>
                      <a:pt x="133" y="16"/>
                    </a:cubicBezTo>
                    <a:cubicBezTo>
                      <a:pt x="13" y="16"/>
                      <a:pt x="13" y="16"/>
                      <a:pt x="13" y="16"/>
                    </a:cubicBezTo>
                    <a:cubicBezTo>
                      <a:pt x="22" y="7"/>
                      <a:pt x="22" y="7"/>
                      <a:pt x="22" y="7"/>
                    </a:cubicBezTo>
                    <a:cubicBezTo>
                      <a:pt x="23" y="6"/>
                      <a:pt x="23" y="3"/>
                      <a:pt x="22" y="2"/>
                    </a:cubicBezTo>
                    <a:cubicBezTo>
                      <a:pt x="20" y="0"/>
                      <a:pt x="18" y="0"/>
                      <a:pt x="16" y="2"/>
                    </a:cubicBezTo>
                    <a:cubicBezTo>
                      <a:pt x="1" y="17"/>
                      <a:pt x="1" y="17"/>
                      <a:pt x="1" y="17"/>
                    </a:cubicBezTo>
                    <a:cubicBezTo>
                      <a:pt x="0" y="18"/>
                      <a:pt x="0" y="19"/>
                      <a:pt x="0" y="21"/>
                    </a:cubicBezTo>
                    <a:cubicBezTo>
                      <a:pt x="1" y="22"/>
                      <a:pt x="2"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Text Placeholder 3">
              <a:extLst>
                <a:ext uri="{FF2B5EF4-FFF2-40B4-BE49-F238E27FC236}">
                  <a16:creationId xmlns:a16="http://schemas.microsoft.com/office/drawing/2014/main" id="{94EE17D4-B2AA-4B92-A1E7-ED4510D6CD37}"/>
                </a:ext>
              </a:extLst>
            </p:cNvPr>
            <p:cNvSpPr txBox="1">
              <a:spLocks/>
            </p:cNvSpPr>
            <p:nvPr/>
          </p:nvSpPr>
          <p:spPr>
            <a:xfrm>
              <a:off x="17263052" y="5786084"/>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ssessing the validity of data.</a:t>
              </a:r>
            </a:p>
          </p:txBody>
        </p:sp>
      </p:grpSp>
      <p:grpSp>
        <p:nvGrpSpPr>
          <p:cNvPr id="20" name="Group 85">
            <a:extLst>
              <a:ext uri="{FF2B5EF4-FFF2-40B4-BE49-F238E27FC236}">
                <a16:creationId xmlns:a16="http://schemas.microsoft.com/office/drawing/2014/main" id="{D5AEC208-09B6-4F8E-8C0D-48B47971D86B}"/>
              </a:ext>
            </a:extLst>
          </p:cNvPr>
          <p:cNvGrpSpPr/>
          <p:nvPr/>
        </p:nvGrpSpPr>
        <p:grpSpPr>
          <a:xfrm>
            <a:off x="5972635" y="3376759"/>
            <a:ext cx="3869247" cy="607458"/>
            <a:chOff x="15602870" y="7221105"/>
            <a:chExt cx="7738493" cy="1214915"/>
          </a:xfrm>
        </p:grpSpPr>
        <p:sp>
          <p:nvSpPr>
            <p:cNvPr id="21" name="Oval 86">
              <a:extLst>
                <a:ext uri="{FF2B5EF4-FFF2-40B4-BE49-F238E27FC236}">
                  <a16:creationId xmlns:a16="http://schemas.microsoft.com/office/drawing/2014/main" id="{B469D133-4EB1-44B4-BCDF-A1EB5BD0C566}"/>
                </a:ext>
              </a:extLst>
            </p:cNvPr>
            <p:cNvSpPr>
              <a:spLocks noChangeAspect="1"/>
            </p:cNvSpPr>
            <p:nvPr/>
          </p:nvSpPr>
          <p:spPr>
            <a:xfrm>
              <a:off x="15602870" y="7221105"/>
              <a:ext cx="1250723" cy="1214915"/>
            </a:xfrm>
            <a:prstGeom prst="ellipse">
              <a:avLst/>
            </a:prstGeom>
            <a:solidFill>
              <a:srgbClr val="F7AA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22" name="Group 87">
              <a:extLst>
                <a:ext uri="{FF2B5EF4-FFF2-40B4-BE49-F238E27FC236}">
                  <a16:creationId xmlns:a16="http://schemas.microsoft.com/office/drawing/2014/main" id="{F61CF393-ADAE-4B08-A3B4-2BAF7C49E50A}"/>
                </a:ext>
              </a:extLst>
            </p:cNvPr>
            <p:cNvGrpSpPr/>
            <p:nvPr/>
          </p:nvGrpSpPr>
          <p:grpSpPr>
            <a:xfrm>
              <a:off x="15940928" y="7525366"/>
              <a:ext cx="611089" cy="613985"/>
              <a:chOff x="12606338" y="10871200"/>
              <a:chExt cx="669925" cy="673100"/>
            </a:xfrm>
            <a:solidFill>
              <a:sysClr val="window" lastClr="FFFFFF"/>
            </a:solidFill>
          </p:grpSpPr>
          <p:sp>
            <p:nvSpPr>
              <p:cNvPr id="24" name="Freeform 42">
                <a:extLst>
                  <a:ext uri="{FF2B5EF4-FFF2-40B4-BE49-F238E27FC236}">
                    <a16:creationId xmlns:a16="http://schemas.microsoft.com/office/drawing/2014/main" id="{0ECADA4D-1DC1-4E31-A5F4-622D9917381E}"/>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43">
                <a:extLst>
                  <a:ext uri="{FF2B5EF4-FFF2-40B4-BE49-F238E27FC236}">
                    <a16:creationId xmlns:a16="http://schemas.microsoft.com/office/drawing/2014/main" id="{76F39841-240B-4B8C-8177-5748F79D1412}"/>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44">
                <a:extLst>
                  <a:ext uri="{FF2B5EF4-FFF2-40B4-BE49-F238E27FC236}">
                    <a16:creationId xmlns:a16="http://schemas.microsoft.com/office/drawing/2014/main" id="{42D991FE-87FD-49DC-A983-4F5CDC903131}"/>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3" name="Text Placeholder 3">
              <a:extLst>
                <a:ext uri="{FF2B5EF4-FFF2-40B4-BE49-F238E27FC236}">
                  <a16:creationId xmlns:a16="http://schemas.microsoft.com/office/drawing/2014/main" id="{348EF119-9D24-4586-8A3C-21726A7DC438}"/>
                </a:ext>
              </a:extLst>
            </p:cNvPr>
            <p:cNvSpPr txBox="1">
              <a:spLocks/>
            </p:cNvSpPr>
            <p:nvPr/>
          </p:nvSpPr>
          <p:spPr>
            <a:xfrm>
              <a:off x="17335790" y="7615467"/>
              <a:ext cx="6005573"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Performing roo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use</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analysis</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grpSp>
        <p:nvGrpSpPr>
          <p:cNvPr id="27" name="Group 92">
            <a:extLst>
              <a:ext uri="{FF2B5EF4-FFF2-40B4-BE49-F238E27FC236}">
                <a16:creationId xmlns:a16="http://schemas.microsoft.com/office/drawing/2014/main" id="{ADE064E7-E47C-4AC9-91D2-B8EBA4D3C174}"/>
              </a:ext>
            </a:extLst>
          </p:cNvPr>
          <p:cNvGrpSpPr/>
          <p:nvPr/>
        </p:nvGrpSpPr>
        <p:grpSpPr>
          <a:xfrm>
            <a:off x="5972635" y="4254712"/>
            <a:ext cx="3832877" cy="607458"/>
            <a:chOff x="15602870" y="8977015"/>
            <a:chExt cx="7665754" cy="1214915"/>
          </a:xfrm>
        </p:grpSpPr>
        <p:sp>
          <p:nvSpPr>
            <p:cNvPr id="28" name="Oval 93">
              <a:extLst>
                <a:ext uri="{FF2B5EF4-FFF2-40B4-BE49-F238E27FC236}">
                  <a16:creationId xmlns:a16="http://schemas.microsoft.com/office/drawing/2014/main" id="{A72B52D3-AE3F-4ABF-AAB6-6A8FB64EB27E}"/>
                </a:ext>
              </a:extLst>
            </p:cNvPr>
            <p:cNvSpPr>
              <a:spLocks noChangeAspect="1"/>
            </p:cNvSpPr>
            <p:nvPr/>
          </p:nvSpPr>
          <p:spPr>
            <a:xfrm>
              <a:off x="15602870" y="8977015"/>
              <a:ext cx="1250723" cy="1214915"/>
            </a:xfrm>
            <a:prstGeom prst="ellipse">
              <a:avLst/>
            </a:prstGeom>
            <a:solidFill>
              <a:srgbClr val="F4394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Freeform 23">
              <a:extLst>
                <a:ext uri="{FF2B5EF4-FFF2-40B4-BE49-F238E27FC236}">
                  <a16:creationId xmlns:a16="http://schemas.microsoft.com/office/drawing/2014/main" id="{E71665D2-0434-4982-92F0-FB364F01EB31}"/>
                </a:ext>
              </a:extLst>
            </p:cNvPr>
            <p:cNvSpPr>
              <a:spLocks noEditPoints="1"/>
            </p:cNvSpPr>
            <p:nvPr/>
          </p:nvSpPr>
          <p:spPr bwMode="auto">
            <a:xfrm>
              <a:off x="15889299" y="9246344"/>
              <a:ext cx="677863" cy="660400"/>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ysClr val="window" lastClr="FFFFFF"/>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3">
              <a:extLst>
                <a:ext uri="{FF2B5EF4-FFF2-40B4-BE49-F238E27FC236}">
                  <a16:creationId xmlns:a16="http://schemas.microsoft.com/office/drawing/2014/main" id="{A4B54597-B1D0-4CF8-B1DF-90BF026EA997}"/>
                </a:ext>
              </a:extLst>
            </p:cNvPr>
            <p:cNvSpPr txBox="1">
              <a:spLocks/>
            </p:cNvSpPr>
            <p:nvPr/>
          </p:nvSpPr>
          <p:spPr>
            <a:xfrm>
              <a:off x="17263050" y="9361101"/>
              <a:ext cx="6005574" cy="43088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Discerning</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orrelatio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nd </a:t>
              </a:r>
              <a:r>
                <a:rPr kumimoji="0" lang="de-DE"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mn-cs"/>
                </a:rPr>
                <a:t>causation</a:t>
              </a:r>
              <a:r>
                <a:rPr kumimoji="0" lang="de-DE"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a:t>
              </a:r>
            </a:p>
          </p:txBody>
        </p:sp>
      </p:grpSp>
      <p:grpSp>
        <p:nvGrpSpPr>
          <p:cNvPr id="31" name="Group 96">
            <a:extLst>
              <a:ext uri="{FF2B5EF4-FFF2-40B4-BE49-F238E27FC236}">
                <a16:creationId xmlns:a16="http://schemas.microsoft.com/office/drawing/2014/main" id="{6B554B19-A3B3-45FC-B3FE-D63B2846D8F7}"/>
              </a:ext>
            </a:extLst>
          </p:cNvPr>
          <p:cNvGrpSpPr/>
          <p:nvPr/>
        </p:nvGrpSpPr>
        <p:grpSpPr>
          <a:xfrm>
            <a:off x="5972635" y="5140107"/>
            <a:ext cx="3832878" cy="607458"/>
            <a:chOff x="15602870" y="10747797"/>
            <a:chExt cx="7665756" cy="1214915"/>
          </a:xfrm>
        </p:grpSpPr>
        <p:sp>
          <p:nvSpPr>
            <p:cNvPr id="32" name="Oval 97">
              <a:extLst>
                <a:ext uri="{FF2B5EF4-FFF2-40B4-BE49-F238E27FC236}">
                  <a16:creationId xmlns:a16="http://schemas.microsoft.com/office/drawing/2014/main" id="{50E37478-D3DB-4E92-B4DD-E7BF170D90CD}"/>
                </a:ext>
              </a:extLst>
            </p:cNvPr>
            <p:cNvSpPr>
              <a:spLocks noChangeAspect="1"/>
            </p:cNvSpPr>
            <p:nvPr/>
          </p:nvSpPr>
          <p:spPr>
            <a:xfrm>
              <a:off x="15602870" y="10747797"/>
              <a:ext cx="1250723" cy="1214915"/>
            </a:xfrm>
            <a:prstGeom prst="ellipse">
              <a:avLst/>
            </a:prstGeom>
            <a:solidFill>
              <a:srgbClr val="98121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0" i="0" u="none" strike="noStrike" kern="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33" name="Group 98">
              <a:extLst>
                <a:ext uri="{FF2B5EF4-FFF2-40B4-BE49-F238E27FC236}">
                  <a16:creationId xmlns:a16="http://schemas.microsoft.com/office/drawing/2014/main" id="{F67D2DFD-893D-4124-B236-586B2C39B829}"/>
                </a:ext>
              </a:extLst>
            </p:cNvPr>
            <p:cNvGrpSpPr/>
            <p:nvPr/>
          </p:nvGrpSpPr>
          <p:grpSpPr>
            <a:xfrm>
              <a:off x="15971306" y="11025054"/>
              <a:ext cx="485775" cy="660400"/>
              <a:chOff x="12746038" y="9359900"/>
              <a:chExt cx="485775" cy="660400"/>
            </a:xfrm>
            <a:solidFill>
              <a:sysClr val="window" lastClr="FFFFFF"/>
            </a:solidFill>
          </p:grpSpPr>
          <p:sp>
            <p:nvSpPr>
              <p:cNvPr id="35" name="Freeform 38">
                <a:extLst>
                  <a:ext uri="{FF2B5EF4-FFF2-40B4-BE49-F238E27FC236}">
                    <a16:creationId xmlns:a16="http://schemas.microsoft.com/office/drawing/2014/main" id="{13DA9C24-90A5-4B4E-8103-FC5B07ED032E}"/>
                  </a:ext>
                </a:extLst>
              </p:cNvPr>
              <p:cNvSpPr>
                <a:spLocks/>
              </p:cNvSpPr>
              <p:nvPr/>
            </p:nvSpPr>
            <p:spPr bwMode="auto">
              <a:xfrm>
                <a:off x="12753976" y="9798050"/>
                <a:ext cx="214313" cy="222250"/>
              </a:xfrm>
              <a:custGeom>
                <a:avLst/>
                <a:gdLst>
                  <a:gd name="T0" fmla="*/ 54 w 57"/>
                  <a:gd name="T1" fmla="*/ 15 h 59"/>
                  <a:gd name="T2" fmla="*/ 49 w 57"/>
                  <a:gd name="T3" fmla="*/ 17 h 59"/>
                  <a:gd name="T4" fmla="*/ 38 w 57"/>
                  <a:gd name="T5" fmla="*/ 48 h 59"/>
                  <a:gd name="T6" fmla="*/ 28 w 57"/>
                  <a:gd name="T7" fmla="*/ 36 h 59"/>
                  <a:gd name="T8" fmla="*/ 25 w 57"/>
                  <a:gd name="T9" fmla="*/ 35 h 59"/>
                  <a:gd name="T10" fmla="*/ 10 w 57"/>
                  <a:gd name="T11" fmla="*/ 38 h 59"/>
                  <a:gd name="T12" fmla="*/ 22 w 57"/>
                  <a:gd name="T13" fmla="*/ 5 h 59"/>
                  <a:gd name="T14" fmla="*/ 19 w 57"/>
                  <a:gd name="T15" fmla="*/ 0 h 59"/>
                  <a:gd name="T16" fmla="*/ 14 w 57"/>
                  <a:gd name="T17" fmla="*/ 3 h 59"/>
                  <a:gd name="T18" fmla="*/ 0 w 57"/>
                  <a:gd name="T19" fmla="*/ 41 h 59"/>
                  <a:gd name="T20" fmla="*/ 1 w 57"/>
                  <a:gd name="T21" fmla="*/ 45 h 59"/>
                  <a:gd name="T22" fmla="*/ 5 w 57"/>
                  <a:gd name="T23" fmla="*/ 46 h 59"/>
                  <a:gd name="T24" fmla="*/ 24 w 57"/>
                  <a:gd name="T25" fmla="*/ 43 h 59"/>
                  <a:gd name="T26" fmla="*/ 36 w 57"/>
                  <a:gd name="T27" fmla="*/ 58 h 59"/>
                  <a:gd name="T28" fmla="*/ 39 w 57"/>
                  <a:gd name="T29" fmla="*/ 59 h 59"/>
                  <a:gd name="T30" fmla="*/ 40 w 57"/>
                  <a:gd name="T31" fmla="*/ 59 h 59"/>
                  <a:gd name="T32" fmla="*/ 43 w 57"/>
                  <a:gd name="T33" fmla="*/ 57 h 59"/>
                  <a:gd name="T34" fmla="*/ 56 w 57"/>
                  <a:gd name="T35" fmla="*/ 20 h 59"/>
                  <a:gd name="T36" fmla="*/ 54 w 57"/>
                  <a:gd name="T3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54" y="15"/>
                    </a:moveTo>
                    <a:cubicBezTo>
                      <a:pt x="52" y="14"/>
                      <a:pt x="50" y="15"/>
                      <a:pt x="49" y="17"/>
                    </a:cubicBezTo>
                    <a:cubicBezTo>
                      <a:pt x="38" y="48"/>
                      <a:pt x="38" y="48"/>
                      <a:pt x="38" y="48"/>
                    </a:cubicBezTo>
                    <a:cubicBezTo>
                      <a:pt x="28" y="36"/>
                      <a:pt x="28" y="36"/>
                      <a:pt x="28" y="36"/>
                    </a:cubicBezTo>
                    <a:cubicBezTo>
                      <a:pt x="27" y="35"/>
                      <a:pt x="26" y="35"/>
                      <a:pt x="25" y="35"/>
                    </a:cubicBezTo>
                    <a:cubicBezTo>
                      <a:pt x="10" y="38"/>
                      <a:pt x="10" y="38"/>
                      <a:pt x="10" y="38"/>
                    </a:cubicBezTo>
                    <a:cubicBezTo>
                      <a:pt x="22" y="5"/>
                      <a:pt x="22" y="5"/>
                      <a:pt x="22" y="5"/>
                    </a:cubicBezTo>
                    <a:cubicBezTo>
                      <a:pt x="22" y="3"/>
                      <a:pt x="21" y="1"/>
                      <a:pt x="19" y="0"/>
                    </a:cubicBezTo>
                    <a:cubicBezTo>
                      <a:pt x="17" y="0"/>
                      <a:pt x="15" y="1"/>
                      <a:pt x="14" y="3"/>
                    </a:cubicBezTo>
                    <a:cubicBezTo>
                      <a:pt x="0" y="41"/>
                      <a:pt x="0" y="41"/>
                      <a:pt x="0" y="41"/>
                    </a:cubicBezTo>
                    <a:cubicBezTo>
                      <a:pt x="0" y="43"/>
                      <a:pt x="0" y="44"/>
                      <a:pt x="1" y="45"/>
                    </a:cubicBezTo>
                    <a:cubicBezTo>
                      <a:pt x="2" y="46"/>
                      <a:pt x="3" y="47"/>
                      <a:pt x="5" y="46"/>
                    </a:cubicBezTo>
                    <a:cubicBezTo>
                      <a:pt x="24" y="43"/>
                      <a:pt x="24" y="43"/>
                      <a:pt x="24" y="43"/>
                    </a:cubicBezTo>
                    <a:cubicBezTo>
                      <a:pt x="36" y="58"/>
                      <a:pt x="36" y="58"/>
                      <a:pt x="36" y="58"/>
                    </a:cubicBezTo>
                    <a:cubicBezTo>
                      <a:pt x="37" y="59"/>
                      <a:pt x="38" y="59"/>
                      <a:pt x="39" y="59"/>
                    </a:cubicBezTo>
                    <a:cubicBezTo>
                      <a:pt x="39" y="59"/>
                      <a:pt x="39" y="59"/>
                      <a:pt x="40" y="59"/>
                    </a:cubicBezTo>
                    <a:cubicBezTo>
                      <a:pt x="41" y="59"/>
                      <a:pt x="42" y="58"/>
                      <a:pt x="43" y="57"/>
                    </a:cubicBezTo>
                    <a:cubicBezTo>
                      <a:pt x="56" y="20"/>
                      <a:pt x="56" y="20"/>
                      <a:pt x="56" y="20"/>
                    </a:cubicBezTo>
                    <a:cubicBezTo>
                      <a:pt x="57" y="18"/>
                      <a:pt x="56" y="16"/>
                      <a:pt x="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Freeform 39">
                <a:extLst>
                  <a:ext uri="{FF2B5EF4-FFF2-40B4-BE49-F238E27FC236}">
                    <a16:creationId xmlns:a16="http://schemas.microsoft.com/office/drawing/2014/main" id="{724094B4-BDFB-4D4A-8169-C2EB81376ABE}"/>
                  </a:ext>
                </a:extLst>
              </p:cNvPr>
              <p:cNvSpPr>
                <a:spLocks/>
              </p:cNvSpPr>
              <p:nvPr/>
            </p:nvSpPr>
            <p:spPr bwMode="auto">
              <a:xfrm>
                <a:off x="13009563" y="9798050"/>
                <a:ext cx="214313" cy="222250"/>
              </a:xfrm>
              <a:custGeom>
                <a:avLst/>
                <a:gdLst>
                  <a:gd name="T0" fmla="*/ 42 w 57"/>
                  <a:gd name="T1" fmla="*/ 3 h 59"/>
                  <a:gd name="T2" fmla="*/ 37 w 57"/>
                  <a:gd name="T3" fmla="*/ 0 h 59"/>
                  <a:gd name="T4" fmla="*/ 35 w 57"/>
                  <a:gd name="T5" fmla="*/ 5 h 59"/>
                  <a:gd name="T6" fmla="*/ 47 w 57"/>
                  <a:gd name="T7" fmla="*/ 38 h 59"/>
                  <a:gd name="T8" fmla="*/ 32 w 57"/>
                  <a:gd name="T9" fmla="*/ 35 h 59"/>
                  <a:gd name="T10" fmla="*/ 29 w 57"/>
                  <a:gd name="T11" fmla="*/ 36 h 59"/>
                  <a:gd name="T12" fmla="*/ 19 w 57"/>
                  <a:gd name="T13" fmla="*/ 48 h 59"/>
                  <a:gd name="T14" fmla="*/ 8 w 57"/>
                  <a:gd name="T15" fmla="*/ 17 h 59"/>
                  <a:gd name="T16" fmla="*/ 3 w 57"/>
                  <a:gd name="T17" fmla="*/ 15 h 59"/>
                  <a:gd name="T18" fmla="*/ 1 w 57"/>
                  <a:gd name="T19" fmla="*/ 20 h 59"/>
                  <a:gd name="T20" fmla="*/ 14 w 57"/>
                  <a:gd name="T21" fmla="*/ 57 h 59"/>
                  <a:gd name="T22" fmla="*/ 17 w 57"/>
                  <a:gd name="T23" fmla="*/ 59 h 59"/>
                  <a:gd name="T24" fmla="*/ 18 w 57"/>
                  <a:gd name="T25" fmla="*/ 59 h 59"/>
                  <a:gd name="T26" fmla="*/ 21 w 57"/>
                  <a:gd name="T27" fmla="*/ 58 h 59"/>
                  <a:gd name="T28" fmla="*/ 33 w 57"/>
                  <a:gd name="T29" fmla="*/ 43 h 59"/>
                  <a:gd name="T30" fmla="*/ 52 w 57"/>
                  <a:gd name="T31" fmla="*/ 46 h 59"/>
                  <a:gd name="T32" fmla="*/ 56 w 57"/>
                  <a:gd name="T33" fmla="*/ 45 h 59"/>
                  <a:gd name="T34" fmla="*/ 56 w 57"/>
                  <a:gd name="T35" fmla="*/ 41 h 59"/>
                  <a:gd name="T36" fmla="*/ 42 w 57"/>
                  <a:gd name="T3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9">
                    <a:moveTo>
                      <a:pt x="42" y="3"/>
                    </a:moveTo>
                    <a:cubicBezTo>
                      <a:pt x="42" y="1"/>
                      <a:pt x="39" y="0"/>
                      <a:pt x="37" y="0"/>
                    </a:cubicBezTo>
                    <a:cubicBezTo>
                      <a:pt x="36" y="1"/>
                      <a:pt x="35" y="3"/>
                      <a:pt x="35" y="5"/>
                    </a:cubicBezTo>
                    <a:cubicBezTo>
                      <a:pt x="47" y="38"/>
                      <a:pt x="47" y="38"/>
                      <a:pt x="47" y="38"/>
                    </a:cubicBezTo>
                    <a:cubicBezTo>
                      <a:pt x="32" y="35"/>
                      <a:pt x="32" y="35"/>
                      <a:pt x="32" y="35"/>
                    </a:cubicBezTo>
                    <a:cubicBezTo>
                      <a:pt x="31" y="35"/>
                      <a:pt x="30" y="35"/>
                      <a:pt x="29" y="36"/>
                    </a:cubicBezTo>
                    <a:cubicBezTo>
                      <a:pt x="19" y="48"/>
                      <a:pt x="19" y="48"/>
                      <a:pt x="19" y="48"/>
                    </a:cubicBezTo>
                    <a:cubicBezTo>
                      <a:pt x="8" y="17"/>
                      <a:pt x="8" y="17"/>
                      <a:pt x="8" y="17"/>
                    </a:cubicBezTo>
                    <a:cubicBezTo>
                      <a:pt x="7" y="15"/>
                      <a:pt x="5" y="14"/>
                      <a:pt x="3" y="15"/>
                    </a:cubicBezTo>
                    <a:cubicBezTo>
                      <a:pt x="1" y="16"/>
                      <a:pt x="0" y="18"/>
                      <a:pt x="1" y="20"/>
                    </a:cubicBezTo>
                    <a:cubicBezTo>
                      <a:pt x="14" y="57"/>
                      <a:pt x="14" y="57"/>
                      <a:pt x="14" y="57"/>
                    </a:cubicBezTo>
                    <a:cubicBezTo>
                      <a:pt x="15" y="58"/>
                      <a:pt x="16" y="59"/>
                      <a:pt x="17" y="59"/>
                    </a:cubicBezTo>
                    <a:cubicBezTo>
                      <a:pt x="17" y="59"/>
                      <a:pt x="18" y="59"/>
                      <a:pt x="18" y="59"/>
                    </a:cubicBezTo>
                    <a:cubicBezTo>
                      <a:pt x="19" y="59"/>
                      <a:pt x="20" y="59"/>
                      <a:pt x="21" y="58"/>
                    </a:cubicBezTo>
                    <a:cubicBezTo>
                      <a:pt x="33" y="43"/>
                      <a:pt x="33" y="43"/>
                      <a:pt x="33" y="43"/>
                    </a:cubicBezTo>
                    <a:cubicBezTo>
                      <a:pt x="52" y="46"/>
                      <a:pt x="52" y="46"/>
                      <a:pt x="52" y="46"/>
                    </a:cubicBezTo>
                    <a:cubicBezTo>
                      <a:pt x="54" y="47"/>
                      <a:pt x="55" y="46"/>
                      <a:pt x="56" y="45"/>
                    </a:cubicBezTo>
                    <a:cubicBezTo>
                      <a:pt x="57" y="44"/>
                      <a:pt x="57" y="43"/>
                      <a:pt x="56" y="41"/>
                    </a:cubicBez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Freeform 40">
                <a:extLst>
                  <a:ext uri="{FF2B5EF4-FFF2-40B4-BE49-F238E27FC236}">
                    <a16:creationId xmlns:a16="http://schemas.microsoft.com/office/drawing/2014/main" id="{B18A4C3C-D61A-4B32-AEEA-DBFB95A232A4}"/>
                  </a:ext>
                </a:extLst>
              </p:cNvPr>
              <p:cNvSpPr>
                <a:spLocks noEditPoints="1"/>
              </p:cNvSpPr>
              <p:nvPr/>
            </p:nvSpPr>
            <p:spPr bwMode="auto">
              <a:xfrm>
                <a:off x="12746038" y="9359900"/>
                <a:ext cx="485775" cy="484188"/>
              </a:xfrm>
              <a:custGeom>
                <a:avLst/>
                <a:gdLst>
                  <a:gd name="T0" fmla="*/ 128 w 129"/>
                  <a:gd name="T1" fmla="*/ 50 h 129"/>
                  <a:gd name="T2" fmla="*/ 127 w 129"/>
                  <a:gd name="T3" fmla="*/ 45 h 129"/>
                  <a:gd name="T4" fmla="*/ 112 w 129"/>
                  <a:gd name="T5" fmla="*/ 20 h 129"/>
                  <a:gd name="T6" fmla="*/ 92 w 129"/>
                  <a:gd name="T7" fmla="*/ 16 h 129"/>
                  <a:gd name="T8" fmla="*/ 82 w 129"/>
                  <a:gd name="T9" fmla="*/ 0 h 129"/>
                  <a:gd name="T10" fmla="*/ 64 w 129"/>
                  <a:gd name="T11" fmla="*/ 9 h 129"/>
                  <a:gd name="T12" fmla="*/ 47 w 129"/>
                  <a:gd name="T13" fmla="*/ 0 h 129"/>
                  <a:gd name="T14" fmla="*/ 36 w 129"/>
                  <a:gd name="T15" fmla="*/ 16 h 129"/>
                  <a:gd name="T16" fmla="*/ 16 w 129"/>
                  <a:gd name="T17" fmla="*/ 20 h 129"/>
                  <a:gd name="T18" fmla="*/ 2 w 129"/>
                  <a:gd name="T19" fmla="*/ 45 h 129"/>
                  <a:gd name="T20" fmla="*/ 0 w 129"/>
                  <a:gd name="T21" fmla="*/ 50 h 129"/>
                  <a:gd name="T22" fmla="*/ 0 w 129"/>
                  <a:gd name="T23" fmla="*/ 79 h 129"/>
                  <a:gd name="T24" fmla="*/ 2 w 129"/>
                  <a:gd name="T25" fmla="*/ 84 h 129"/>
                  <a:gd name="T26" fmla="*/ 16 w 129"/>
                  <a:gd name="T27" fmla="*/ 109 h 129"/>
                  <a:gd name="T28" fmla="*/ 36 w 129"/>
                  <a:gd name="T29" fmla="*/ 112 h 129"/>
                  <a:gd name="T30" fmla="*/ 47 w 129"/>
                  <a:gd name="T31" fmla="*/ 129 h 129"/>
                  <a:gd name="T32" fmla="*/ 64 w 129"/>
                  <a:gd name="T33" fmla="*/ 120 h 129"/>
                  <a:gd name="T34" fmla="*/ 81 w 129"/>
                  <a:gd name="T35" fmla="*/ 129 h 129"/>
                  <a:gd name="T36" fmla="*/ 84 w 129"/>
                  <a:gd name="T37" fmla="*/ 127 h 129"/>
                  <a:gd name="T38" fmla="*/ 109 w 129"/>
                  <a:gd name="T39" fmla="*/ 112 h 129"/>
                  <a:gd name="T40" fmla="*/ 112 w 129"/>
                  <a:gd name="T41" fmla="*/ 92 h 129"/>
                  <a:gd name="T42" fmla="*/ 129 w 129"/>
                  <a:gd name="T43" fmla="*/ 82 h 129"/>
                  <a:gd name="T44" fmla="*/ 120 w 129"/>
                  <a:gd name="T45" fmla="*/ 64 h 129"/>
                  <a:gd name="T46" fmla="*/ 120 w 129"/>
                  <a:gd name="T47" fmla="*/ 79 h 129"/>
                  <a:gd name="T48" fmla="*/ 105 w 129"/>
                  <a:gd name="T49" fmla="*/ 90 h 129"/>
                  <a:gd name="T50" fmla="*/ 90 w 129"/>
                  <a:gd name="T51" fmla="*/ 105 h 129"/>
                  <a:gd name="T52" fmla="*/ 79 w 129"/>
                  <a:gd name="T53" fmla="*/ 120 h 129"/>
                  <a:gd name="T54" fmla="*/ 64 w 129"/>
                  <a:gd name="T55" fmla="*/ 112 h 129"/>
                  <a:gd name="T56" fmla="*/ 49 w 129"/>
                  <a:gd name="T57" fmla="*/ 120 h 129"/>
                  <a:gd name="T58" fmla="*/ 39 w 129"/>
                  <a:gd name="T59" fmla="*/ 105 h 129"/>
                  <a:gd name="T60" fmla="*/ 24 w 129"/>
                  <a:gd name="T61" fmla="*/ 90 h 129"/>
                  <a:gd name="T62" fmla="*/ 9 w 129"/>
                  <a:gd name="T63" fmla="*/ 79 h 129"/>
                  <a:gd name="T64" fmla="*/ 16 w 129"/>
                  <a:gd name="T65" fmla="*/ 62 h 129"/>
                  <a:gd name="T66" fmla="*/ 22 w 129"/>
                  <a:gd name="T67" fmla="*/ 42 h 129"/>
                  <a:gd name="T68" fmla="*/ 24 w 129"/>
                  <a:gd name="T69" fmla="*/ 24 h 129"/>
                  <a:gd name="T70" fmla="*/ 42 w 129"/>
                  <a:gd name="T71" fmla="*/ 22 h 129"/>
                  <a:gd name="T72" fmla="*/ 62 w 129"/>
                  <a:gd name="T73" fmla="*/ 16 h 129"/>
                  <a:gd name="T74" fmla="*/ 79 w 129"/>
                  <a:gd name="T75" fmla="*/ 9 h 129"/>
                  <a:gd name="T76" fmla="*/ 90 w 129"/>
                  <a:gd name="T77" fmla="*/ 24 h 129"/>
                  <a:gd name="T78" fmla="*/ 105 w 129"/>
                  <a:gd name="T79" fmla="*/ 39 h 129"/>
                  <a:gd name="T80" fmla="*/ 120 w 129"/>
                  <a:gd name="T81" fmla="*/ 49 h 129"/>
                  <a:gd name="T82" fmla="*/ 112 w 129"/>
                  <a:gd name="T83" fmla="*/ 6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9" h="129">
                    <a:moveTo>
                      <a:pt x="120" y="64"/>
                    </a:moveTo>
                    <a:cubicBezTo>
                      <a:pt x="128" y="50"/>
                      <a:pt x="128" y="50"/>
                      <a:pt x="128" y="50"/>
                    </a:cubicBezTo>
                    <a:cubicBezTo>
                      <a:pt x="129" y="49"/>
                      <a:pt x="129" y="48"/>
                      <a:pt x="129" y="47"/>
                    </a:cubicBezTo>
                    <a:cubicBezTo>
                      <a:pt x="128" y="46"/>
                      <a:pt x="128" y="45"/>
                      <a:pt x="127" y="45"/>
                    </a:cubicBezTo>
                    <a:cubicBezTo>
                      <a:pt x="112" y="36"/>
                      <a:pt x="112" y="36"/>
                      <a:pt x="112" y="36"/>
                    </a:cubicBezTo>
                    <a:cubicBezTo>
                      <a:pt x="112" y="20"/>
                      <a:pt x="112" y="20"/>
                      <a:pt x="112" y="20"/>
                    </a:cubicBezTo>
                    <a:cubicBezTo>
                      <a:pt x="112" y="18"/>
                      <a:pt x="111" y="16"/>
                      <a:pt x="109" y="16"/>
                    </a:cubicBezTo>
                    <a:cubicBezTo>
                      <a:pt x="92" y="16"/>
                      <a:pt x="92" y="16"/>
                      <a:pt x="92" y="16"/>
                    </a:cubicBezTo>
                    <a:cubicBezTo>
                      <a:pt x="84" y="2"/>
                      <a:pt x="84" y="2"/>
                      <a:pt x="84" y="2"/>
                    </a:cubicBezTo>
                    <a:cubicBezTo>
                      <a:pt x="83" y="1"/>
                      <a:pt x="82" y="0"/>
                      <a:pt x="82" y="0"/>
                    </a:cubicBezTo>
                    <a:cubicBezTo>
                      <a:pt x="81" y="0"/>
                      <a:pt x="80" y="0"/>
                      <a:pt x="79" y="0"/>
                    </a:cubicBezTo>
                    <a:cubicBezTo>
                      <a:pt x="64" y="9"/>
                      <a:pt x="64" y="9"/>
                      <a:pt x="64" y="9"/>
                    </a:cubicBezTo>
                    <a:cubicBezTo>
                      <a:pt x="50" y="0"/>
                      <a:pt x="50" y="0"/>
                      <a:pt x="50" y="0"/>
                    </a:cubicBezTo>
                    <a:cubicBezTo>
                      <a:pt x="49" y="0"/>
                      <a:pt x="48" y="0"/>
                      <a:pt x="47" y="0"/>
                    </a:cubicBezTo>
                    <a:cubicBezTo>
                      <a:pt x="46" y="0"/>
                      <a:pt x="45" y="1"/>
                      <a:pt x="45" y="2"/>
                    </a:cubicBezTo>
                    <a:cubicBezTo>
                      <a:pt x="36" y="16"/>
                      <a:pt x="36" y="16"/>
                      <a:pt x="36" y="16"/>
                    </a:cubicBezTo>
                    <a:cubicBezTo>
                      <a:pt x="20" y="16"/>
                      <a:pt x="20" y="16"/>
                      <a:pt x="20" y="16"/>
                    </a:cubicBezTo>
                    <a:cubicBezTo>
                      <a:pt x="18" y="16"/>
                      <a:pt x="16" y="18"/>
                      <a:pt x="16" y="20"/>
                    </a:cubicBezTo>
                    <a:cubicBezTo>
                      <a:pt x="16" y="36"/>
                      <a:pt x="16" y="36"/>
                      <a:pt x="16" y="36"/>
                    </a:cubicBezTo>
                    <a:cubicBezTo>
                      <a:pt x="2" y="45"/>
                      <a:pt x="2" y="45"/>
                      <a:pt x="2" y="45"/>
                    </a:cubicBezTo>
                    <a:cubicBezTo>
                      <a:pt x="1" y="45"/>
                      <a:pt x="0" y="46"/>
                      <a:pt x="0" y="47"/>
                    </a:cubicBezTo>
                    <a:cubicBezTo>
                      <a:pt x="0" y="48"/>
                      <a:pt x="0" y="49"/>
                      <a:pt x="0" y="50"/>
                    </a:cubicBezTo>
                    <a:cubicBezTo>
                      <a:pt x="9" y="64"/>
                      <a:pt x="9" y="64"/>
                      <a:pt x="9" y="64"/>
                    </a:cubicBezTo>
                    <a:cubicBezTo>
                      <a:pt x="0" y="79"/>
                      <a:pt x="0" y="79"/>
                      <a:pt x="0" y="79"/>
                    </a:cubicBezTo>
                    <a:cubicBezTo>
                      <a:pt x="0" y="80"/>
                      <a:pt x="0" y="81"/>
                      <a:pt x="0" y="82"/>
                    </a:cubicBezTo>
                    <a:cubicBezTo>
                      <a:pt x="0" y="82"/>
                      <a:pt x="1" y="83"/>
                      <a:pt x="2" y="84"/>
                    </a:cubicBezTo>
                    <a:cubicBezTo>
                      <a:pt x="16" y="92"/>
                      <a:pt x="16" y="92"/>
                      <a:pt x="16" y="92"/>
                    </a:cubicBezTo>
                    <a:cubicBezTo>
                      <a:pt x="16" y="109"/>
                      <a:pt x="16" y="109"/>
                      <a:pt x="16" y="109"/>
                    </a:cubicBezTo>
                    <a:cubicBezTo>
                      <a:pt x="16" y="111"/>
                      <a:pt x="18" y="112"/>
                      <a:pt x="20" y="112"/>
                    </a:cubicBezTo>
                    <a:cubicBezTo>
                      <a:pt x="36" y="112"/>
                      <a:pt x="36" y="112"/>
                      <a:pt x="36" y="112"/>
                    </a:cubicBezTo>
                    <a:cubicBezTo>
                      <a:pt x="45" y="127"/>
                      <a:pt x="45" y="127"/>
                      <a:pt x="45" y="127"/>
                    </a:cubicBezTo>
                    <a:cubicBezTo>
                      <a:pt x="45" y="128"/>
                      <a:pt x="46" y="128"/>
                      <a:pt x="47" y="129"/>
                    </a:cubicBezTo>
                    <a:cubicBezTo>
                      <a:pt x="48" y="129"/>
                      <a:pt x="49" y="129"/>
                      <a:pt x="50" y="128"/>
                    </a:cubicBezTo>
                    <a:cubicBezTo>
                      <a:pt x="64" y="120"/>
                      <a:pt x="64" y="120"/>
                      <a:pt x="64" y="120"/>
                    </a:cubicBezTo>
                    <a:cubicBezTo>
                      <a:pt x="79" y="128"/>
                      <a:pt x="79" y="128"/>
                      <a:pt x="79" y="128"/>
                    </a:cubicBezTo>
                    <a:cubicBezTo>
                      <a:pt x="79" y="129"/>
                      <a:pt x="80" y="129"/>
                      <a:pt x="81" y="129"/>
                    </a:cubicBezTo>
                    <a:cubicBezTo>
                      <a:pt x="81" y="129"/>
                      <a:pt x="81" y="129"/>
                      <a:pt x="82" y="129"/>
                    </a:cubicBezTo>
                    <a:cubicBezTo>
                      <a:pt x="82" y="128"/>
                      <a:pt x="83" y="128"/>
                      <a:pt x="84" y="127"/>
                    </a:cubicBezTo>
                    <a:cubicBezTo>
                      <a:pt x="92" y="112"/>
                      <a:pt x="92" y="112"/>
                      <a:pt x="92" y="112"/>
                    </a:cubicBezTo>
                    <a:cubicBezTo>
                      <a:pt x="109" y="112"/>
                      <a:pt x="109" y="112"/>
                      <a:pt x="109" y="112"/>
                    </a:cubicBezTo>
                    <a:cubicBezTo>
                      <a:pt x="111" y="112"/>
                      <a:pt x="112" y="111"/>
                      <a:pt x="112" y="109"/>
                    </a:cubicBezTo>
                    <a:cubicBezTo>
                      <a:pt x="112" y="92"/>
                      <a:pt x="112" y="92"/>
                      <a:pt x="112" y="92"/>
                    </a:cubicBezTo>
                    <a:cubicBezTo>
                      <a:pt x="127" y="84"/>
                      <a:pt x="127" y="84"/>
                      <a:pt x="127" y="84"/>
                    </a:cubicBezTo>
                    <a:cubicBezTo>
                      <a:pt x="128" y="83"/>
                      <a:pt x="128" y="82"/>
                      <a:pt x="129" y="82"/>
                    </a:cubicBezTo>
                    <a:cubicBezTo>
                      <a:pt x="129" y="81"/>
                      <a:pt x="129" y="80"/>
                      <a:pt x="128" y="79"/>
                    </a:cubicBezTo>
                    <a:lnTo>
                      <a:pt x="120" y="64"/>
                    </a:lnTo>
                    <a:close/>
                    <a:moveTo>
                      <a:pt x="112" y="66"/>
                    </a:moveTo>
                    <a:cubicBezTo>
                      <a:pt x="120" y="79"/>
                      <a:pt x="120" y="79"/>
                      <a:pt x="120" y="79"/>
                    </a:cubicBezTo>
                    <a:cubicBezTo>
                      <a:pt x="107" y="87"/>
                      <a:pt x="107" y="87"/>
                      <a:pt x="107" y="87"/>
                    </a:cubicBezTo>
                    <a:cubicBezTo>
                      <a:pt x="106" y="87"/>
                      <a:pt x="105" y="89"/>
                      <a:pt x="105" y="90"/>
                    </a:cubicBezTo>
                    <a:cubicBezTo>
                      <a:pt x="105" y="105"/>
                      <a:pt x="105" y="105"/>
                      <a:pt x="105" y="105"/>
                    </a:cubicBezTo>
                    <a:cubicBezTo>
                      <a:pt x="90" y="105"/>
                      <a:pt x="90" y="105"/>
                      <a:pt x="90" y="105"/>
                    </a:cubicBezTo>
                    <a:cubicBezTo>
                      <a:pt x="89" y="105"/>
                      <a:pt x="87" y="106"/>
                      <a:pt x="87" y="107"/>
                    </a:cubicBezTo>
                    <a:cubicBezTo>
                      <a:pt x="79" y="120"/>
                      <a:pt x="79" y="120"/>
                      <a:pt x="79" y="120"/>
                    </a:cubicBezTo>
                    <a:cubicBezTo>
                      <a:pt x="66" y="112"/>
                      <a:pt x="66" y="112"/>
                      <a:pt x="66" y="112"/>
                    </a:cubicBezTo>
                    <a:cubicBezTo>
                      <a:pt x="66" y="112"/>
                      <a:pt x="65" y="112"/>
                      <a:pt x="64" y="112"/>
                    </a:cubicBezTo>
                    <a:cubicBezTo>
                      <a:pt x="64" y="112"/>
                      <a:pt x="63" y="112"/>
                      <a:pt x="62" y="112"/>
                    </a:cubicBezTo>
                    <a:cubicBezTo>
                      <a:pt x="49" y="120"/>
                      <a:pt x="49" y="120"/>
                      <a:pt x="49" y="120"/>
                    </a:cubicBezTo>
                    <a:cubicBezTo>
                      <a:pt x="42" y="107"/>
                      <a:pt x="42" y="107"/>
                      <a:pt x="42" y="107"/>
                    </a:cubicBezTo>
                    <a:cubicBezTo>
                      <a:pt x="41" y="106"/>
                      <a:pt x="40" y="105"/>
                      <a:pt x="39" y="105"/>
                    </a:cubicBezTo>
                    <a:cubicBezTo>
                      <a:pt x="24" y="105"/>
                      <a:pt x="24" y="105"/>
                      <a:pt x="24" y="105"/>
                    </a:cubicBezTo>
                    <a:cubicBezTo>
                      <a:pt x="24" y="90"/>
                      <a:pt x="24" y="90"/>
                      <a:pt x="24" y="90"/>
                    </a:cubicBezTo>
                    <a:cubicBezTo>
                      <a:pt x="24" y="89"/>
                      <a:pt x="23" y="87"/>
                      <a:pt x="22" y="87"/>
                    </a:cubicBezTo>
                    <a:cubicBezTo>
                      <a:pt x="9" y="79"/>
                      <a:pt x="9" y="79"/>
                      <a:pt x="9" y="79"/>
                    </a:cubicBezTo>
                    <a:cubicBezTo>
                      <a:pt x="16" y="66"/>
                      <a:pt x="16" y="66"/>
                      <a:pt x="16" y="66"/>
                    </a:cubicBezTo>
                    <a:cubicBezTo>
                      <a:pt x="17" y="65"/>
                      <a:pt x="17" y="64"/>
                      <a:pt x="16" y="62"/>
                    </a:cubicBezTo>
                    <a:cubicBezTo>
                      <a:pt x="9" y="49"/>
                      <a:pt x="9" y="49"/>
                      <a:pt x="9" y="49"/>
                    </a:cubicBezTo>
                    <a:cubicBezTo>
                      <a:pt x="22" y="42"/>
                      <a:pt x="22" y="42"/>
                      <a:pt x="22" y="42"/>
                    </a:cubicBezTo>
                    <a:cubicBezTo>
                      <a:pt x="23" y="41"/>
                      <a:pt x="24" y="40"/>
                      <a:pt x="24" y="39"/>
                    </a:cubicBezTo>
                    <a:cubicBezTo>
                      <a:pt x="24" y="24"/>
                      <a:pt x="24" y="24"/>
                      <a:pt x="24" y="24"/>
                    </a:cubicBezTo>
                    <a:cubicBezTo>
                      <a:pt x="39" y="24"/>
                      <a:pt x="39" y="24"/>
                      <a:pt x="39" y="24"/>
                    </a:cubicBezTo>
                    <a:cubicBezTo>
                      <a:pt x="40" y="24"/>
                      <a:pt x="41" y="23"/>
                      <a:pt x="42" y="22"/>
                    </a:cubicBezTo>
                    <a:cubicBezTo>
                      <a:pt x="49" y="9"/>
                      <a:pt x="49" y="9"/>
                      <a:pt x="49" y="9"/>
                    </a:cubicBezTo>
                    <a:cubicBezTo>
                      <a:pt x="62" y="16"/>
                      <a:pt x="62" y="16"/>
                      <a:pt x="62" y="16"/>
                    </a:cubicBezTo>
                    <a:cubicBezTo>
                      <a:pt x="64" y="17"/>
                      <a:pt x="65" y="17"/>
                      <a:pt x="66" y="16"/>
                    </a:cubicBezTo>
                    <a:cubicBezTo>
                      <a:pt x="79" y="9"/>
                      <a:pt x="79" y="9"/>
                      <a:pt x="79" y="9"/>
                    </a:cubicBezTo>
                    <a:cubicBezTo>
                      <a:pt x="87" y="22"/>
                      <a:pt x="87" y="22"/>
                      <a:pt x="87" y="22"/>
                    </a:cubicBezTo>
                    <a:cubicBezTo>
                      <a:pt x="87" y="23"/>
                      <a:pt x="89" y="24"/>
                      <a:pt x="90" y="24"/>
                    </a:cubicBezTo>
                    <a:cubicBezTo>
                      <a:pt x="105" y="24"/>
                      <a:pt x="105" y="24"/>
                      <a:pt x="105" y="24"/>
                    </a:cubicBezTo>
                    <a:cubicBezTo>
                      <a:pt x="105" y="39"/>
                      <a:pt x="105" y="39"/>
                      <a:pt x="105" y="39"/>
                    </a:cubicBezTo>
                    <a:cubicBezTo>
                      <a:pt x="105" y="40"/>
                      <a:pt x="106" y="41"/>
                      <a:pt x="107" y="42"/>
                    </a:cubicBezTo>
                    <a:cubicBezTo>
                      <a:pt x="120" y="49"/>
                      <a:pt x="120" y="49"/>
                      <a:pt x="120" y="49"/>
                    </a:cubicBezTo>
                    <a:cubicBezTo>
                      <a:pt x="112" y="62"/>
                      <a:pt x="112" y="62"/>
                      <a:pt x="112" y="62"/>
                    </a:cubicBezTo>
                    <a:cubicBezTo>
                      <a:pt x="112" y="64"/>
                      <a:pt x="112" y="65"/>
                      <a:pt x="11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Freeform 41">
                <a:extLst>
                  <a:ext uri="{FF2B5EF4-FFF2-40B4-BE49-F238E27FC236}">
                    <a16:creationId xmlns:a16="http://schemas.microsoft.com/office/drawing/2014/main" id="{43A8108B-34CF-4854-94D7-290AF69B4ADC}"/>
                  </a:ext>
                </a:extLst>
              </p:cNvPr>
              <p:cNvSpPr>
                <a:spLocks noEditPoints="1"/>
              </p:cNvSpPr>
              <p:nvPr/>
            </p:nvSpPr>
            <p:spPr bwMode="auto">
              <a:xfrm>
                <a:off x="12842876" y="9456738"/>
                <a:ext cx="287338" cy="285750"/>
              </a:xfrm>
              <a:custGeom>
                <a:avLst/>
                <a:gdLst>
                  <a:gd name="T0" fmla="*/ 38 w 76"/>
                  <a:gd name="T1" fmla="*/ 0 h 76"/>
                  <a:gd name="T2" fmla="*/ 0 w 76"/>
                  <a:gd name="T3" fmla="*/ 38 h 76"/>
                  <a:gd name="T4" fmla="*/ 38 w 76"/>
                  <a:gd name="T5" fmla="*/ 76 h 76"/>
                  <a:gd name="T6" fmla="*/ 76 w 76"/>
                  <a:gd name="T7" fmla="*/ 38 h 76"/>
                  <a:gd name="T8" fmla="*/ 38 w 76"/>
                  <a:gd name="T9" fmla="*/ 0 h 76"/>
                  <a:gd name="T10" fmla="*/ 38 w 76"/>
                  <a:gd name="T11" fmla="*/ 69 h 76"/>
                  <a:gd name="T12" fmla="*/ 8 w 76"/>
                  <a:gd name="T13" fmla="*/ 38 h 76"/>
                  <a:gd name="T14" fmla="*/ 38 w 76"/>
                  <a:gd name="T15" fmla="*/ 8 h 76"/>
                  <a:gd name="T16" fmla="*/ 69 w 76"/>
                  <a:gd name="T17" fmla="*/ 38 h 76"/>
                  <a:gd name="T18" fmla="*/ 38 w 76"/>
                  <a:gd name="T19" fmla="*/ 6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0"/>
                    </a:moveTo>
                    <a:cubicBezTo>
                      <a:pt x="17" y="0"/>
                      <a:pt x="0" y="17"/>
                      <a:pt x="0" y="38"/>
                    </a:cubicBezTo>
                    <a:cubicBezTo>
                      <a:pt x="0" y="59"/>
                      <a:pt x="17" y="76"/>
                      <a:pt x="38" y="76"/>
                    </a:cubicBezTo>
                    <a:cubicBezTo>
                      <a:pt x="59" y="76"/>
                      <a:pt x="76" y="59"/>
                      <a:pt x="76" y="38"/>
                    </a:cubicBezTo>
                    <a:cubicBezTo>
                      <a:pt x="76" y="17"/>
                      <a:pt x="59" y="0"/>
                      <a:pt x="38" y="0"/>
                    </a:cubicBezTo>
                    <a:close/>
                    <a:moveTo>
                      <a:pt x="38" y="69"/>
                    </a:moveTo>
                    <a:cubicBezTo>
                      <a:pt x="21" y="69"/>
                      <a:pt x="8" y="55"/>
                      <a:pt x="8" y="38"/>
                    </a:cubicBezTo>
                    <a:cubicBezTo>
                      <a:pt x="8" y="21"/>
                      <a:pt x="21" y="8"/>
                      <a:pt x="38" y="8"/>
                    </a:cubicBezTo>
                    <a:cubicBezTo>
                      <a:pt x="55" y="8"/>
                      <a:pt x="69" y="21"/>
                      <a:pt x="69" y="38"/>
                    </a:cubicBezTo>
                    <a:cubicBezTo>
                      <a:pt x="69" y="55"/>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4" name="Text Placeholder 3">
              <a:extLst>
                <a:ext uri="{FF2B5EF4-FFF2-40B4-BE49-F238E27FC236}">
                  <a16:creationId xmlns:a16="http://schemas.microsoft.com/office/drawing/2014/main" id="{B1DFDC53-5C4B-4DEB-8399-4BFA639F9610}"/>
                </a:ext>
              </a:extLst>
            </p:cNvPr>
            <p:cNvSpPr txBox="1">
              <a:spLocks/>
            </p:cNvSpPr>
            <p:nvPr/>
          </p:nvSpPr>
          <p:spPr>
            <a:xfrm>
              <a:off x="17263052" y="10919123"/>
              <a:ext cx="6005574" cy="8617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sing storytelling to help consumers quickly understand and act.</a:t>
              </a:r>
            </a:p>
          </p:txBody>
        </p:sp>
      </p:grpSp>
      <p:sp>
        <p:nvSpPr>
          <p:cNvPr id="39" name="Titel 38">
            <a:extLst>
              <a:ext uri="{FF2B5EF4-FFF2-40B4-BE49-F238E27FC236}">
                <a16:creationId xmlns:a16="http://schemas.microsoft.com/office/drawing/2014/main" id="{299791DC-4EB8-42DE-98E1-47B82A189A08}"/>
              </a:ext>
            </a:extLst>
          </p:cNvPr>
          <p:cNvSpPr>
            <a:spLocks noGrp="1"/>
          </p:cNvSpPr>
          <p:nvPr>
            <p:ph type="title"/>
          </p:nvPr>
        </p:nvSpPr>
        <p:spPr/>
        <p:txBody>
          <a:bodyPr/>
          <a:lstStyle/>
          <a:p>
            <a:r>
              <a:rPr lang="de-DE"/>
              <a:t>Data </a:t>
            </a:r>
            <a:r>
              <a:rPr lang="de-DE" err="1"/>
              <a:t>Literacy</a:t>
            </a:r>
            <a:endParaRPr lang="de-DE"/>
          </a:p>
        </p:txBody>
      </p:sp>
    </p:spTree>
    <p:extLst>
      <p:ext uri="{BB962C8B-B14F-4D97-AF65-F5344CB8AC3E}">
        <p14:creationId xmlns:p14="http://schemas.microsoft.com/office/powerpoint/2010/main" val="88550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941" y="1363740"/>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5499"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941" y="2268632"/>
            <a:ext cx="5065604" cy="1098241"/>
          </a:xfrm>
          <a:prstGeom prst="rect">
            <a:avLst/>
          </a:prstGeom>
        </p:spPr>
        <p:txBody>
          <a:bodyPr vert="horz" wrap="square" lIns="146284" tIns="91427" rIns="146284" bIns="91427"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Dataset</a:t>
            </a:r>
          </a:p>
        </p:txBody>
      </p:sp>
      <p:sp>
        <p:nvSpPr>
          <p:cNvPr id="12" name="Text Placeholder 3">
            <a:extLst>
              <a:ext uri="{FF2B5EF4-FFF2-40B4-BE49-F238E27FC236}">
                <a16:creationId xmlns:a16="http://schemas.microsoft.com/office/drawing/2014/main" id="{EA9C8496-1DAB-47D4-9B99-26F16F3CBCCE}"/>
              </a:ext>
            </a:extLst>
          </p:cNvPr>
          <p:cNvSpPr txBox="1">
            <a:spLocks/>
          </p:cNvSpPr>
          <p:nvPr/>
        </p:nvSpPr>
        <p:spPr>
          <a:xfrm>
            <a:off x="6541754" y="971666"/>
            <a:ext cx="5650246" cy="479041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One Source of Truth</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ross Workspac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Certify</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mote</a:t>
            </a:r>
          </a:p>
          <a:p>
            <a:pPr marL="0" marR="0" lvl="0" indent="0" algn="l" defTabSz="914367" rtl="0" eaLnBrk="1" fontAlgn="auto" latinLnBrk="0" hangingPunct="1">
              <a:lnSpc>
                <a:spcPct val="15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ro or Premium</a:t>
            </a:r>
          </a:p>
        </p:txBody>
      </p:sp>
      <p:pic>
        <p:nvPicPr>
          <p:cNvPr id="16" name="Graphic 15" descr="Lightbulb">
            <a:extLst>
              <a:ext uri="{FF2B5EF4-FFF2-40B4-BE49-F238E27FC236}">
                <a16:creationId xmlns:a16="http://schemas.microsoft.com/office/drawing/2014/main" id="{C009F855-AC1E-48A1-B6AC-FAA337D334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4845776"/>
            <a:ext cx="914400" cy="914400"/>
          </a:xfrm>
          <a:prstGeom prst="rect">
            <a:avLst/>
          </a:prstGeom>
        </p:spPr>
      </p:pic>
      <p:pic>
        <p:nvPicPr>
          <p:cNvPr id="2050" name="Picture 2" descr="Find a shared dataset">
            <a:extLst>
              <a:ext uri="{FF2B5EF4-FFF2-40B4-BE49-F238E27FC236}">
                <a16:creationId xmlns:a16="http://schemas.microsoft.com/office/drawing/2014/main" id="{87091913-7CE7-4039-A675-3679D36894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472" y="3488122"/>
            <a:ext cx="4683931" cy="2335294"/>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Trophy">
            <a:extLst>
              <a:ext uri="{FF2B5EF4-FFF2-40B4-BE49-F238E27FC236}">
                <a16:creationId xmlns:a16="http://schemas.microsoft.com/office/drawing/2014/main" id="{C129D954-3BE2-46A4-A26E-A2CE17456C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143572"/>
            <a:ext cx="914400" cy="914400"/>
          </a:xfrm>
          <a:prstGeom prst="rect">
            <a:avLst/>
          </a:prstGeom>
        </p:spPr>
      </p:pic>
      <p:pic>
        <p:nvPicPr>
          <p:cNvPr id="11" name="Graphic 10" descr="Transfer">
            <a:extLst>
              <a:ext uri="{FF2B5EF4-FFF2-40B4-BE49-F238E27FC236}">
                <a16:creationId xmlns:a16="http://schemas.microsoft.com/office/drawing/2014/main" id="{6687939A-9EA3-4D7F-A965-EDEF10F9C9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27354" y="2059876"/>
            <a:ext cx="914400" cy="914400"/>
          </a:xfrm>
          <a:prstGeom prst="rect">
            <a:avLst/>
          </a:prstGeom>
        </p:spPr>
      </p:pic>
      <p:pic>
        <p:nvPicPr>
          <p:cNvPr id="14" name="Graphic 13" descr="Diploma">
            <a:extLst>
              <a:ext uri="{FF2B5EF4-FFF2-40B4-BE49-F238E27FC236}">
                <a16:creationId xmlns:a16="http://schemas.microsoft.com/office/drawing/2014/main" id="{65279314-AD54-452D-A1ED-688FE91F96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3006576"/>
            <a:ext cx="914400" cy="914400"/>
          </a:xfrm>
          <a:prstGeom prst="rect">
            <a:avLst/>
          </a:prstGeom>
        </p:spPr>
      </p:pic>
      <p:pic>
        <p:nvPicPr>
          <p:cNvPr id="17" name="Graphic 16" descr="Handshake">
            <a:extLst>
              <a:ext uri="{FF2B5EF4-FFF2-40B4-BE49-F238E27FC236}">
                <a16:creationId xmlns:a16="http://schemas.microsoft.com/office/drawing/2014/main" id="{3FCA48E6-D7EE-4993-B507-E6C9A390788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800" y="3957656"/>
            <a:ext cx="914400" cy="914400"/>
          </a:xfrm>
          <a:prstGeom prst="rect">
            <a:avLst/>
          </a:prstGeom>
        </p:spPr>
      </p:pic>
    </p:spTree>
    <p:custDataLst>
      <p:tags r:id="rId1"/>
    </p:custDataLst>
    <p:extLst>
      <p:ext uri="{BB962C8B-B14F-4D97-AF65-F5344CB8AC3E}">
        <p14:creationId xmlns:p14="http://schemas.microsoft.com/office/powerpoint/2010/main" val="3843184696"/>
      </p:ext>
    </p:extLst>
  </p:cSld>
  <p:clrMapOvr>
    <a:masterClrMapping/>
  </p:clrMapOvr>
  <mc:AlternateContent xmlns:mc="http://schemas.openxmlformats.org/markup-compatibility/2006" xmlns:p14="http://schemas.microsoft.com/office/powerpoint/2010/main">
    <mc:Choice Requires="p14">
      <p:transition spd="med" p14:dur="700" advTm="147533">
        <p:fade/>
      </p:transition>
    </mc:Choice>
    <mc:Fallback xmlns="">
      <p:transition spd="med" advTm="14753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500"/>
                                        <p:tgtEl>
                                          <p:spTgt spid="1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xEl>
                                              <p:pRg st="1" end="1"/>
                                            </p:txEl>
                                          </p:spTgt>
                                        </p:tgtEl>
                                        <p:attrNameLst>
                                          <p:attrName>style.visibility</p:attrName>
                                        </p:attrNameLst>
                                      </p:cBhvr>
                                      <p:to>
                                        <p:strVal val="visible"/>
                                      </p:to>
                                    </p:set>
                                    <p:animEffect transition="in" filter="fade">
                                      <p:cBhvr>
                                        <p:cTn id="18" dur="500"/>
                                        <p:tgtEl>
                                          <p:spTgt spid="12">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12">
                                            <p:txEl>
                                              <p:pRg st="2" end="2"/>
                                            </p:txEl>
                                          </p:spTgt>
                                        </p:tgtEl>
                                        <p:attrNameLst>
                                          <p:attrName>style.visibility</p:attrName>
                                        </p:attrNameLst>
                                      </p:cBhvr>
                                      <p:to>
                                        <p:strVal val="visible"/>
                                      </p:to>
                                    </p:set>
                                    <p:animEffect transition="in" filter="fade">
                                      <p:cBhvr>
                                        <p:cTn id="26" dur="500"/>
                                        <p:tgtEl>
                                          <p:spTgt spid="12">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xEl>
                                              <p:pRg st="3" end="3"/>
                                            </p:txEl>
                                          </p:spTgt>
                                        </p:tgtEl>
                                        <p:attrNameLst>
                                          <p:attrName>style.visibility</p:attrName>
                                        </p:attrNameLst>
                                      </p:cBhvr>
                                      <p:to>
                                        <p:strVal val="visible"/>
                                      </p:to>
                                    </p:set>
                                    <p:animEffect transition="in" filter="fade">
                                      <p:cBhvr>
                                        <p:cTn id="32" dur="500"/>
                                        <p:tgtEl>
                                          <p:spTgt spid="12">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nodeType="withEffect">
                                  <p:stCondLst>
                                    <p:cond delay="0"/>
                                  </p:stCondLst>
                                  <p:childTnLst>
                                    <p:set>
                                      <p:cBhvr>
                                        <p:cTn id="39" dur="1" fill="hold">
                                          <p:stCondLst>
                                            <p:cond delay="0"/>
                                          </p:stCondLst>
                                        </p:cTn>
                                        <p:tgtEl>
                                          <p:spTgt spid="12">
                                            <p:txEl>
                                              <p:pRg st="4" end="4"/>
                                            </p:txEl>
                                          </p:spTgt>
                                        </p:tgtEl>
                                        <p:attrNameLst>
                                          <p:attrName>style.visibility</p:attrName>
                                        </p:attrNameLst>
                                      </p:cBhvr>
                                      <p:to>
                                        <p:strVal val="visible"/>
                                      </p:to>
                                    </p:set>
                                    <p:animEffect transition="in" filter="fade">
                                      <p:cBhvr>
                                        <p:cTn id="40"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984" y="4253132"/>
            <a:ext cx="3771429" cy="1933333"/>
          </a:xfrm>
          <a:prstGeom prst="rect">
            <a:avLst/>
          </a:prstGeom>
          <a:ln>
            <a:noFill/>
          </a:ln>
          <a:effectLst>
            <a:outerShdw blurRad="190500" algn="tl" rotWithShape="0">
              <a:srgbClr val="000000">
                <a:alpha val="70000"/>
              </a:srgbClr>
            </a:outerShdw>
          </a:effectLst>
        </p:spPr>
      </p:pic>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ublic</a:t>
            </a:r>
          </a:p>
        </p:txBody>
      </p:sp>
      <p:sp>
        <p:nvSpPr>
          <p:cNvPr id="9" name="Text Placeholder 3">
            <a:extLst>
              <a:ext uri="{FF2B5EF4-FFF2-40B4-BE49-F238E27FC236}">
                <a16:creationId xmlns:a16="http://schemas.microsoft.com/office/drawing/2014/main" id="{9FCBEDFB-6955-4389-B62A-44034D968745}"/>
              </a:ext>
            </a:extLst>
          </p:cNvPr>
          <p:cNvSpPr txBox="1">
            <a:spLocks/>
          </p:cNvSpPr>
          <p:nvPr/>
        </p:nvSpPr>
        <p:spPr>
          <a:xfrm>
            <a:off x="6556549" y="1417892"/>
            <a:ext cx="5650246" cy="3841052"/>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Publicly available</a:t>
            </a:r>
            <a:endParaRPr kumimoji="0" lang="en-GB" sz="3600" b="0" i="0" u="none" strike="noStrike" kern="1200" cap="none" spc="0" normalizeH="0" baseline="0" noProof="0">
              <a:ln>
                <a:noFill/>
              </a:ln>
              <a:solidFill>
                <a:srgbClr val="EDC30D"/>
              </a:solidFill>
              <a:effectLst/>
              <a:uLnTx/>
              <a:uFillTx/>
              <a:latin typeface="Segoe UI Light"/>
              <a:ea typeface="+mn-ea"/>
              <a:cs typeface="+mn-cs"/>
            </a:endParaRP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mbed on Websites</a:t>
            </a:r>
          </a:p>
          <a:p>
            <a:pPr marL="0" marR="0" lvl="0" indent="0" algn="l" defTabSz="914367" rtl="0" eaLnBrk="1" fontAlgn="auto" latinLnBrk="0" hangingPunct="1">
              <a:lnSpc>
                <a:spcPct val="20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Data Refresh</a:t>
            </a:r>
          </a:p>
        </p:txBody>
      </p:sp>
      <p:pic>
        <p:nvPicPr>
          <p:cNvPr id="4" name="Graphic 3" descr="Group">
            <a:extLst>
              <a:ext uri="{FF2B5EF4-FFF2-40B4-BE49-F238E27FC236}">
                <a16:creationId xmlns:a16="http://schemas.microsoft.com/office/drawing/2014/main" id="{398CA7D3-1D43-4818-9F7D-C48D28C762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5452" y="1811267"/>
            <a:ext cx="914400" cy="914400"/>
          </a:xfrm>
          <a:prstGeom prst="rect">
            <a:avLst/>
          </a:prstGeom>
        </p:spPr>
      </p:pic>
      <p:pic>
        <p:nvPicPr>
          <p:cNvPr id="14" name="Graphic 13" descr="Playbook">
            <a:extLst>
              <a:ext uri="{FF2B5EF4-FFF2-40B4-BE49-F238E27FC236}">
                <a16:creationId xmlns:a16="http://schemas.microsoft.com/office/drawing/2014/main" id="{B17D0237-766D-4BEF-A646-06E7083FB2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5452" y="2909664"/>
            <a:ext cx="914400" cy="914400"/>
          </a:xfrm>
          <a:prstGeom prst="rect">
            <a:avLst/>
          </a:prstGeom>
        </p:spPr>
      </p:pic>
      <p:pic>
        <p:nvPicPr>
          <p:cNvPr id="16" name="Graphic 15" descr="Watch">
            <a:extLst>
              <a:ext uri="{FF2B5EF4-FFF2-40B4-BE49-F238E27FC236}">
                <a16:creationId xmlns:a16="http://schemas.microsoft.com/office/drawing/2014/main" id="{F98ED054-2A93-4323-B6F4-DEA901C9BC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42149" y="4144115"/>
            <a:ext cx="914400" cy="914400"/>
          </a:xfrm>
          <a:prstGeom prst="rect">
            <a:avLst/>
          </a:prstGeom>
        </p:spPr>
      </p:pic>
    </p:spTree>
    <p:custDataLst>
      <p:tags r:id="rId1"/>
    </p:custDataLst>
    <p:extLst>
      <p:ext uri="{BB962C8B-B14F-4D97-AF65-F5344CB8AC3E}">
        <p14:creationId xmlns:p14="http://schemas.microsoft.com/office/powerpoint/2010/main" val="3860769045"/>
      </p:ext>
    </p:extLst>
  </p:cSld>
  <p:clrMapOvr>
    <a:masterClrMapping/>
  </p:clrMapOvr>
  <mc:AlternateContent xmlns:mc="http://schemas.openxmlformats.org/markup-compatibility/2006" xmlns:p14="http://schemas.microsoft.com/office/powerpoint/2010/main">
    <mc:Choice Requires="p14">
      <p:transition spd="med" p14:dur="700" advTm="74871">
        <p:fade/>
      </p:transition>
    </mc:Choice>
    <mc:Fallback xmlns="">
      <p:transition spd="med" advTm="7487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9">
                                            <p:txEl>
                                              <p:pRg st="1" end="1"/>
                                            </p:txEl>
                                          </p:spTgt>
                                        </p:tgtEl>
                                        <p:attrNameLst>
                                          <p:attrName>style.visibility</p:attrName>
                                        </p:attrNameLst>
                                      </p:cBhvr>
                                      <p:to>
                                        <p:strVal val="visible"/>
                                      </p:to>
                                    </p:set>
                                    <p:animEffect transition="in" filter="fade">
                                      <p:cBhvr>
                                        <p:cTn id="18" dur="5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fade">
                                      <p:cBhvr>
                                        <p:cTn id="26"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rinting</a:t>
            </a:r>
          </a:p>
        </p:txBody>
      </p:sp>
      <p:pic>
        <p:nvPicPr>
          <p:cNvPr id="13" name="Graphic 12" descr="Gauge">
            <a:extLst>
              <a:ext uri="{FF2B5EF4-FFF2-40B4-BE49-F238E27FC236}">
                <a16:creationId xmlns:a16="http://schemas.microsoft.com/office/drawing/2014/main" id="{72EB769C-BAAE-47E2-99D0-D3EA833EE6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104792"/>
            <a:ext cx="914400" cy="914400"/>
          </a:xfrm>
          <a:prstGeom prst="rect">
            <a:avLst/>
          </a:prstGeom>
        </p:spPr>
      </p:pic>
      <p:sp>
        <p:nvSpPr>
          <p:cNvPr id="14" name="Text Placeholder 3">
            <a:extLst>
              <a:ext uri="{FF2B5EF4-FFF2-40B4-BE49-F238E27FC236}">
                <a16:creationId xmlns:a16="http://schemas.microsoft.com/office/drawing/2014/main" id="{A1A757C7-8163-47AF-8BEC-B152C86A3556}"/>
              </a:ext>
            </a:extLst>
          </p:cNvPr>
          <p:cNvSpPr txBox="1">
            <a:spLocks/>
          </p:cNvSpPr>
          <p:nvPr/>
        </p:nvSpPr>
        <p:spPr>
          <a:xfrm>
            <a:off x="6643287" y="1203775"/>
            <a:ext cx="4980404" cy="445044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ntire Dashboard or Til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Report page or Visual</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Pag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xport to PDF</a:t>
            </a:r>
          </a:p>
        </p:txBody>
      </p:sp>
      <p:pic>
        <p:nvPicPr>
          <p:cNvPr id="15" name="Graphic 14" descr="Upward trend">
            <a:extLst>
              <a:ext uri="{FF2B5EF4-FFF2-40B4-BE49-F238E27FC236}">
                <a16:creationId xmlns:a16="http://schemas.microsoft.com/office/drawing/2014/main" id="{926CFDC7-1894-437F-8080-FD7741B28E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279554"/>
            <a:ext cx="914400" cy="914400"/>
          </a:xfrm>
          <a:prstGeom prst="rect">
            <a:avLst/>
          </a:prstGeom>
        </p:spPr>
      </p:pic>
      <p:pic>
        <p:nvPicPr>
          <p:cNvPr id="16" name="Graphic 15" descr="Paper">
            <a:extLst>
              <a:ext uri="{FF2B5EF4-FFF2-40B4-BE49-F238E27FC236}">
                <a16:creationId xmlns:a16="http://schemas.microsoft.com/office/drawing/2014/main" id="{658D6350-DF6E-4903-892C-681D7489BF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454316"/>
            <a:ext cx="914400" cy="914400"/>
          </a:xfrm>
          <a:prstGeom prst="rect">
            <a:avLst/>
          </a:prstGeom>
        </p:spPr>
      </p:pic>
      <p:pic>
        <p:nvPicPr>
          <p:cNvPr id="17" name="Graphic 16" descr="Paper">
            <a:extLst>
              <a:ext uri="{FF2B5EF4-FFF2-40B4-BE49-F238E27FC236}">
                <a16:creationId xmlns:a16="http://schemas.microsoft.com/office/drawing/2014/main" id="{C20BDEFF-C646-4AF1-BC11-D74D76D695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629078"/>
            <a:ext cx="914400" cy="914400"/>
          </a:xfrm>
          <a:prstGeom prst="rect">
            <a:avLst/>
          </a:prstGeom>
        </p:spPr>
      </p:pic>
      <p:sp>
        <p:nvSpPr>
          <p:cNvPr id="18" name="TextBox 17">
            <a:extLst>
              <a:ext uri="{FF2B5EF4-FFF2-40B4-BE49-F238E27FC236}">
                <a16:creationId xmlns:a16="http://schemas.microsoft.com/office/drawing/2014/main" id="{341847DA-99C7-447A-BCF9-954984076D7B}"/>
              </a:ext>
            </a:extLst>
          </p:cNvPr>
          <p:cNvSpPr txBox="1"/>
          <p:nvPr/>
        </p:nvSpPr>
        <p:spPr>
          <a:xfrm>
            <a:off x="5730996" y="4918708"/>
            <a:ext cx="730008"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solidFill>
                    <a:prstClr val="black"/>
                  </a:solidFill>
                </a:ln>
                <a:solidFill>
                  <a:prstClr val="white"/>
                </a:solidFill>
                <a:effectLst/>
                <a:uLnTx/>
                <a:uFillTx/>
                <a:latin typeface="Segoe UI"/>
                <a:ea typeface="+mn-ea"/>
                <a:cs typeface="+mn-cs"/>
              </a:rPr>
              <a:t>PDF</a:t>
            </a:r>
            <a:endParaRPr kumimoji="0" lang="en-US" sz="1600" b="0" i="0" u="none" strike="noStrike" kern="1200" cap="none" spc="0" normalizeH="0" baseline="0" noProof="0" err="1">
              <a:ln>
                <a:solidFill>
                  <a:prstClr val="black"/>
                </a:solid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B363C1D4-F64C-4029-9B9B-C56816490BB1}"/>
              </a:ext>
            </a:extLst>
          </p:cNvPr>
          <p:cNvPicPr>
            <a:picLocks noChangeAspect="1"/>
          </p:cNvPicPr>
          <p:nvPr/>
        </p:nvPicPr>
        <p:blipFill>
          <a:blip r:embed="rId10"/>
          <a:stretch>
            <a:fillRect/>
          </a:stretch>
        </p:blipFill>
        <p:spPr>
          <a:xfrm>
            <a:off x="599963" y="3560509"/>
            <a:ext cx="3371850" cy="2390775"/>
          </a:xfrm>
          <a:prstGeom prst="rect">
            <a:avLst/>
          </a:prstGeom>
        </p:spPr>
      </p:pic>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2E846E0C-CD2F-4C3F-81A8-7EA32B8D43EF}"/>
                  </a:ext>
                </a:extLst>
              </p14:cNvPr>
              <p14:cNvContentPartPr/>
              <p14:nvPr/>
            </p14:nvContentPartPr>
            <p14:xfrm>
              <a:off x="751256" y="5222984"/>
              <a:ext cx="1005120" cy="26640"/>
            </p14:xfrm>
          </p:contentPart>
        </mc:Choice>
        <mc:Fallback xmlns="">
          <p:pic>
            <p:nvPicPr>
              <p:cNvPr id="10" name="Ink 9">
                <a:extLst>
                  <a:ext uri="{FF2B5EF4-FFF2-40B4-BE49-F238E27FC236}">
                    <a16:creationId xmlns:a16="http://schemas.microsoft.com/office/drawing/2014/main" id="{2E846E0C-CD2F-4C3F-81A8-7EA32B8D43EF}"/>
                  </a:ext>
                </a:extLst>
              </p:cNvPr>
              <p:cNvPicPr/>
              <p:nvPr/>
            </p:nvPicPr>
            <p:blipFill>
              <a:blip r:embed="rId12"/>
              <a:stretch>
                <a:fillRect/>
              </a:stretch>
            </p:blipFill>
            <p:spPr>
              <a:xfrm>
                <a:off x="742256" y="5214104"/>
                <a:ext cx="1022760" cy="44045"/>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EB8998C5-3F6D-42F7-81EB-A6DD8E5E34EB}"/>
                  </a:ext>
                </a:extLst>
              </p14:cNvPr>
              <p14:cNvContentPartPr/>
              <p14:nvPr/>
            </p14:nvContentPartPr>
            <p14:xfrm>
              <a:off x="713816" y="5798984"/>
              <a:ext cx="1044720" cy="360"/>
            </p14:xfrm>
          </p:contentPart>
        </mc:Choice>
        <mc:Fallback xmlns="">
          <p:pic>
            <p:nvPicPr>
              <p:cNvPr id="12" name="Ink 11">
                <a:extLst>
                  <a:ext uri="{FF2B5EF4-FFF2-40B4-BE49-F238E27FC236}">
                    <a16:creationId xmlns:a16="http://schemas.microsoft.com/office/drawing/2014/main" id="{EB8998C5-3F6D-42F7-81EB-A6DD8E5E34EB}"/>
                  </a:ext>
                </a:extLst>
              </p:cNvPr>
              <p:cNvPicPr/>
              <p:nvPr/>
            </p:nvPicPr>
            <p:blipFill>
              <a:blip r:embed="rId14"/>
              <a:stretch>
                <a:fillRect/>
              </a:stretch>
            </p:blipFill>
            <p:spPr>
              <a:xfrm>
                <a:off x="704816" y="5789984"/>
                <a:ext cx="1062360" cy="18000"/>
              </a:xfrm>
              <a:prstGeom prst="rect">
                <a:avLst/>
              </a:prstGeom>
            </p:spPr>
          </p:pic>
        </mc:Fallback>
      </mc:AlternateContent>
    </p:spTree>
    <p:custDataLst>
      <p:tags r:id="rId1"/>
    </p:custDataLst>
    <p:extLst>
      <p:ext uri="{BB962C8B-B14F-4D97-AF65-F5344CB8AC3E}">
        <p14:creationId xmlns:p14="http://schemas.microsoft.com/office/powerpoint/2010/main" val="4148009689"/>
      </p:ext>
    </p:extLst>
  </p:cSld>
  <p:clrMapOvr>
    <a:masterClrMapping/>
  </p:clrMapOvr>
  <mc:AlternateContent xmlns:mc="http://schemas.openxmlformats.org/markup-compatibility/2006" xmlns:p14="http://schemas.microsoft.com/office/powerpoint/2010/main">
    <mc:Choice Requires="p14">
      <p:transition spd="med" p14:dur="700" advTm="51468">
        <p:fade/>
      </p:transition>
    </mc:Choice>
    <mc:Fallback xmlns="">
      <p:transition spd="med" advTm="5146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xEl>
                                              <p:pRg st="2" end="2"/>
                                            </p:txEl>
                                          </p:spTgt>
                                        </p:tgtEl>
                                        <p:attrNameLst>
                                          <p:attrName>style.visibility</p:attrName>
                                        </p:attrNameLst>
                                      </p:cBhvr>
                                      <p:to>
                                        <p:strVal val="visible"/>
                                      </p:to>
                                    </p:set>
                                    <p:animEffect transition="in" filter="fade">
                                      <p:cBhvr>
                                        <p:cTn id="16" dur="500"/>
                                        <p:tgtEl>
                                          <p:spTgt spid="1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xEl>
                                              <p:pRg st="4" end="4"/>
                                            </p:txEl>
                                          </p:spTgt>
                                        </p:tgtEl>
                                        <p:attrNameLst>
                                          <p:attrName>style.visibility</p:attrName>
                                        </p:attrNameLst>
                                      </p:cBhvr>
                                      <p:to>
                                        <p:strVal val="visible"/>
                                      </p:to>
                                    </p:set>
                                    <p:animEffect transition="in" filter="fade">
                                      <p:cBhvr>
                                        <p:cTn id="24" dur="500"/>
                                        <p:tgtEl>
                                          <p:spTgt spid="1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haring</a:t>
            </a:r>
          </a:p>
        </p:txBody>
      </p:sp>
      <p:sp>
        <p:nvSpPr>
          <p:cNvPr id="8" name="Title 2"/>
          <p:cNvSpPr txBox="1">
            <a:spLocks/>
          </p:cNvSpPr>
          <p:nvPr/>
        </p:nvSpPr>
        <p:spPr>
          <a:xfrm>
            <a:off x="165099" y="2268467"/>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a:ln w="3175">
                  <a:noFill/>
                </a:ln>
                <a:solidFill>
                  <a:prstClr val="white"/>
                </a:solidFill>
                <a:effectLst/>
                <a:uLnTx/>
                <a:uFillTx/>
                <a:latin typeface="Segoe UI Light"/>
                <a:ea typeface="Segoe UI Black" panose="020B0A02040204020203" pitchFamily="34" charset="0"/>
                <a:cs typeface="Segoe UI Semibold" panose="020B0702040204020203" pitchFamily="34" charset="0"/>
              </a:rPr>
              <a:t>PowerPoint</a:t>
            </a:r>
          </a:p>
        </p:txBody>
      </p:sp>
      <p:pic>
        <p:nvPicPr>
          <p:cNvPr id="13" name="Graphic 12" descr="Presentation with bar chart">
            <a:extLst>
              <a:ext uri="{FF2B5EF4-FFF2-40B4-BE49-F238E27FC236}">
                <a16:creationId xmlns:a16="http://schemas.microsoft.com/office/drawing/2014/main" id="{72EB769C-BAAE-47E2-99D0-D3EA833EE6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638800" y="1104792"/>
            <a:ext cx="914400" cy="914400"/>
          </a:xfrm>
          <a:prstGeom prst="rect">
            <a:avLst/>
          </a:prstGeom>
        </p:spPr>
      </p:pic>
      <p:sp>
        <p:nvSpPr>
          <p:cNvPr id="14" name="Text Placeholder 3">
            <a:extLst>
              <a:ext uri="{FF2B5EF4-FFF2-40B4-BE49-F238E27FC236}">
                <a16:creationId xmlns:a16="http://schemas.microsoft.com/office/drawing/2014/main" id="{A1A757C7-8163-47AF-8BEC-B152C86A3556}"/>
              </a:ext>
            </a:extLst>
          </p:cNvPr>
          <p:cNvSpPr txBox="1">
            <a:spLocks/>
          </p:cNvSpPr>
          <p:nvPr/>
        </p:nvSpPr>
        <p:spPr>
          <a:xfrm>
            <a:off x="6643287" y="1203775"/>
            <a:ext cx="5548713" cy="4450449"/>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Each page becomes a slide</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Single image in PowerPoint</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Filters are preserved</a:t>
            </a:r>
          </a:p>
          <a:p>
            <a:pPr marL="0" marR="0" lvl="0" indent="0" algn="l" defTabSz="914367" rtl="0" eaLnBrk="1" fontAlgn="auto" latinLnBrk="0" hangingPunct="1">
              <a:lnSpc>
                <a:spcPct val="90000"/>
              </a:lnSpc>
              <a:spcBef>
                <a:spcPct val="20000"/>
              </a:spcBef>
              <a:spcAft>
                <a:spcPts val="0"/>
              </a:spcAft>
              <a:buClrTx/>
              <a:buSzPct val="90000"/>
              <a:buFontTx/>
              <a:buNone/>
              <a:tabLst/>
              <a:defRPr/>
            </a:pPr>
            <a:endParaRPr kumimoji="0" lang="en-GB" sz="3600" b="0" i="0" u="none" strike="noStrike" kern="1200" cap="none" spc="0" normalizeH="0" baseline="0" noProof="0">
              <a:ln>
                <a:noFill/>
              </a:ln>
              <a:solidFill>
                <a:prstClr val="black"/>
              </a:solidFill>
              <a:effectLst/>
              <a:uLnTx/>
              <a:uFillTx/>
              <a:latin typeface="Segoe UI Light"/>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GB" sz="3600" b="0" i="0" u="none" strike="noStrike" kern="1200" cap="none" spc="0" normalizeH="0" baseline="0" noProof="0">
                <a:ln>
                  <a:noFill/>
                </a:ln>
                <a:solidFill>
                  <a:prstClr val="black"/>
                </a:solidFill>
                <a:effectLst/>
                <a:uLnTx/>
                <a:uFillTx/>
                <a:latin typeface="Segoe UI Light"/>
                <a:ea typeface="+mn-ea"/>
                <a:cs typeface="+mn-cs"/>
              </a:rPr>
              <a:t>Has a link to the report</a:t>
            </a:r>
          </a:p>
        </p:txBody>
      </p:sp>
      <p:pic>
        <p:nvPicPr>
          <p:cNvPr id="15" name="Graphic 14" descr="Film strip">
            <a:extLst>
              <a:ext uri="{FF2B5EF4-FFF2-40B4-BE49-F238E27FC236}">
                <a16:creationId xmlns:a16="http://schemas.microsoft.com/office/drawing/2014/main" id="{926CFDC7-1894-437F-8080-FD7741B28E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638800" y="2279554"/>
            <a:ext cx="914400" cy="914400"/>
          </a:xfrm>
          <a:prstGeom prst="rect">
            <a:avLst/>
          </a:prstGeom>
        </p:spPr>
      </p:pic>
      <p:pic>
        <p:nvPicPr>
          <p:cNvPr id="16" name="Graphic 15" descr="Filter">
            <a:extLst>
              <a:ext uri="{FF2B5EF4-FFF2-40B4-BE49-F238E27FC236}">
                <a16:creationId xmlns:a16="http://schemas.microsoft.com/office/drawing/2014/main" id="{658D6350-DF6E-4903-892C-681D7489BF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638800" y="3454316"/>
            <a:ext cx="914400" cy="914400"/>
          </a:xfrm>
          <a:prstGeom prst="rect">
            <a:avLst/>
          </a:prstGeom>
        </p:spPr>
      </p:pic>
      <p:pic>
        <p:nvPicPr>
          <p:cNvPr id="17" name="Graphic 16" descr="Link">
            <a:extLst>
              <a:ext uri="{FF2B5EF4-FFF2-40B4-BE49-F238E27FC236}">
                <a16:creationId xmlns:a16="http://schemas.microsoft.com/office/drawing/2014/main" id="{C20BDEFF-C646-4AF1-BC11-D74D76D695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638800" y="4629078"/>
            <a:ext cx="914400" cy="914400"/>
          </a:xfrm>
          <a:prstGeom prst="rect">
            <a:avLst/>
          </a:prstGeom>
        </p:spPr>
      </p:pic>
      <mc:AlternateContent xmlns:mc="http://schemas.openxmlformats.org/markup-compatibility/2006" xmlns:p14="http://schemas.microsoft.com/office/powerpoint/2010/main">
        <mc:Choice Requires="p14">
          <p:contentPart p14:bwMode="auto" r:id="rId12">
            <p14:nvContentPartPr>
              <p14:cNvPr id="2" name="Ink 1">
                <a:extLst>
                  <a:ext uri="{FF2B5EF4-FFF2-40B4-BE49-F238E27FC236}">
                    <a16:creationId xmlns:a16="http://schemas.microsoft.com/office/drawing/2014/main" id="{742AAE3B-4373-4D19-A61F-93D74CED73A8}"/>
                  </a:ext>
                </a:extLst>
              </p14:cNvPr>
              <p14:cNvContentPartPr/>
              <p14:nvPr/>
            </p14:nvContentPartPr>
            <p14:xfrm>
              <a:off x="2454416" y="5085104"/>
              <a:ext cx="360" cy="360"/>
            </p14:xfrm>
          </p:contentPart>
        </mc:Choice>
        <mc:Fallback xmlns="">
          <p:pic>
            <p:nvPicPr>
              <p:cNvPr id="2" name="Ink 1">
                <a:extLst>
                  <a:ext uri="{FF2B5EF4-FFF2-40B4-BE49-F238E27FC236}">
                    <a16:creationId xmlns:a16="http://schemas.microsoft.com/office/drawing/2014/main" id="{742AAE3B-4373-4D19-A61F-93D74CED73A8}"/>
                  </a:ext>
                </a:extLst>
              </p:cNvPr>
              <p:cNvPicPr/>
              <p:nvPr/>
            </p:nvPicPr>
            <p:blipFill>
              <a:blip r:embed="rId13"/>
              <a:stretch>
                <a:fillRect/>
              </a:stretch>
            </p:blipFill>
            <p:spPr>
              <a:xfrm>
                <a:off x="2445416" y="50761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 name="Ink 3">
                <a:extLst>
                  <a:ext uri="{FF2B5EF4-FFF2-40B4-BE49-F238E27FC236}">
                    <a16:creationId xmlns:a16="http://schemas.microsoft.com/office/drawing/2014/main" id="{91C42870-4CD8-4CB9-8711-3077A03FE95C}"/>
                  </a:ext>
                </a:extLst>
              </p14:cNvPr>
              <p14:cNvContentPartPr/>
              <p14:nvPr/>
            </p14:nvContentPartPr>
            <p14:xfrm>
              <a:off x="2642336" y="4897184"/>
              <a:ext cx="360" cy="360"/>
            </p14:xfrm>
          </p:contentPart>
        </mc:Choice>
        <mc:Fallback xmlns="">
          <p:pic>
            <p:nvPicPr>
              <p:cNvPr id="4" name="Ink 3">
                <a:extLst>
                  <a:ext uri="{FF2B5EF4-FFF2-40B4-BE49-F238E27FC236}">
                    <a16:creationId xmlns:a16="http://schemas.microsoft.com/office/drawing/2014/main" id="{91C42870-4CD8-4CB9-8711-3077A03FE95C}"/>
                  </a:ext>
                </a:extLst>
              </p:cNvPr>
              <p:cNvPicPr/>
              <p:nvPr/>
            </p:nvPicPr>
            <p:blipFill>
              <a:blip r:embed="rId13"/>
              <a:stretch>
                <a:fillRect/>
              </a:stretch>
            </p:blipFill>
            <p:spPr>
              <a:xfrm>
                <a:off x="2633336" y="488818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5" name="Ink 4">
                <a:extLst>
                  <a:ext uri="{FF2B5EF4-FFF2-40B4-BE49-F238E27FC236}">
                    <a16:creationId xmlns:a16="http://schemas.microsoft.com/office/drawing/2014/main" id="{23D36CE5-52A6-44DA-BC00-340F6F17B266}"/>
                  </a:ext>
                </a:extLst>
              </p14:cNvPr>
              <p14:cNvContentPartPr/>
              <p14:nvPr/>
            </p14:nvContentPartPr>
            <p14:xfrm>
              <a:off x="2792816" y="4483904"/>
              <a:ext cx="360" cy="360"/>
            </p14:xfrm>
          </p:contentPart>
        </mc:Choice>
        <mc:Fallback xmlns="">
          <p:pic>
            <p:nvPicPr>
              <p:cNvPr id="5" name="Ink 4">
                <a:extLst>
                  <a:ext uri="{FF2B5EF4-FFF2-40B4-BE49-F238E27FC236}">
                    <a16:creationId xmlns:a16="http://schemas.microsoft.com/office/drawing/2014/main" id="{23D36CE5-52A6-44DA-BC00-340F6F17B266}"/>
                  </a:ext>
                </a:extLst>
              </p:cNvPr>
              <p:cNvPicPr/>
              <p:nvPr/>
            </p:nvPicPr>
            <p:blipFill>
              <a:blip r:embed="rId13"/>
              <a:stretch>
                <a:fillRect/>
              </a:stretch>
            </p:blipFill>
            <p:spPr>
              <a:xfrm>
                <a:off x="2783816" y="4474904"/>
                <a:ext cx="18000" cy="18000"/>
              </a:xfrm>
              <a:prstGeom prst="rect">
                <a:avLst/>
              </a:prstGeom>
            </p:spPr>
          </p:pic>
        </mc:Fallback>
      </mc:AlternateContent>
      <p:pic>
        <p:nvPicPr>
          <p:cNvPr id="6" name="Picture 5">
            <a:extLst>
              <a:ext uri="{FF2B5EF4-FFF2-40B4-BE49-F238E27FC236}">
                <a16:creationId xmlns:a16="http://schemas.microsoft.com/office/drawing/2014/main" id="{39095222-A9E2-469C-B305-D827892DF1ED}"/>
              </a:ext>
            </a:extLst>
          </p:cNvPr>
          <p:cNvPicPr>
            <a:picLocks noChangeAspect="1"/>
          </p:cNvPicPr>
          <p:nvPr/>
        </p:nvPicPr>
        <p:blipFill>
          <a:blip r:embed="rId16"/>
          <a:stretch>
            <a:fillRect/>
          </a:stretch>
        </p:blipFill>
        <p:spPr>
          <a:xfrm>
            <a:off x="626807" y="3723320"/>
            <a:ext cx="3371850" cy="2390775"/>
          </a:xfrm>
          <a:prstGeom prst="rect">
            <a:avLst/>
          </a:prstGeom>
        </p:spPr>
      </p:pic>
      <mc:AlternateContent xmlns:mc="http://schemas.openxmlformats.org/markup-compatibility/2006" xmlns:p14="http://schemas.microsoft.com/office/powerpoint/2010/main">
        <mc:Choice Requires="p14">
          <p:contentPart p14:bwMode="auto" r:id="rId17">
            <p14:nvContentPartPr>
              <p14:cNvPr id="11" name="Ink 10">
                <a:extLst>
                  <a:ext uri="{FF2B5EF4-FFF2-40B4-BE49-F238E27FC236}">
                    <a16:creationId xmlns:a16="http://schemas.microsoft.com/office/drawing/2014/main" id="{F176E5C8-2054-4921-8977-E5DE964F314D}"/>
                  </a:ext>
                </a:extLst>
              </p14:cNvPr>
              <p14:cNvContentPartPr/>
              <p14:nvPr/>
            </p14:nvContentPartPr>
            <p14:xfrm>
              <a:off x="801296" y="4797464"/>
              <a:ext cx="1789560" cy="360"/>
            </p14:xfrm>
          </p:contentPart>
        </mc:Choice>
        <mc:Fallback xmlns="">
          <p:pic>
            <p:nvPicPr>
              <p:cNvPr id="11" name="Ink 10">
                <a:extLst>
                  <a:ext uri="{FF2B5EF4-FFF2-40B4-BE49-F238E27FC236}">
                    <a16:creationId xmlns:a16="http://schemas.microsoft.com/office/drawing/2014/main" id="{F176E5C8-2054-4921-8977-E5DE964F314D}"/>
                  </a:ext>
                </a:extLst>
              </p:cNvPr>
              <p:cNvPicPr/>
              <p:nvPr/>
            </p:nvPicPr>
            <p:blipFill>
              <a:blip r:embed="rId18"/>
              <a:stretch>
                <a:fillRect/>
              </a:stretch>
            </p:blipFill>
            <p:spPr>
              <a:xfrm>
                <a:off x="792296" y="4788464"/>
                <a:ext cx="1807200" cy="18000"/>
              </a:xfrm>
              <a:prstGeom prst="rect">
                <a:avLst/>
              </a:prstGeom>
            </p:spPr>
          </p:pic>
        </mc:Fallback>
      </mc:AlternateContent>
    </p:spTree>
    <p:custDataLst>
      <p:tags r:id="rId1"/>
    </p:custDataLst>
    <p:extLst>
      <p:ext uri="{BB962C8B-B14F-4D97-AF65-F5344CB8AC3E}">
        <p14:creationId xmlns:p14="http://schemas.microsoft.com/office/powerpoint/2010/main" val="4090198649"/>
      </p:ext>
    </p:extLst>
  </p:cSld>
  <p:clrMapOvr>
    <a:masterClrMapping/>
  </p:clrMapOvr>
  <mc:AlternateContent xmlns:mc="http://schemas.openxmlformats.org/markup-compatibility/2006" xmlns:p14="http://schemas.microsoft.com/office/powerpoint/2010/main">
    <mc:Choice Requires="p14">
      <p:transition spd="med" p14:dur="700" advTm="46534">
        <p:fade/>
      </p:transition>
    </mc:Choice>
    <mc:Fallback xmlns="">
      <p:transition spd="med" advTm="4653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xEl>
                                              <p:pRg st="4" end="4"/>
                                            </p:txEl>
                                          </p:spTgt>
                                        </p:tgtEl>
                                        <p:attrNameLst>
                                          <p:attrName>style.visibility</p:attrName>
                                        </p:attrNameLst>
                                      </p:cBhvr>
                                      <p:to>
                                        <p:strVal val="visible"/>
                                      </p:to>
                                    </p:set>
                                    <p:animEffect transition="in" filter="fade">
                                      <p:cBhvr>
                                        <p:cTn id="26" dur="500"/>
                                        <p:tgtEl>
                                          <p:spTgt spid="14">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xEl>
                                              <p:pRg st="6" end="6"/>
                                            </p:txEl>
                                          </p:spTgt>
                                        </p:tgtEl>
                                        <p:attrNameLst>
                                          <p:attrName>style.visibility</p:attrName>
                                        </p:attrNameLst>
                                      </p:cBhvr>
                                      <p:to>
                                        <p:strVal val="visible"/>
                                      </p:to>
                                    </p:set>
                                    <p:animEffect transition="in" filter="fade">
                                      <p:cBhvr>
                                        <p:cTn id="34" dur="500"/>
                                        <p:tgtEl>
                                          <p:spTgt spid="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981D94-0703-471B-BDA3-62853D8A4C21}"/>
              </a:ext>
            </a:extLst>
          </p:cNvPr>
          <p:cNvSpPr/>
          <p:nvPr/>
        </p:nvSpPr>
        <p:spPr>
          <a:xfrm>
            <a:off x="296488" y="1948509"/>
            <a:ext cx="1388226" cy="45997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udience Size</a:t>
            </a:r>
          </a:p>
        </p:txBody>
      </p:sp>
      <p:sp>
        <p:nvSpPr>
          <p:cNvPr id="14" name="Rectangle 13">
            <a:extLst>
              <a:ext uri="{FF2B5EF4-FFF2-40B4-BE49-F238E27FC236}">
                <a16:creationId xmlns:a16="http://schemas.microsoft.com/office/drawing/2014/main" id="{05FF2A87-E484-4B64-BCFB-E969662B30A8}"/>
              </a:ext>
            </a:extLst>
          </p:cNvPr>
          <p:cNvSpPr/>
          <p:nvPr/>
        </p:nvSpPr>
        <p:spPr>
          <a:xfrm>
            <a:off x="296488" y="2544254"/>
            <a:ext cx="1388226" cy="45997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Common Scenario</a:t>
            </a:r>
          </a:p>
        </p:txBody>
      </p:sp>
      <p:sp>
        <p:nvSpPr>
          <p:cNvPr id="19" name="Rectangle 18">
            <a:extLst>
              <a:ext uri="{FF2B5EF4-FFF2-40B4-BE49-F238E27FC236}">
                <a16:creationId xmlns:a16="http://schemas.microsoft.com/office/drawing/2014/main" id="{41182A64-42AE-4DF7-B5FC-A64CB1570720}"/>
              </a:ext>
            </a:extLst>
          </p:cNvPr>
          <p:cNvSpPr/>
          <p:nvPr/>
        </p:nvSpPr>
        <p:spPr>
          <a:xfrm>
            <a:off x="296488" y="3139998"/>
            <a:ext cx="1388226" cy="86729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Type of Users</a:t>
            </a:r>
          </a:p>
        </p:txBody>
      </p:sp>
      <p:sp>
        <p:nvSpPr>
          <p:cNvPr id="23" name="Rectangle 22">
            <a:extLst>
              <a:ext uri="{FF2B5EF4-FFF2-40B4-BE49-F238E27FC236}">
                <a16:creationId xmlns:a16="http://schemas.microsoft.com/office/drawing/2014/main" id="{2B4441CD-3568-4E00-B31A-754E4F00AF76}"/>
              </a:ext>
            </a:extLst>
          </p:cNvPr>
          <p:cNvSpPr/>
          <p:nvPr/>
        </p:nvSpPr>
        <p:spPr>
          <a:xfrm>
            <a:off x="296488" y="5510613"/>
            <a:ext cx="1388226" cy="83127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References</a:t>
            </a:r>
          </a:p>
        </p:txBody>
      </p:sp>
      <p:sp>
        <p:nvSpPr>
          <p:cNvPr id="32" name="Rectangle 31">
            <a:extLst>
              <a:ext uri="{FF2B5EF4-FFF2-40B4-BE49-F238E27FC236}">
                <a16:creationId xmlns:a16="http://schemas.microsoft.com/office/drawing/2014/main" id="{D95113FE-3084-4CAB-A4F3-F4E378E3BBAE}"/>
              </a:ext>
            </a:extLst>
          </p:cNvPr>
          <p:cNvSpPr/>
          <p:nvPr/>
        </p:nvSpPr>
        <p:spPr>
          <a:xfrm>
            <a:off x="296488" y="4062948"/>
            <a:ext cx="1388226" cy="65531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O365 Dependency</a:t>
            </a:r>
          </a:p>
        </p:txBody>
      </p:sp>
      <p:sp>
        <p:nvSpPr>
          <p:cNvPr id="52" name="Rectangle 51">
            <a:extLst>
              <a:ext uri="{FF2B5EF4-FFF2-40B4-BE49-F238E27FC236}">
                <a16:creationId xmlns:a16="http://schemas.microsoft.com/office/drawing/2014/main" id="{69EBABB8-A0E9-48F4-831F-615A951568B7}"/>
              </a:ext>
            </a:extLst>
          </p:cNvPr>
          <p:cNvSpPr/>
          <p:nvPr/>
        </p:nvSpPr>
        <p:spPr>
          <a:xfrm>
            <a:off x="296488" y="4781636"/>
            <a:ext cx="1388226" cy="65531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License Requirements</a:t>
            </a:r>
          </a:p>
        </p:txBody>
      </p:sp>
      <p:sp>
        <p:nvSpPr>
          <p:cNvPr id="6" name="Rectangle 5">
            <a:extLst>
              <a:ext uri="{FF2B5EF4-FFF2-40B4-BE49-F238E27FC236}">
                <a16:creationId xmlns:a16="http://schemas.microsoft.com/office/drawing/2014/main" id="{A1C4F136-DDEE-4A98-9151-85656C5BE537}"/>
              </a:ext>
            </a:extLst>
          </p:cNvPr>
          <p:cNvSpPr/>
          <p:nvPr/>
        </p:nvSpPr>
        <p:spPr>
          <a:xfrm>
            <a:off x="5203804"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App Workspaces</a:t>
            </a:r>
          </a:p>
        </p:txBody>
      </p:sp>
      <p:sp>
        <p:nvSpPr>
          <p:cNvPr id="11" name="TextBox 10">
            <a:extLst>
              <a:ext uri="{FF2B5EF4-FFF2-40B4-BE49-F238E27FC236}">
                <a16:creationId xmlns:a16="http://schemas.microsoft.com/office/drawing/2014/main" id="{D7422CFC-5D2B-4DA5-9407-7339DA1298F9}"/>
              </a:ext>
            </a:extLst>
          </p:cNvPr>
          <p:cNvSpPr txBox="1"/>
          <p:nvPr/>
        </p:nvSpPr>
        <p:spPr>
          <a:xfrm>
            <a:off x="5203804" y="1948509"/>
            <a:ext cx="3361328" cy="46080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mall</a:t>
            </a:r>
          </a:p>
        </p:txBody>
      </p:sp>
      <p:sp>
        <p:nvSpPr>
          <p:cNvPr id="16" name="TextBox 15">
            <a:extLst>
              <a:ext uri="{FF2B5EF4-FFF2-40B4-BE49-F238E27FC236}">
                <a16:creationId xmlns:a16="http://schemas.microsoft.com/office/drawing/2014/main" id="{DDED0859-E53A-4508-8733-1E40A769261E}"/>
              </a:ext>
            </a:extLst>
          </p:cNvPr>
          <p:cNvSpPr txBox="1"/>
          <p:nvPr/>
        </p:nvSpPr>
        <p:spPr>
          <a:xfrm>
            <a:off x="5203804"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evelopment, i.e. collaboration with edit permissions</a:t>
            </a:r>
          </a:p>
        </p:txBody>
      </p:sp>
      <p:sp>
        <p:nvSpPr>
          <p:cNvPr id="25" name="TextBox 24">
            <a:extLst>
              <a:ext uri="{FF2B5EF4-FFF2-40B4-BE49-F238E27FC236}">
                <a16:creationId xmlns:a16="http://schemas.microsoft.com/office/drawing/2014/main" id="{4BB0931C-4F3A-41DB-ABED-149DAAE0F6BB}"/>
              </a:ext>
            </a:extLst>
          </p:cNvPr>
          <p:cNvSpPr txBox="1"/>
          <p:nvPr/>
        </p:nvSpPr>
        <p:spPr>
          <a:xfrm>
            <a:off x="5203804" y="3139169"/>
            <a:ext cx="3361328" cy="867296"/>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ecurity Group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istribution List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Office 365 Groups (new Workspaces – in preview)</a:t>
            </a: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26" name="TextBox 25">
            <a:extLst>
              <a:ext uri="{FF2B5EF4-FFF2-40B4-BE49-F238E27FC236}">
                <a16:creationId xmlns:a16="http://schemas.microsoft.com/office/drawing/2014/main" id="{43CC3D41-D98B-4FEA-A6B5-CE35C97413F6}"/>
              </a:ext>
            </a:extLst>
          </p:cNvPr>
          <p:cNvSpPr txBox="1"/>
          <p:nvPr/>
        </p:nvSpPr>
        <p:spPr>
          <a:xfrm>
            <a:off x="5203804" y="5510612"/>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3"/>
              </a:rPr>
              <a:t>Create workspaces with your colleagues in Power BI</a:t>
            </a: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4"/>
              </a:rPr>
              <a:t>Create the new workspaces (preview) in Power BI</a:t>
            </a: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33" name="TextBox 32">
            <a:extLst>
              <a:ext uri="{FF2B5EF4-FFF2-40B4-BE49-F238E27FC236}">
                <a16:creationId xmlns:a16="http://schemas.microsoft.com/office/drawing/2014/main" id="{7EF21B7E-E0CE-4D44-BE43-7B7547831551}"/>
              </a:ext>
            </a:extLst>
          </p:cNvPr>
          <p:cNvSpPr txBox="1"/>
          <p:nvPr/>
        </p:nvSpPr>
        <p:spPr>
          <a:xfrm>
            <a:off x="5203804"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Current workspaces create an 0365 group, but Workspaces currently in Preview do not.</a:t>
            </a:r>
          </a:p>
        </p:txBody>
      </p:sp>
      <p:sp>
        <p:nvSpPr>
          <p:cNvPr id="53" name="TextBox 52">
            <a:extLst>
              <a:ext uri="{FF2B5EF4-FFF2-40B4-BE49-F238E27FC236}">
                <a16:creationId xmlns:a16="http://schemas.microsoft.com/office/drawing/2014/main" id="{05FF8A87-F208-44C6-AC8F-5112EBFC018C}"/>
              </a:ext>
            </a:extLst>
          </p:cNvPr>
          <p:cNvSpPr txBox="1"/>
          <p:nvPr/>
        </p:nvSpPr>
        <p:spPr>
          <a:xfrm>
            <a:off x="5203804"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a:t>
            </a:r>
          </a:p>
        </p:txBody>
      </p:sp>
      <p:sp>
        <p:nvSpPr>
          <p:cNvPr id="4" name="Rectangle 3">
            <a:extLst>
              <a:ext uri="{FF2B5EF4-FFF2-40B4-BE49-F238E27FC236}">
                <a16:creationId xmlns:a16="http://schemas.microsoft.com/office/drawing/2014/main" id="{097F1F89-FEFA-4E6D-8318-D0E696984414}"/>
              </a:ext>
            </a:extLst>
          </p:cNvPr>
          <p:cNvSpPr/>
          <p:nvPr/>
        </p:nvSpPr>
        <p:spPr>
          <a:xfrm>
            <a:off x="1763595"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Share Individual Dashboards / Reports</a:t>
            </a:r>
          </a:p>
        </p:txBody>
      </p:sp>
      <p:sp>
        <p:nvSpPr>
          <p:cNvPr id="10" name="TextBox 9">
            <a:extLst>
              <a:ext uri="{FF2B5EF4-FFF2-40B4-BE49-F238E27FC236}">
                <a16:creationId xmlns:a16="http://schemas.microsoft.com/office/drawing/2014/main" id="{CC1ED1DD-79EA-40F0-AC78-8DB0C4C8C56D}"/>
              </a:ext>
            </a:extLst>
          </p:cNvPr>
          <p:cNvSpPr txBox="1"/>
          <p:nvPr/>
        </p:nvSpPr>
        <p:spPr>
          <a:xfrm>
            <a:off x="1763595" y="1948509"/>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Small</a:t>
            </a:r>
          </a:p>
        </p:txBody>
      </p:sp>
      <p:sp>
        <p:nvSpPr>
          <p:cNvPr id="15" name="TextBox 14">
            <a:extLst>
              <a:ext uri="{FF2B5EF4-FFF2-40B4-BE49-F238E27FC236}">
                <a16:creationId xmlns:a16="http://schemas.microsoft.com/office/drawing/2014/main" id="{1A7508FE-CA01-46A7-92DD-254CC172B423}"/>
              </a:ext>
            </a:extLst>
          </p:cNvPr>
          <p:cNvSpPr txBox="1"/>
          <p:nvPr/>
        </p:nvSpPr>
        <p:spPr>
          <a:xfrm>
            <a:off x="1763595"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One off sharing</a:t>
            </a:r>
          </a:p>
        </p:txBody>
      </p:sp>
      <p:sp>
        <p:nvSpPr>
          <p:cNvPr id="20" name="TextBox 19">
            <a:extLst>
              <a:ext uri="{FF2B5EF4-FFF2-40B4-BE49-F238E27FC236}">
                <a16:creationId xmlns:a16="http://schemas.microsoft.com/office/drawing/2014/main" id="{F2A38670-ABF7-481F-B84F-963F2042763A}"/>
              </a:ext>
            </a:extLst>
          </p:cNvPr>
          <p:cNvSpPr txBox="1"/>
          <p:nvPr/>
        </p:nvSpPr>
        <p:spPr>
          <a:xfrm>
            <a:off x="1763595" y="3139169"/>
            <a:ext cx="3361328" cy="864824"/>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istribution Groups</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AD security groups </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Does NOT work with Dynamic Distribution Groups</a:t>
            </a:r>
          </a:p>
        </p:txBody>
      </p:sp>
      <p:sp>
        <p:nvSpPr>
          <p:cNvPr id="22" name="TextBox 21">
            <a:extLst>
              <a:ext uri="{FF2B5EF4-FFF2-40B4-BE49-F238E27FC236}">
                <a16:creationId xmlns:a16="http://schemas.microsoft.com/office/drawing/2014/main" id="{1888B365-1F15-44E8-88E3-56546565B73B}"/>
              </a:ext>
            </a:extLst>
          </p:cNvPr>
          <p:cNvSpPr txBox="1"/>
          <p:nvPr/>
        </p:nvSpPr>
        <p:spPr>
          <a:xfrm>
            <a:off x="1763595" y="5510612"/>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5"/>
              </a:rPr>
              <a:t>Share your Power BI dashboards and reports with coworkers and others</a:t>
            </a: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 </a:t>
            </a:r>
          </a:p>
        </p:txBody>
      </p:sp>
      <p:sp>
        <p:nvSpPr>
          <p:cNvPr id="34" name="TextBox 33">
            <a:extLst>
              <a:ext uri="{FF2B5EF4-FFF2-40B4-BE49-F238E27FC236}">
                <a16:creationId xmlns:a16="http://schemas.microsoft.com/office/drawing/2014/main" id="{FF82D66A-9393-448A-A105-DE15917C0D5E}"/>
              </a:ext>
            </a:extLst>
          </p:cNvPr>
          <p:cNvSpPr txBox="1"/>
          <p:nvPr/>
        </p:nvSpPr>
        <p:spPr>
          <a:xfrm>
            <a:off x="1763595"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No</a:t>
            </a:r>
          </a:p>
        </p:txBody>
      </p:sp>
      <p:sp>
        <p:nvSpPr>
          <p:cNvPr id="54" name="TextBox 53">
            <a:extLst>
              <a:ext uri="{FF2B5EF4-FFF2-40B4-BE49-F238E27FC236}">
                <a16:creationId xmlns:a16="http://schemas.microsoft.com/office/drawing/2014/main" id="{F9566DB5-EF79-4E34-88C3-8522562856C9}"/>
              </a:ext>
            </a:extLst>
          </p:cNvPr>
          <p:cNvSpPr txBox="1"/>
          <p:nvPr/>
        </p:nvSpPr>
        <p:spPr>
          <a:xfrm>
            <a:off x="1763595"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 or PBI Premium</a:t>
            </a:r>
          </a:p>
        </p:txBody>
      </p:sp>
      <p:sp>
        <p:nvSpPr>
          <p:cNvPr id="8" name="Rectangle 7">
            <a:extLst>
              <a:ext uri="{FF2B5EF4-FFF2-40B4-BE49-F238E27FC236}">
                <a16:creationId xmlns:a16="http://schemas.microsoft.com/office/drawing/2014/main" id="{15BACB4E-4DCA-490F-89E7-B2C03996D86E}"/>
              </a:ext>
            </a:extLst>
          </p:cNvPr>
          <p:cNvSpPr/>
          <p:nvPr/>
        </p:nvSpPr>
        <p:spPr>
          <a:xfrm>
            <a:off x="8644013" y="1313971"/>
            <a:ext cx="3361328" cy="45997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Apps</a:t>
            </a:r>
          </a:p>
        </p:txBody>
      </p:sp>
      <p:sp>
        <p:nvSpPr>
          <p:cNvPr id="13" name="TextBox 12">
            <a:extLst>
              <a:ext uri="{FF2B5EF4-FFF2-40B4-BE49-F238E27FC236}">
                <a16:creationId xmlns:a16="http://schemas.microsoft.com/office/drawing/2014/main" id="{12283769-0584-4B3D-90A4-5108511B746D}"/>
              </a:ext>
            </a:extLst>
          </p:cNvPr>
          <p:cNvSpPr txBox="1"/>
          <p:nvPr/>
        </p:nvSpPr>
        <p:spPr>
          <a:xfrm>
            <a:off x="8644013" y="1948509"/>
            <a:ext cx="3361328" cy="46080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Large</a:t>
            </a:r>
          </a:p>
        </p:txBody>
      </p:sp>
      <p:sp>
        <p:nvSpPr>
          <p:cNvPr id="18" name="TextBox 17">
            <a:extLst>
              <a:ext uri="{FF2B5EF4-FFF2-40B4-BE49-F238E27FC236}">
                <a16:creationId xmlns:a16="http://schemas.microsoft.com/office/drawing/2014/main" id="{D5D942F3-6E81-40EA-B3EF-C86BA94AE8EF}"/>
              </a:ext>
            </a:extLst>
          </p:cNvPr>
          <p:cNvSpPr txBox="1"/>
          <p:nvPr/>
        </p:nvSpPr>
        <p:spPr>
          <a:xfrm>
            <a:off x="8644013" y="2544254"/>
            <a:ext cx="3361328" cy="459970"/>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Content Distribution; View access </a:t>
            </a:r>
          </a:p>
        </p:txBody>
      </p:sp>
      <p:sp>
        <p:nvSpPr>
          <p:cNvPr id="29" name="TextBox 28">
            <a:extLst>
              <a:ext uri="{FF2B5EF4-FFF2-40B4-BE49-F238E27FC236}">
                <a16:creationId xmlns:a16="http://schemas.microsoft.com/office/drawing/2014/main" id="{4DAF2FAE-DD65-4918-8962-DF29D646D8F9}"/>
              </a:ext>
            </a:extLst>
          </p:cNvPr>
          <p:cNvSpPr txBox="1"/>
          <p:nvPr/>
        </p:nvSpPr>
        <p:spPr>
          <a:xfrm>
            <a:off x="8644013" y="3139169"/>
            <a:ext cx="3361328" cy="867296"/>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Everyone</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Individuals </a:t>
            </a:r>
          </a:p>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AD Security Groups</a:t>
            </a:r>
          </a:p>
          <a:p>
            <a:pPr marL="0" marR="0" lvl="0" indent="0" algn="l" defTabSz="89508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endParaRPr>
          </a:p>
        </p:txBody>
      </p:sp>
      <p:sp>
        <p:nvSpPr>
          <p:cNvPr id="36" name="TextBox 35">
            <a:extLst>
              <a:ext uri="{FF2B5EF4-FFF2-40B4-BE49-F238E27FC236}">
                <a16:creationId xmlns:a16="http://schemas.microsoft.com/office/drawing/2014/main" id="{DEE5899D-2199-452F-97F4-7CB43F4BF1CA}"/>
              </a:ext>
            </a:extLst>
          </p:cNvPr>
          <p:cNvSpPr txBox="1"/>
          <p:nvPr/>
        </p:nvSpPr>
        <p:spPr>
          <a:xfrm>
            <a:off x="8644013" y="4062948"/>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No</a:t>
            </a:r>
          </a:p>
        </p:txBody>
      </p:sp>
      <p:sp>
        <p:nvSpPr>
          <p:cNvPr id="38" name="TextBox 37">
            <a:extLst>
              <a:ext uri="{FF2B5EF4-FFF2-40B4-BE49-F238E27FC236}">
                <a16:creationId xmlns:a16="http://schemas.microsoft.com/office/drawing/2014/main" id="{26A510B2-266D-4FCC-842B-A3A907B51E6D}"/>
              </a:ext>
            </a:extLst>
          </p:cNvPr>
          <p:cNvSpPr txBox="1"/>
          <p:nvPr/>
        </p:nvSpPr>
        <p:spPr>
          <a:xfrm>
            <a:off x="8644013" y="5510611"/>
            <a:ext cx="3361328" cy="831273"/>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hlinkClick r:id="rId6"/>
              </a:rPr>
              <a:t>Publish apps with dashboards and reports in Power BI</a:t>
            </a: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 </a:t>
            </a:r>
          </a:p>
        </p:txBody>
      </p:sp>
      <p:sp>
        <p:nvSpPr>
          <p:cNvPr id="56" name="TextBox 55">
            <a:extLst>
              <a:ext uri="{FF2B5EF4-FFF2-40B4-BE49-F238E27FC236}">
                <a16:creationId xmlns:a16="http://schemas.microsoft.com/office/drawing/2014/main" id="{057CE944-386A-4F6A-9CDB-C68C03408235}"/>
              </a:ext>
            </a:extLst>
          </p:cNvPr>
          <p:cNvSpPr txBox="1"/>
          <p:nvPr/>
        </p:nvSpPr>
        <p:spPr>
          <a:xfrm>
            <a:off x="8644013" y="4781636"/>
            <a:ext cx="3361328" cy="655319"/>
          </a:xfrm>
          <a:prstGeom prst="rect">
            <a:avLst/>
          </a:prstGeom>
          <a:solidFill>
            <a:schemeClr val="bg1">
              <a:lumMod val="95000"/>
            </a:schemeClr>
          </a:solidFill>
        </p:spPr>
        <p:txBody>
          <a:bodyPr wrap="square" lIns="131763" tIns="131763" rIns="0" bIns="140528" rtlCol="0" anchor="t">
            <a:noAutofit/>
          </a:bodyPr>
          <a:lstStyle>
            <a:defPPr>
              <a:defRPr lang="en-US"/>
            </a:defPPr>
            <a:lvl1pPr defTabSz="895083" fontAlgn="base">
              <a:lnSpc>
                <a:spcPct val="90000"/>
              </a:lnSpc>
              <a:spcBef>
                <a:spcPct val="0"/>
              </a:spcBef>
              <a:spcAft>
                <a:spcPct val="0"/>
              </a:spcAft>
              <a:defRPr sz="1000" b="1" spc="0">
                <a:ln>
                  <a:solidFill>
                    <a:srgbClr val="FFFFFF">
                      <a:alpha val="0"/>
                    </a:srgbClr>
                  </a:solidFill>
                </a:ln>
                <a:latin typeface="Segoe UI Light"/>
                <a:ea typeface="Segoe UI" pitchFamily="34" charset="0"/>
                <a:cs typeface="Segoe UI" pitchFamily="34" charset="0"/>
              </a:defRPr>
            </a:lvl1pPr>
          </a:lstStyle>
          <a:p>
            <a:pPr marL="0" marR="0" lvl="0" indent="0" algn="l" defTabSz="8950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solidFill>
                    <a:srgbClr val="FFFFFF">
                      <a:alpha val="0"/>
                    </a:srgbClr>
                  </a:solidFill>
                </a:ln>
                <a:solidFill>
                  <a:prstClr val="black"/>
                </a:solidFill>
                <a:effectLst/>
                <a:uLnTx/>
                <a:uFillTx/>
                <a:latin typeface="Segoe UI Light"/>
                <a:cs typeface="Segoe UI" pitchFamily="34" charset="0"/>
              </a:rPr>
              <a:t>Pro License or PBI Premium</a:t>
            </a:r>
          </a:p>
        </p:txBody>
      </p:sp>
      <p:sp>
        <p:nvSpPr>
          <p:cNvPr id="3" name="Title 2">
            <a:extLst>
              <a:ext uri="{FF2B5EF4-FFF2-40B4-BE49-F238E27FC236}">
                <a16:creationId xmlns:a16="http://schemas.microsoft.com/office/drawing/2014/main" id="{2AC9A213-09FA-4007-B022-F7CF44A84BDB}"/>
              </a:ext>
            </a:extLst>
          </p:cNvPr>
          <p:cNvSpPr>
            <a:spLocks noGrp="1"/>
          </p:cNvSpPr>
          <p:nvPr>
            <p:ph type="title"/>
          </p:nvPr>
        </p:nvSpPr>
        <p:spPr/>
        <p:txBody>
          <a:bodyPr/>
          <a:lstStyle/>
          <a:p>
            <a:r>
              <a:rPr lang="en-US" sz="4400"/>
              <a:t>When should you use the various sharing options?</a:t>
            </a:r>
          </a:p>
        </p:txBody>
      </p:sp>
    </p:spTree>
    <p:extLst>
      <p:ext uri="{BB962C8B-B14F-4D97-AF65-F5344CB8AC3E}">
        <p14:creationId xmlns:p14="http://schemas.microsoft.com/office/powerpoint/2010/main" val="4178667000"/>
      </p:ext>
    </p:extLst>
  </p:cSld>
  <p:clrMapOvr>
    <a:masterClrMapping/>
  </p:clrMapOvr>
  <mc:AlternateContent xmlns:mc="http://schemas.openxmlformats.org/markup-compatibility/2006" xmlns:p14="http://schemas.microsoft.com/office/powerpoint/2010/main">
    <mc:Choice Requires="p14">
      <p:transition spd="med" p14:dur="700" advTm="18625">
        <p:fade/>
      </p:transition>
    </mc:Choice>
    <mc:Fallback xmlns="">
      <p:transition spd="med" advTm="18625">
        <p:fade/>
      </p:transition>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CBE41B-0AA9-40D1-9BD5-EEBEB7A65659}"/>
              </a:ext>
            </a:extLst>
          </p:cNvPr>
          <p:cNvSpPr>
            <a:spLocks noGrp="1"/>
          </p:cNvSpPr>
          <p:nvPr>
            <p:ph type="title"/>
          </p:nvPr>
        </p:nvSpPr>
        <p:spPr/>
        <p:txBody>
          <a:bodyPr/>
          <a:lstStyle/>
          <a:p>
            <a:r>
              <a:rPr lang="de-DE" err="1"/>
              <a:t>Improve</a:t>
            </a:r>
            <a:r>
              <a:rPr lang="de-DE"/>
              <a:t> Security &amp; </a:t>
            </a:r>
            <a:br>
              <a:rPr lang="de-DE"/>
            </a:br>
            <a:r>
              <a:rPr lang="de-DE"/>
              <a:t>Data </a:t>
            </a:r>
            <a:r>
              <a:rPr lang="de-DE" err="1"/>
              <a:t>Protection</a:t>
            </a:r>
            <a:endParaRPr lang="en-US"/>
          </a:p>
        </p:txBody>
      </p:sp>
      <p:sp>
        <p:nvSpPr>
          <p:cNvPr id="3" name="Textplatzhalter 2">
            <a:extLst>
              <a:ext uri="{FF2B5EF4-FFF2-40B4-BE49-F238E27FC236}">
                <a16:creationId xmlns:a16="http://schemas.microsoft.com/office/drawing/2014/main" id="{7E15948D-12FA-4696-B02C-A420C5E7D55E}"/>
              </a:ext>
            </a:extLst>
          </p:cNvPr>
          <p:cNvSpPr>
            <a:spLocks noGrp="1"/>
          </p:cNvSpPr>
          <p:nvPr>
            <p:ph type="body" sz="quarter" idx="10"/>
          </p:nvPr>
        </p:nvSpPr>
        <p:spPr>
          <a:xfrm>
            <a:off x="5570822" y="890536"/>
            <a:ext cx="6349832" cy="5373779"/>
          </a:xfrm>
        </p:spPr>
        <p:txBody>
          <a:bodyPr/>
          <a:lstStyle/>
          <a:p>
            <a:pPr marL="285750" indent="-285750">
              <a:buFont typeface="Arial" panose="020B0604020202020204" pitchFamily="34" charset="0"/>
              <a:buChar char="•"/>
            </a:pPr>
            <a:r>
              <a:rPr lang="en-US" sz="2000"/>
              <a:t>Clarify exactly what the expectations are for data protection, and ensure those expectations are communicated to the community of users.</a:t>
            </a:r>
          </a:p>
          <a:p>
            <a:endParaRPr lang="en-US" sz="2000"/>
          </a:p>
          <a:p>
            <a:pPr marL="285750" indent="-285750">
              <a:buFont typeface="Arial" panose="020B0604020202020204" pitchFamily="34" charset="0"/>
              <a:buChar char="•"/>
            </a:pPr>
            <a:r>
              <a:rPr lang="en-US" sz="2000"/>
              <a:t>Understand and document the organizational policies around sharing Power BI content with external users, and ensure that Power BI service settings support those policies.</a:t>
            </a:r>
          </a:p>
          <a:p>
            <a:endParaRPr lang="en-US" sz="2000"/>
          </a:p>
          <a:p>
            <a:pPr marL="285750" indent="-285750">
              <a:buFont typeface="Arial" panose="020B0604020202020204" pitchFamily="34" charset="0"/>
              <a:buChar char="•"/>
            </a:pPr>
            <a:r>
              <a:rPr lang="en-US" sz="2000"/>
              <a:t>If they do not currently exist, begin the process of deciding on sensitivity labels. Involve the relevant IT teams for decision-making and configuration in Microsoft 365.</a:t>
            </a:r>
          </a:p>
          <a:p>
            <a:endParaRPr lang="en-US" sz="2000"/>
          </a:p>
          <a:p>
            <a:pPr marL="285750" indent="-285750">
              <a:buFont typeface="Arial" panose="020B0604020202020204" pitchFamily="34" charset="0"/>
              <a:buChar char="•"/>
            </a:pPr>
            <a:r>
              <a:rPr lang="en-US" sz="2000"/>
              <a:t>Investigate the use of Microsoft Cloud App Security to monitor user behavior and activities in the Power BI service.</a:t>
            </a:r>
          </a:p>
        </p:txBody>
      </p:sp>
    </p:spTree>
    <p:extLst>
      <p:ext uri="{BB962C8B-B14F-4D97-AF65-F5344CB8AC3E}">
        <p14:creationId xmlns:p14="http://schemas.microsoft.com/office/powerpoint/2010/main" val="373688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System </a:t>
            </a:r>
            <a:r>
              <a:rPr lang="de-DE" err="1"/>
              <a:t>Oversight</a:t>
            </a:r>
            <a:endParaRPr lang="en-US"/>
          </a:p>
        </p:txBody>
      </p:sp>
      <p:graphicFrame>
        <p:nvGraphicFramePr>
          <p:cNvPr id="4" name="Tabelle 3">
            <a:extLst>
              <a:ext uri="{FF2B5EF4-FFF2-40B4-BE49-F238E27FC236}">
                <a16:creationId xmlns:a16="http://schemas.microsoft.com/office/drawing/2014/main" id="{154AFCCF-9569-42F6-98CF-DA0C21DA6E14}"/>
              </a:ext>
            </a:extLst>
          </p:cNvPr>
          <p:cNvGraphicFramePr/>
          <p:nvPr/>
        </p:nvGraphicFramePr>
        <p:xfrm>
          <a:off x="570570" y="1213665"/>
          <a:ext cx="11050860" cy="5498777"/>
        </p:xfrm>
        <a:graphic>
          <a:graphicData uri="http://schemas.openxmlformats.org/drawingml/2006/table">
            <a:tbl>
              <a:tblPr>
                <a:tableStyleId>{5C22544A-7EE6-4342-B048-85BDC9FD1C3A}</a:tableStyleId>
              </a:tblPr>
              <a:tblGrid>
                <a:gridCol w="1726581">
                  <a:extLst>
                    <a:ext uri="{9D8B030D-6E8A-4147-A177-3AD203B41FA5}">
                      <a16:colId xmlns:a16="http://schemas.microsoft.com/office/drawing/2014/main" val="1589924911"/>
                    </a:ext>
                  </a:extLst>
                </a:gridCol>
                <a:gridCol w="9324279">
                  <a:extLst>
                    <a:ext uri="{9D8B030D-6E8A-4147-A177-3AD203B41FA5}">
                      <a16:colId xmlns:a16="http://schemas.microsoft.com/office/drawing/2014/main" val="3238858732"/>
                    </a:ext>
                  </a:extLst>
                </a:gridCol>
              </a:tblGrid>
              <a:tr h="338687">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13151" marR="13151" marT="6575" marB="6575"/>
                </a:tc>
                <a:tc>
                  <a:txBody>
                    <a:bodyPr/>
                    <a:lstStyle/>
                    <a:p>
                      <a:pPr algn="l" fontAlgn="t">
                        <a:spcBef>
                          <a:spcPts val="0"/>
                        </a:spcBef>
                        <a:spcAft>
                          <a:spcPts val="0"/>
                        </a:spcAft>
                      </a:pPr>
                      <a:r>
                        <a:rPr lang="en-US" sz="1600" b="1" u="none" strike="noStrike">
                          <a:effectLst/>
                        </a:rPr>
                        <a:t>State of Power BI system oversight</a:t>
                      </a:r>
                      <a:endParaRPr lang="en-US" sz="1600" b="1"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018846157"/>
                  </a:ext>
                </a:extLst>
              </a:tr>
              <a:tr h="983710">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enant settings are configured independently by one or more administrators based on their best judgment.</a:t>
                      </a:r>
                    </a:p>
                    <a:p>
                      <a:pPr marL="285750" indent="-285750" algn="l" fontAlgn="t">
                        <a:spcBef>
                          <a:spcPts val="0"/>
                        </a:spcBef>
                        <a:spcAft>
                          <a:spcPts val="0"/>
                        </a:spcAft>
                        <a:buFont typeface="Arial" panose="020B0604020202020204" pitchFamily="34" charset="0"/>
                        <a:buChar char="•"/>
                      </a:pPr>
                      <a:r>
                        <a:rPr lang="en-US" sz="1600" u="none" strike="noStrike">
                          <a:effectLst/>
                        </a:rPr>
                        <a:t>Architecture needs, such as gateways and capacities, are satisfied on an as-needed basis, though without a strategic plan.</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s are unused, or selectively used for tactical purposes.</a:t>
                      </a:r>
                    </a:p>
                    <a:p>
                      <a:pPr algn="l" fontAlgn="t">
                        <a:spcBef>
                          <a:spcPts val="0"/>
                        </a:spcBef>
                        <a:spcAft>
                          <a:spcPts val="0"/>
                        </a:spcAft>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356145674"/>
                  </a:ext>
                </a:extLst>
              </a:tr>
              <a:tr h="115725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enant settings are reviewed on a regular basis, and purposefully align with established governance guidelines and policies.</a:t>
                      </a:r>
                    </a:p>
                    <a:p>
                      <a:pPr marL="285750" indent="-285750" algn="l" fontAlgn="t">
                        <a:spcBef>
                          <a:spcPts val="0"/>
                        </a:spcBef>
                        <a:spcAft>
                          <a:spcPts val="0"/>
                        </a:spcAft>
                        <a:buFont typeface="Arial" panose="020B0604020202020204" pitchFamily="34" charset="0"/>
                        <a:buChar char="•"/>
                      </a:pPr>
                      <a:r>
                        <a:rPr lang="en-US" sz="1600" u="none" strike="noStrike">
                          <a:effectLst/>
                        </a:rPr>
                        <a:t>A small number of specific administrators are selected, and they have a good understanding of what users are trying to accomplish.</a:t>
                      </a:r>
                    </a:p>
                    <a:p>
                      <a:pPr marL="285750" indent="-285750" algn="l" fontAlgn="t">
                        <a:spcBef>
                          <a:spcPts val="0"/>
                        </a:spcBef>
                        <a:spcAft>
                          <a:spcPts val="0"/>
                        </a:spcAft>
                        <a:buFont typeface="Arial" panose="020B0604020202020204" pitchFamily="34" charset="0"/>
                        <a:buChar char="•"/>
                      </a:pPr>
                      <a:r>
                        <a:rPr lang="en-US" sz="1600" u="none" strike="noStrike">
                          <a:effectLst/>
                        </a:rPr>
                        <a:t>An effective process exists for users to request licenses and software.</a:t>
                      </a:r>
                    </a:p>
                    <a:p>
                      <a:pPr marL="285750" indent="-285750" algn="l" fontAlgn="t">
                        <a:spcBef>
                          <a:spcPts val="0"/>
                        </a:spcBef>
                        <a:spcAft>
                          <a:spcPts val="0"/>
                        </a:spcAft>
                        <a:buFont typeface="Arial" panose="020B0604020202020204" pitchFamily="34" charset="0"/>
                        <a:buChar char="•"/>
                      </a:pPr>
                      <a:r>
                        <a:rPr lang="en-US" sz="1600" u="none" strike="noStrike">
                          <a:effectLst/>
                        </a:rPr>
                        <a:t>Sensitivity labels are configured in Microsoft 365, though usage of labels remains inconsistent.</a:t>
                      </a:r>
                    </a:p>
                    <a:p>
                      <a:pPr algn="l" fontAlgn="t">
                        <a:spcBef>
                          <a:spcPts val="0"/>
                        </a:spcBef>
                        <a:spcAft>
                          <a:spcPts val="0"/>
                        </a:spcAft>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138669705"/>
                  </a:ext>
                </a:extLst>
              </a:tr>
              <a:tr h="1038899">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The tenant settings are fully documented in the community portal for users to reference, including how to request access to the correct groups.</a:t>
                      </a:r>
                    </a:p>
                    <a:p>
                      <a:pPr marL="285750" indent="-285750" algn="l" fontAlgn="t">
                        <a:spcBef>
                          <a:spcPts val="0"/>
                        </a:spcBef>
                        <a:spcAft>
                          <a:spcPts val="0"/>
                        </a:spcAft>
                        <a:buFont typeface="Arial" panose="020B0604020202020204" pitchFamily="34" charset="0"/>
                        <a:buChar char="•"/>
                      </a:pPr>
                      <a:r>
                        <a:rPr lang="en-US" sz="1600" u="none" strike="noStrike">
                          <a:effectLst/>
                        </a:rPr>
                        <a:t>Cross-training and documentation exists for administrators to ensure continuity and stability.</a:t>
                      </a:r>
                    </a:p>
                    <a:p>
                      <a:pPr marL="285750" indent="-285750" algn="l" fontAlgn="t">
                        <a:spcBef>
                          <a:spcPts val="0"/>
                        </a:spcBef>
                        <a:spcAft>
                          <a:spcPts val="0"/>
                        </a:spcAft>
                        <a:buFont typeface="Arial" panose="020B0604020202020204" pitchFamily="34" charset="0"/>
                        <a:buChar char="•"/>
                      </a:pPr>
                      <a:r>
                        <a:rPr lang="en-US" sz="1600" u="none" strike="noStrike">
                          <a:effectLst/>
                        </a:rPr>
                        <a:t>Sensitivity labels are assigned to content consistently.</a:t>
                      </a:r>
                    </a:p>
                    <a:p>
                      <a:pPr marL="285750" indent="-285750" algn="l" fontAlgn="t">
                        <a:spcBef>
                          <a:spcPts val="0"/>
                        </a:spcBef>
                        <a:spcAft>
                          <a:spcPts val="0"/>
                        </a:spcAft>
                        <a:buFont typeface="Arial" panose="020B0604020202020204" pitchFamily="34" charset="0"/>
                        <a:buChar char="•"/>
                      </a:pPr>
                      <a:r>
                        <a:rPr lang="en-US" sz="1600" u="none" strike="noStrike">
                          <a:effectLst/>
                        </a:rPr>
                        <a:t>An automated process is in place to export Power BI activity log and API data to a secure location for reporting and auditing.</a:t>
                      </a:r>
                      <a:endParaRPr lang="en-US" sz="1600" b="0" i="0" u="none" strike="noStrike">
                        <a:effectLst/>
                        <a:latin typeface="Arial" panose="020B0604020202020204" pitchFamily="34" charset="0"/>
                      </a:endParaRP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p>
                      <a:pPr marL="285750" indent="-285750" algn="l" fontAlgn="t">
                        <a:spcBef>
                          <a:spcPts val="0"/>
                        </a:spcBef>
                        <a:spcAft>
                          <a:spcPts val="0"/>
                        </a:spcAft>
                        <a:buFont typeface="Arial" panose="020B0604020202020204" pitchFamily="34" charset="0"/>
                        <a:buChar char="•"/>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2865484414"/>
                  </a:ext>
                </a:extLst>
              </a:tr>
            </a:tbl>
          </a:graphicData>
        </a:graphic>
      </p:graphicFrame>
    </p:spTree>
    <p:extLst>
      <p:ext uri="{BB962C8B-B14F-4D97-AF65-F5344CB8AC3E}">
        <p14:creationId xmlns:p14="http://schemas.microsoft.com/office/powerpoint/2010/main" val="277838088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System </a:t>
            </a:r>
            <a:r>
              <a:rPr lang="de-DE" err="1"/>
              <a:t>Oversight</a:t>
            </a:r>
            <a:endParaRPr lang="en-US"/>
          </a:p>
        </p:txBody>
      </p:sp>
      <p:graphicFrame>
        <p:nvGraphicFramePr>
          <p:cNvPr id="4" name="Tabelle 3">
            <a:extLst>
              <a:ext uri="{FF2B5EF4-FFF2-40B4-BE49-F238E27FC236}">
                <a16:creationId xmlns:a16="http://schemas.microsoft.com/office/drawing/2014/main" id="{154AFCCF-9569-42F6-98CF-DA0C21DA6E14}"/>
              </a:ext>
            </a:extLst>
          </p:cNvPr>
          <p:cNvGraphicFramePr/>
          <p:nvPr/>
        </p:nvGraphicFramePr>
        <p:xfrm>
          <a:off x="570570" y="1202514"/>
          <a:ext cx="11050860" cy="3822506"/>
        </p:xfrm>
        <a:graphic>
          <a:graphicData uri="http://schemas.openxmlformats.org/drawingml/2006/table">
            <a:tbl>
              <a:tblPr>
                <a:tableStyleId>{5C22544A-7EE6-4342-B048-85BDC9FD1C3A}</a:tableStyleId>
              </a:tblPr>
              <a:tblGrid>
                <a:gridCol w="1726581">
                  <a:extLst>
                    <a:ext uri="{9D8B030D-6E8A-4147-A177-3AD203B41FA5}">
                      <a16:colId xmlns:a16="http://schemas.microsoft.com/office/drawing/2014/main" val="1589924911"/>
                    </a:ext>
                  </a:extLst>
                </a:gridCol>
                <a:gridCol w="9324279">
                  <a:extLst>
                    <a:ext uri="{9D8B030D-6E8A-4147-A177-3AD203B41FA5}">
                      <a16:colId xmlns:a16="http://schemas.microsoft.com/office/drawing/2014/main" val="3238858732"/>
                    </a:ext>
                  </a:extLst>
                </a:gridCol>
              </a:tblGrid>
              <a:tr h="626286">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13151" marR="13151" marT="6575" marB="6575"/>
                </a:tc>
                <a:tc>
                  <a:txBody>
                    <a:bodyPr/>
                    <a:lstStyle/>
                    <a:p>
                      <a:pPr algn="l" fontAlgn="t">
                        <a:spcBef>
                          <a:spcPts val="0"/>
                        </a:spcBef>
                        <a:spcAft>
                          <a:spcPts val="0"/>
                        </a:spcAft>
                      </a:pPr>
                      <a:r>
                        <a:rPr lang="en-US" sz="1600" b="1" u="none" strike="noStrike">
                          <a:effectLst/>
                        </a:rPr>
                        <a:t>State of Power BI system oversight</a:t>
                      </a:r>
                      <a:endParaRPr lang="en-US" sz="1600" b="1"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3018846157"/>
                  </a:ext>
                </a:extLst>
              </a:tr>
              <a:tr h="1354514">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Automated policies are configured and actively monitored in Microsoft Cloud App Security for data loss prevention.</a:t>
                      </a:r>
                    </a:p>
                    <a:p>
                      <a:pPr marL="285750" indent="-285750" algn="l" fontAlgn="t">
                        <a:spcBef>
                          <a:spcPts val="0"/>
                        </a:spcBef>
                        <a:spcAft>
                          <a:spcPts val="0"/>
                        </a:spcAft>
                        <a:buFont typeface="Arial" panose="020B0604020202020204" pitchFamily="34" charset="0"/>
                        <a:buChar char="•"/>
                      </a:pPr>
                      <a:r>
                        <a:rPr lang="en-US" sz="1600" u="none" strike="noStrike">
                          <a:effectLst/>
                        </a:rPr>
                        <a:t>Administrators work closely with the COE and governance teams to provide oversight of Power BI with an emphasis on user empowerment within the requisite guardrails.</a:t>
                      </a:r>
                    </a:p>
                    <a:p>
                      <a:pPr marL="285750" indent="-285750" algn="l" fontAlgn="t">
                        <a:spcBef>
                          <a:spcPts val="0"/>
                        </a:spcBef>
                        <a:spcAft>
                          <a:spcPts val="0"/>
                        </a:spcAft>
                        <a:buFont typeface="Arial" panose="020B0604020202020204" pitchFamily="34" charset="0"/>
                        <a:buChar char="•"/>
                      </a:pPr>
                      <a:r>
                        <a:rPr lang="en-US" sz="1600" u="none" strike="noStrike">
                          <a:effectLst/>
                        </a:rPr>
                        <a:t>Decentralized management of data architecture (such as gateways or capacity management) is effectively handled to balance agility and control.</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 and API data is actively analyzed to monitor and audit Power BI activities. Proactive action is taken based on the data.</a:t>
                      </a:r>
                    </a:p>
                    <a:p>
                      <a:pPr marL="0" indent="0" algn="l" fontAlgn="t">
                        <a:spcBef>
                          <a:spcPts val="0"/>
                        </a:spcBef>
                        <a:spcAft>
                          <a:spcPts val="0"/>
                        </a:spcAft>
                        <a:buFont typeface="Arial" panose="020B0604020202020204" pitchFamily="34" charset="0"/>
                        <a:buNone/>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1328206017"/>
                  </a:ext>
                </a:extLst>
              </a:tr>
              <a:tr h="604928">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13151" marR="13151" marT="6575" marB="6575"/>
                </a:tc>
                <a:tc>
                  <a:txBody>
                    <a:bodyPr/>
                    <a:lstStyle/>
                    <a:p>
                      <a:pPr marL="285750" indent="-285750" algn="l" fontAlgn="t">
                        <a:spcBef>
                          <a:spcPts val="0"/>
                        </a:spcBef>
                        <a:spcAft>
                          <a:spcPts val="0"/>
                        </a:spcAft>
                        <a:buFont typeface="Arial" panose="020B0604020202020204" pitchFamily="34" charset="0"/>
                        <a:buChar char="•"/>
                      </a:pPr>
                      <a:r>
                        <a:rPr lang="en-US" sz="1600" u="none" strike="noStrike">
                          <a:effectLst/>
                        </a:rPr>
                        <a:t>Regular cost management analysis is done to ensure user needs are met in a cost-effective way.</a:t>
                      </a:r>
                    </a:p>
                    <a:p>
                      <a:pPr marL="285750" indent="-285750" algn="l" fontAlgn="t">
                        <a:spcBef>
                          <a:spcPts val="0"/>
                        </a:spcBef>
                        <a:spcAft>
                          <a:spcPts val="0"/>
                        </a:spcAft>
                        <a:buFont typeface="Arial" panose="020B0604020202020204" pitchFamily="34" charset="0"/>
                        <a:buChar char="•"/>
                      </a:pPr>
                      <a:r>
                        <a:rPr lang="en-US" sz="1600" u="none" strike="noStrike">
                          <a:effectLst/>
                        </a:rPr>
                        <a:t>Power BI activity log and API data is actively used to inform and improve adoption efforts (in addition to monitoring and auditing of Power BI activities).</a:t>
                      </a:r>
                    </a:p>
                    <a:p>
                      <a:pPr marL="0" indent="0" algn="l" fontAlgn="t">
                        <a:spcBef>
                          <a:spcPts val="0"/>
                        </a:spcBef>
                        <a:spcAft>
                          <a:spcPts val="0"/>
                        </a:spcAft>
                        <a:buFont typeface="Arial" panose="020B0604020202020204" pitchFamily="34" charset="0"/>
                        <a:buNone/>
                      </a:pPr>
                      <a:endParaRPr lang="en-US" sz="1600" b="0" i="0" u="none" strike="noStrike">
                        <a:effectLst/>
                        <a:latin typeface="Arial" panose="020B0604020202020204" pitchFamily="34" charset="0"/>
                      </a:endParaRPr>
                    </a:p>
                  </a:txBody>
                  <a:tcPr marL="13151" marR="13151" marT="6575" marB="6575"/>
                </a:tc>
                <a:extLst>
                  <a:ext uri="{0D108BD9-81ED-4DB2-BD59-A6C34878D82A}">
                    <a16:rowId xmlns:a16="http://schemas.microsoft.com/office/drawing/2014/main" val="4039355634"/>
                  </a:ext>
                </a:extLst>
              </a:tr>
            </a:tbl>
          </a:graphicData>
        </a:graphic>
      </p:graphicFrame>
    </p:spTree>
    <p:extLst>
      <p:ext uri="{BB962C8B-B14F-4D97-AF65-F5344CB8AC3E}">
        <p14:creationId xmlns:p14="http://schemas.microsoft.com/office/powerpoint/2010/main" val="404297420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ADCE0-4CC8-4D43-B853-69B6522AB748}"/>
              </a:ext>
            </a:extLst>
          </p:cNvPr>
          <p:cNvSpPr>
            <a:spLocks noGrp="1"/>
          </p:cNvSpPr>
          <p:nvPr>
            <p:ph type="ctrTitle"/>
          </p:nvPr>
        </p:nvSpPr>
        <p:spPr/>
        <p:txBody>
          <a:bodyPr/>
          <a:lstStyle/>
          <a:p>
            <a:r>
              <a:rPr lang="de-DE" err="1"/>
              <a:t>PowerBI</a:t>
            </a:r>
            <a:r>
              <a:rPr lang="de-DE"/>
              <a:t> Service Management:</a:t>
            </a:r>
            <a:br>
              <a:rPr lang="de-DE"/>
            </a:br>
            <a:r>
              <a:rPr lang="de-DE"/>
              <a:t>Licensing</a:t>
            </a:r>
          </a:p>
        </p:txBody>
      </p:sp>
      <p:sp>
        <p:nvSpPr>
          <p:cNvPr id="3" name="Textplatzhalter 2">
            <a:extLst>
              <a:ext uri="{FF2B5EF4-FFF2-40B4-BE49-F238E27FC236}">
                <a16:creationId xmlns:a16="http://schemas.microsoft.com/office/drawing/2014/main" id="{3FA0B955-14AF-4FBF-89A2-594C9AAF75B2}"/>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95026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3802E-9421-43EC-B4EE-62C4E392CE07}"/>
              </a:ext>
            </a:extLst>
          </p:cNvPr>
          <p:cNvSpPr>
            <a:spLocks noGrp="1"/>
          </p:cNvSpPr>
          <p:nvPr>
            <p:ph type="title"/>
          </p:nvPr>
        </p:nvSpPr>
        <p:spPr/>
        <p:txBody>
          <a:bodyPr/>
          <a:lstStyle/>
          <a:p>
            <a:r>
              <a:rPr lang="en-US"/>
              <a:t>Power BI family</a:t>
            </a:r>
          </a:p>
        </p:txBody>
      </p:sp>
      <p:sp>
        <p:nvSpPr>
          <p:cNvPr id="4" name="Rectangle 3">
            <a:extLst>
              <a:ext uri="{FF2B5EF4-FFF2-40B4-BE49-F238E27FC236}">
                <a16:creationId xmlns:a16="http://schemas.microsoft.com/office/drawing/2014/main" id="{5B8CE203-4484-4A8D-96ED-98A56F285C64}"/>
              </a:ext>
            </a:extLst>
          </p:cNvPr>
          <p:cNvSpPr/>
          <p:nvPr/>
        </p:nvSpPr>
        <p:spPr bwMode="auto">
          <a:xfrm>
            <a:off x="4390453" y="2808132"/>
            <a:ext cx="3616004"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Pro</a:t>
            </a:r>
          </a:p>
        </p:txBody>
      </p:sp>
      <p:sp>
        <p:nvSpPr>
          <p:cNvPr id="13" name="TextBox 12">
            <a:extLst>
              <a:ext uri="{FF2B5EF4-FFF2-40B4-BE49-F238E27FC236}">
                <a16:creationId xmlns:a16="http://schemas.microsoft.com/office/drawing/2014/main" id="{944D5174-2FA2-437C-8BDF-03F907D62DB1}"/>
              </a:ext>
            </a:extLst>
          </p:cNvPr>
          <p:cNvSpPr txBox="1"/>
          <p:nvPr/>
        </p:nvSpPr>
        <p:spPr>
          <a:xfrm>
            <a:off x="4390452" y="3770717"/>
            <a:ext cx="3797205"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Cloud-based modern </a:t>
            </a:r>
            <a:b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b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business analytics solution</a:t>
            </a:r>
          </a:p>
        </p:txBody>
      </p:sp>
      <p:sp>
        <p:nvSpPr>
          <p:cNvPr id="5" name="Rectangle 4">
            <a:extLst>
              <a:ext uri="{FF2B5EF4-FFF2-40B4-BE49-F238E27FC236}">
                <a16:creationId xmlns:a16="http://schemas.microsoft.com/office/drawing/2014/main" id="{2DD488BE-75E6-4100-BB05-A1EFE2228FF4}"/>
              </a:ext>
            </a:extLst>
          </p:cNvPr>
          <p:cNvSpPr/>
          <p:nvPr/>
        </p:nvSpPr>
        <p:spPr bwMode="auto">
          <a:xfrm>
            <a:off x="8511665" y="2808132"/>
            <a:ext cx="3397501"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Premium</a:t>
            </a:r>
          </a:p>
        </p:txBody>
      </p:sp>
      <p:sp>
        <p:nvSpPr>
          <p:cNvPr id="10" name="TextBox 9">
            <a:extLst>
              <a:ext uri="{FF2B5EF4-FFF2-40B4-BE49-F238E27FC236}">
                <a16:creationId xmlns:a16="http://schemas.microsoft.com/office/drawing/2014/main" id="{D7BF97BE-6F47-40D8-8B28-754CC00FA204}"/>
              </a:ext>
            </a:extLst>
          </p:cNvPr>
          <p:cNvSpPr txBox="1"/>
          <p:nvPr/>
        </p:nvSpPr>
        <p:spPr>
          <a:xfrm>
            <a:off x="8511665" y="3770717"/>
            <a:ext cx="3261477"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Dedicated capacity for increased performance</a:t>
            </a:r>
          </a:p>
        </p:txBody>
      </p:sp>
      <p:sp>
        <p:nvSpPr>
          <p:cNvPr id="20" name="Rectangle 19">
            <a:extLst>
              <a:ext uri="{FF2B5EF4-FFF2-40B4-BE49-F238E27FC236}">
                <a16:creationId xmlns:a16="http://schemas.microsoft.com/office/drawing/2014/main" id="{60CB25D8-7151-4054-A5CB-B4D1E2372680}"/>
              </a:ext>
            </a:extLst>
          </p:cNvPr>
          <p:cNvSpPr/>
          <p:nvPr/>
        </p:nvSpPr>
        <p:spPr bwMode="auto">
          <a:xfrm>
            <a:off x="269240" y="2808132"/>
            <a:ext cx="3616004"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light"/>
                <a:ea typeface="+mn-ea"/>
                <a:cs typeface="Segoe UI" pitchFamily="34" charset="0"/>
              </a:rPr>
              <a:t>Power BI Desktop</a:t>
            </a:r>
          </a:p>
        </p:txBody>
      </p:sp>
      <p:sp>
        <p:nvSpPr>
          <p:cNvPr id="23" name="TextBox 22">
            <a:extLst>
              <a:ext uri="{FF2B5EF4-FFF2-40B4-BE49-F238E27FC236}">
                <a16:creationId xmlns:a16="http://schemas.microsoft.com/office/drawing/2014/main" id="{26116158-D8E9-4C82-B0C1-E267FEFD5FEF}"/>
              </a:ext>
            </a:extLst>
          </p:cNvPr>
          <p:cNvSpPr txBox="1"/>
          <p:nvPr/>
        </p:nvSpPr>
        <p:spPr>
          <a:xfrm>
            <a:off x="269240" y="3770717"/>
            <a:ext cx="3616004" cy="724143"/>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Free data analysis </a:t>
            </a:r>
            <a:b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b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light"/>
                <a:ea typeface="+mn-ea"/>
                <a:cs typeface="+mn-cs"/>
              </a:rPr>
              <a:t>and report authoring tool</a:t>
            </a:r>
          </a:p>
        </p:txBody>
      </p:sp>
      <p:sp>
        <p:nvSpPr>
          <p:cNvPr id="35" name="Laptop_E770">
            <a:extLst>
              <a:ext uri="{FF2B5EF4-FFF2-40B4-BE49-F238E27FC236}">
                <a16:creationId xmlns:a16="http://schemas.microsoft.com/office/drawing/2014/main" id="{76D2B342-021F-4DD1-B4E7-2851216D0FB0}"/>
              </a:ext>
            </a:extLst>
          </p:cNvPr>
          <p:cNvSpPr>
            <a:spLocks noChangeAspect="1" noEditPoints="1"/>
          </p:cNvSpPr>
          <p:nvPr/>
        </p:nvSpPr>
        <p:spPr bwMode="auto">
          <a:xfrm>
            <a:off x="457815" y="2484610"/>
            <a:ext cx="618415" cy="41265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0" name="cloud_2">
            <a:extLst>
              <a:ext uri="{FF2B5EF4-FFF2-40B4-BE49-F238E27FC236}">
                <a16:creationId xmlns:a16="http://schemas.microsoft.com/office/drawing/2014/main" id="{E0C3534D-64AA-478F-8CB8-141E9EA4DAA0}"/>
              </a:ext>
            </a:extLst>
          </p:cNvPr>
          <p:cNvSpPr>
            <a:spLocks noChangeAspect="1" noEditPoints="1"/>
          </p:cNvSpPr>
          <p:nvPr/>
        </p:nvSpPr>
        <p:spPr bwMode="auto">
          <a:xfrm>
            <a:off x="4572078" y="2474492"/>
            <a:ext cx="750144" cy="43289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E8945DD5-B953-423A-9D52-52824C8EDF56}"/>
              </a:ext>
            </a:extLst>
          </p:cNvPr>
          <p:cNvCxnSpPr/>
          <p:nvPr/>
        </p:nvCxnSpPr>
        <p:spPr>
          <a:xfrm>
            <a:off x="269241"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7BB9D04-1CA3-4E04-838F-EA34F430350F}"/>
              </a:ext>
            </a:extLst>
          </p:cNvPr>
          <p:cNvCxnSpPr/>
          <p:nvPr/>
        </p:nvCxnSpPr>
        <p:spPr>
          <a:xfrm>
            <a:off x="4390453"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05A3DA5-2F8C-4D5B-ABEC-FC4753B50F67}"/>
              </a:ext>
            </a:extLst>
          </p:cNvPr>
          <p:cNvCxnSpPr/>
          <p:nvPr/>
        </p:nvCxnSpPr>
        <p:spPr>
          <a:xfrm>
            <a:off x="8511665" y="3660687"/>
            <a:ext cx="3257321"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E0ACB6B-C86D-4026-AFBD-793B06D8E88E}"/>
              </a:ext>
            </a:extLst>
          </p:cNvPr>
          <p:cNvSpPr txBox="1"/>
          <p:nvPr/>
        </p:nvSpPr>
        <p:spPr>
          <a:xfrm>
            <a:off x="269240"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uthor</a:t>
            </a:r>
          </a:p>
        </p:txBody>
      </p:sp>
      <p:sp>
        <p:nvSpPr>
          <p:cNvPr id="25" name="TextBox 24">
            <a:extLst>
              <a:ext uri="{FF2B5EF4-FFF2-40B4-BE49-F238E27FC236}">
                <a16:creationId xmlns:a16="http://schemas.microsoft.com/office/drawing/2014/main" id="{6C2F2EA3-7053-4F7E-9520-260ADBBDF9DD}"/>
              </a:ext>
            </a:extLst>
          </p:cNvPr>
          <p:cNvSpPr txBox="1"/>
          <p:nvPr/>
        </p:nvSpPr>
        <p:spPr>
          <a:xfrm>
            <a:off x="4390452"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hare and collaborate</a:t>
            </a:r>
          </a:p>
        </p:txBody>
      </p:sp>
      <p:sp>
        <p:nvSpPr>
          <p:cNvPr id="26" name="TextBox 25">
            <a:extLst>
              <a:ext uri="{FF2B5EF4-FFF2-40B4-BE49-F238E27FC236}">
                <a16:creationId xmlns:a16="http://schemas.microsoft.com/office/drawing/2014/main" id="{D68AC457-7491-4AD6-8FD7-C0C2D0C788C9}"/>
              </a:ext>
            </a:extLst>
          </p:cNvPr>
          <p:cNvSpPr txBox="1"/>
          <p:nvPr/>
        </p:nvSpPr>
        <p:spPr>
          <a:xfrm>
            <a:off x="8511665" y="1589460"/>
            <a:ext cx="3616004" cy="452590"/>
          </a:xfrm>
          <a:prstGeom prst="rect">
            <a:avLst/>
          </a:prstGeom>
          <a:noFill/>
        </p:spPr>
        <p:txBody>
          <a:bodyPr wrap="square" lIns="143428" tIns="89642" rIns="143428" bIns="89642"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737373"/>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rge scale deployments</a:t>
            </a:r>
          </a:p>
        </p:txBody>
      </p:sp>
      <p:sp>
        <p:nvSpPr>
          <p:cNvPr id="21" name="EMI_E731">
            <a:extLst>
              <a:ext uri="{FF2B5EF4-FFF2-40B4-BE49-F238E27FC236}">
                <a16:creationId xmlns:a16="http://schemas.microsoft.com/office/drawing/2014/main" id="{76F9AF7B-BAF2-4A09-A46F-8E45FD5A2F58}"/>
              </a:ext>
            </a:extLst>
          </p:cNvPr>
          <p:cNvSpPr>
            <a:spLocks noChangeAspect="1" noEditPoints="1"/>
          </p:cNvSpPr>
          <p:nvPr/>
        </p:nvSpPr>
        <p:spPr bwMode="auto">
          <a:xfrm>
            <a:off x="8818071" y="2366481"/>
            <a:ext cx="332933" cy="540901"/>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Tree>
    <p:extLst>
      <p:ext uri="{BB962C8B-B14F-4D97-AF65-F5344CB8AC3E}">
        <p14:creationId xmlns:p14="http://schemas.microsoft.com/office/powerpoint/2010/main" val="4272576881"/>
      </p:ext>
    </p:extLst>
  </p:cSld>
  <p:clrMapOvr>
    <a:masterClrMapping/>
  </p:clrMapOvr>
  <mc:AlternateContent xmlns:mc="http://schemas.openxmlformats.org/markup-compatibility/2006" xmlns:p14="http://schemas.microsoft.com/office/powerpoint/2010/main">
    <mc:Choice Requires="p14">
      <p:transition spd="med" p14:dur="700" advTm="64561">
        <p:fade/>
      </p:transition>
    </mc:Choice>
    <mc:Fallback xmlns="">
      <p:transition spd="med" advTm="64561">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4860297" y="1208068"/>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5171585" y="54458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169946" y="229632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457577" y="163115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35424" y="3535918"/>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14266" y="285647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878945" y="472555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173310" y="4063898"/>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276044" y="5763273"/>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543454" y="510067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5112886" y="555185"/>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8836" y="453008"/>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21681" y="1658620"/>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48571" y="286901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113492" y="407423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474507" y="511466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395472" y="164472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6116" y="153946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583" y="276564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9809" y="3972748"/>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2101" y="5013175"/>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5684128" y="743610"/>
            <a:ext cx="471971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type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ata</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ltu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you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rganization</a:t>
            </a:r>
            <a:endParaRPr kumimoji="0" lang="de-DE" sz="12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0F44D7C7-4DC7-4360-AD85-E44C2717FE81}"/>
              </a:ext>
            </a:extLst>
          </p:cNvPr>
          <p:cNvSpPr/>
          <p:nvPr/>
        </p:nvSpPr>
        <p:spPr>
          <a:xfrm>
            <a:off x="6961775" y="1736058"/>
            <a:ext cx="435646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Talk to </a:t>
            </a:r>
            <a:r>
              <a:rPr kumimoji="0" lang="de-DE" sz="1200" b="0" i="0" u="none" strike="noStrike" kern="1200" cap="none" spc="0" normalizeH="0" baseline="0" noProof="0" err="1">
                <a:ln>
                  <a:noFill/>
                </a:ln>
                <a:solidFill>
                  <a:prstClr val="black"/>
                </a:solidFill>
                <a:effectLst/>
                <a:uLnTx/>
                <a:uFillTx/>
                <a:latin typeface="Segoe UI"/>
                <a:ea typeface="+mn-ea"/>
                <a:cs typeface="+mn-cs"/>
              </a:rPr>
              <a:t>stakeholders</a:t>
            </a:r>
            <a:r>
              <a:rPr kumimoji="0" lang="de-DE" sz="1200" b="0" i="0" u="none" strike="noStrike" kern="1200" cap="none" spc="0" normalizeH="0" baseline="0" noProof="0">
                <a:ln>
                  <a:noFill/>
                </a:ln>
                <a:solidFill>
                  <a:prstClr val="black"/>
                </a:solidFill>
                <a:effectLst/>
                <a:uLnTx/>
                <a:uFillTx/>
                <a:latin typeface="Segoe UI"/>
                <a:ea typeface="+mn-ea"/>
                <a:cs typeface="+mn-cs"/>
              </a:rPr>
              <a:t> in </a:t>
            </a:r>
            <a:r>
              <a:rPr kumimoji="0" lang="de-DE" sz="1200" b="0" i="0" u="none" strike="noStrike" kern="1200" cap="none" spc="0" normalizeH="0" baseline="0" noProof="0" err="1">
                <a:ln>
                  <a:noFill/>
                </a:ln>
                <a:solidFill>
                  <a:prstClr val="black"/>
                </a:solidFill>
                <a:effectLst/>
                <a:uLnTx/>
                <a:uFillTx/>
                <a:latin typeface="Segoe UI"/>
                <a:ea typeface="+mn-ea"/>
                <a:cs typeface="+mn-cs"/>
              </a:rPr>
              <a:t>busines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nits</a:t>
            </a:r>
            <a:r>
              <a:rPr kumimoji="0" lang="de-DE" sz="1200" b="0" i="0" u="none" strike="noStrike" kern="1200" cap="none" spc="0" normalizeH="0" baseline="0" noProof="0">
                <a:ln>
                  <a:noFill/>
                </a:ln>
                <a:solidFill>
                  <a:prstClr val="black"/>
                </a:solidFill>
                <a:effectLst/>
                <a:uLnTx/>
                <a:uFillTx/>
                <a:latin typeface="Segoe UI"/>
                <a:ea typeface="+mn-ea"/>
                <a:cs typeface="+mn-cs"/>
              </a:rPr>
              <a:t> to </a:t>
            </a: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what</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nalytica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ractice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ata-drive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ecision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rrentl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sed</a:t>
            </a:r>
            <a:r>
              <a:rPr kumimoji="0" lang="de-DE" sz="1200" b="0" i="0" u="none" strike="noStrike" kern="1200" cap="none" spc="0" normalizeH="0" baseline="0" noProof="0">
                <a:ln>
                  <a:noFill/>
                </a:ln>
                <a:solidFill>
                  <a:prstClr val="black"/>
                </a:solidFill>
                <a:effectLst/>
                <a:uLnTx/>
                <a:uFillTx/>
                <a:latin typeface="Segoe UI"/>
                <a:ea typeface="+mn-ea"/>
                <a:cs typeface="+mn-cs"/>
              </a:rPr>
              <a:t> </a:t>
            </a:r>
          </a:p>
        </p:txBody>
      </p:sp>
      <p:sp>
        <p:nvSpPr>
          <p:cNvPr id="51" name="Rectangle 50">
            <a:extLst>
              <a:ext uri="{FF2B5EF4-FFF2-40B4-BE49-F238E27FC236}">
                <a16:creationId xmlns:a16="http://schemas.microsoft.com/office/drawing/2014/main" id="{6B489126-7A96-44F4-A761-638DA488AF1A}"/>
              </a:ext>
            </a:extLst>
          </p:cNvPr>
          <p:cNvSpPr/>
          <p:nvPr/>
        </p:nvSpPr>
        <p:spPr>
          <a:xfrm>
            <a:off x="7720538" y="2955433"/>
            <a:ext cx="38212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Talk to </a:t>
            </a:r>
            <a:r>
              <a:rPr kumimoji="0" lang="de-DE" sz="1200" b="0" i="0" u="none" strike="noStrike" kern="1200" cap="none" spc="0" normalizeH="0" baseline="0" noProof="0" err="1">
                <a:ln>
                  <a:noFill/>
                </a:ln>
                <a:solidFill>
                  <a:prstClr val="black"/>
                </a:solidFill>
                <a:effectLst/>
                <a:uLnTx/>
                <a:uFillTx/>
                <a:latin typeface="Segoe UI"/>
                <a:ea typeface="+mn-ea"/>
                <a:cs typeface="+mn-cs"/>
              </a:rPr>
              <a:t>stakeholders</a:t>
            </a:r>
            <a:r>
              <a:rPr kumimoji="0" lang="de-DE" sz="1200" b="0" i="0" u="none" strike="noStrike" kern="1200" cap="none" spc="0" normalizeH="0" baseline="0" noProof="0">
                <a:ln>
                  <a:noFill/>
                </a:ln>
                <a:solidFill>
                  <a:prstClr val="black"/>
                </a:solidFill>
                <a:effectLst/>
                <a:uLnTx/>
                <a:uFillTx/>
                <a:latin typeface="Segoe UI"/>
                <a:ea typeface="+mn-ea"/>
                <a:cs typeface="+mn-cs"/>
              </a:rPr>
              <a:t> in IT, BI, and/</a:t>
            </a:r>
            <a:r>
              <a:rPr kumimoji="0" lang="de-DE" sz="1200" b="0" i="0" u="none" strike="noStrike" kern="1200" cap="none" spc="0" normalizeH="0" baseline="0" noProof="0" err="1">
                <a:ln>
                  <a:noFill/>
                </a:ln>
                <a:solidFill>
                  <a:prstClr val="black"/>
                </a:solidFill>
                <a:effectLst/>
                <a:uLnTx/>
                <a:uFillTx/>
                <a:latin typeface="Segoe UI"/>
                <a:ea typeface="+mn-ea"/>
                <a:cs typeface="+mn-cs"/>
              </a:rPr>
              <a:t>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E</a:t>
            </a:r>
            <a:r>
              <a:rPr kumimoji="0" lang="de-DE" sz="1200" b="0" i="0" u="none" strike="noStrike" kern="1200" cap="none" spc="0" normalizeH="0" baseline="0" noProof="0">
                <a:ln>
                  <a:noFill/>
                </a:ln>
                <a:solidFill>
                  <a:prstClr val="black"/>
                </a:solidFill>
                <a:effectLst/>
                <a:uLnTx/>
                <a:uFillTx/>
                <a:latin typeface="Segoe UI"/>
                <a:ea typeface="+mn-ea"/>
                <a:cs typeface="+mn-cs"/>
              </a:rPr>
              <a:t> to </a:t>
            </a:r>
            <a:r>
              <a:rPr kumimoji="0" lang="de-DE" sz="1200" b="0" i="0" u="none" strike="noStrike" kern="1200" cap="none" spc="0" normalizeH="0" baseline="0" noProof="0" err="1">
                <a:ln>
                  <a:noFill/>
                </a:ln>
                <a:solidFill>
                  <a:prstClr val="black"/>
                </a:solidFill>
                <a:effectLst/>
                <a:uLnTx/>
                <a:uFillTx/>
                <a:latin typeface="Segoe UI"/>
                <a:ea typeface="+mn-ea"/>
                <a:cs typeface="+mn-cs"/>
              </a:rPr>
              <a:t>understand</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governanc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nstraint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2" name="Rectangle 51">
            <a:extLst>
              <a:ext uri="{FF2B5EF4-FFF2-40B4-BE49-F238E27FC236}">
                <a16:creationId xmlns:a16="http://schemas.microsoft.com/office/drawing/2014/main" id="{FDB6A43E-814A-4954-80B0-986E0DDE0DF0}"/>
              </a:ext>
            </a:extLst>
          </p:cNvPr>
          <p:cNvSpPr/>
          <p:nvPr/>
        </p:nvSpPr>
        <p:spPr>
          <a:xfrm>
            <a:off x="7701335" y="4267792"/>
            <a:ext cx="369862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Ver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leve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sponsorship</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3" name="Rectangle 52">
            <a:extLst>
              <a:ext uri="{FF2B5EF4-FFF2-40B4-BE49-F238E27FC236}">
                <a16:creationId xmlns:a16="http://schemas.microsoft.com/office/drawing/2014/main" id="{AF628E45-80E1-4A67-AF80-F9788AA4E590}"/>
              </a:ext>
            </a:extLst>
          </p:cNvPr>
          <p:cNvSpPr/>
          <p:nvPr/>
        </p:nvSpPr>
        <p:spPr>
          <a:xfrm>
            <a:off x="7106534" y="5303645"/>
            <a:ext cx="404142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fin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urposeful</a:t>
            </a:r>
            <a:r>
              <a:rPr kumimoji="0" lang="de-DE" sz="1200" b="0" i="0" u="none" strike="noStrike" kern="1200" cap="none" spc="0" normalizeH="0" baseline="0" noProof="0">
                <a:ln>
                  <a:noFill/>
                </a:ln>
                <a:solidFill>
                  <a:prstClr val="black"/>
                </a:solidFill>
                <a:effectLst/>
                <a:uLnTx/>
                <a:uFillTx/>
                <a:latin typeface="Segoe UI"/>
                <a:ea typeface="+mn-ea"/>
                <a:cs typeface="+mn-cs"/>
              </a:rPr>
              <a:t> BI </a:t>
            </a:r>
            <a:r>
              <a:rPr kumimoji="0" lang="de-DE" sz="1200" b="0" i="0" u="none" strike="noStrike" kern="1200" cap="none" spc="0" normalizeH="0" baseline="0" noProof="0" err="1">
                <a:ln>
                  <a:noFill/>
                </a:ln>
                <a:solidFill>
                  <a:prstClr val="black"/>
                </a:solidFill>
                <a:effectLst/>
                <a:uLnTx/>
                <a:uFillTx/>
                <a:latin typeface="Segoe UI"/>
                <a:ea typeface="+mn-ea"/>
                <a:cs typeface="+mn-cs"/>
              </a:rPr>
              <a:t>strategy</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5368" y="588435"/>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7594" y="175416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36626" y="293676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6364" y="4160019"/>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6309804" y="5192999"/>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70737" y="2685091"/>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E172A62E-0A7E-4F8A-91A6-B083905D98D4}"/>
              </a:ext>
            </a:extLst>
          </p:cNvPr>
          <p:cNvSpPr/>
          <p:nvPr/>
        </p:nvSpPr>
        <p:spPr>
          <a:xfrm>
            <a:off x="4529520" y="6612833"/>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43369A14-D910-4EA8-A991-CE5119F180D8}"/>
              </a:ext>
            </a:extLst>
          </p:cNvPr>
          <p:cNvSpPr/>
          <p:nvPr/>
        </p:nvSpPr>
        <p:spPr>
          <a:xfrm>
            <a:off x="4840808" y="594935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8">
            <a:extLst>
              <a:ext uri="{FF2B5EF4-FFF2-40B4-BE49-F238E27FC236}">
                <a16:creationId xmlns:a16="http://schemas.microsoft.com/office/drawing/2014/main" id="{9E53521F-2A1F-474A-976B-53EC22CB6F05}"/>
              </a:ext>
            </a:extLst>
          </p:cNvPr>
          <p:cNvSpPr txBox="1"/>
          <p:nvPr/>
        </p:nvSpPr>
        <p:spPr>
          <a:xfrm>
            <a:off x="4782109" y="5959950"/>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6" name="Graphic 32">
            <a:extLst>
              <a:ext uri="{FF2B5EF4-FFF2-40B4-BE49-F238E27FC236}">
                <a16:creationId xmlns:a16="http://schemas.microsoft.com/office/drawing/2014/main" id="{0443BD16-BFFF-499F-8B51-46B1669F95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8059" y="5857773"/>
            <a:ext cx="636591" cy="753041"/>
          </a:xfrm>
          <a:prstGeom prst="rect">
            <a:avLst/>
          </a:prstGeom>
        </p:spPr>
      </p:pic>
      <p:sp>
        <p:nvSpPr>
          <p:cNvPr id="7" name="Rectangle 9">
            <a:extLst>
              <a:ext uri="{FF2B5EF4-FFF2-40B4-BE49-F238E27FC236}">
                <a16:creationId xmlns:a16="http://schemas.microsoft.com/office/drawing/2014/main" id="{468A3990-DA54-4BEB-B73E-7811B27C62EF}"/>
              </a:ext>
            </a:extLst>
          </p:cNvPr>
          <p:cNvSpPr/>
          <p:nvPr/>
        </p:nvSpPr>
        <p:spPr>
          <a:xfrm>
            <a:off x="5433439" y="6068098"/>
            <a:ext cx="410457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Develop</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action</a:t>
            </a:r>
            <a:r>
              <a:rPr kumimoji="0" lang="de-DE" sz="1200" b="0" i="0" u="none" strike="noStrike" kern="1200" cap="none" spc="0" normalizeH="0" baseline="0" noProof="0">
                <a:ln>
                  <a:noFill/>
                </a:ln>
                <a:solidFill>
                  <a:prstClr val="black"/>
                </a:solidFill>
                <a:effectLst/>
                <a:uLnTx/>
                <a:uFillTx/>
                <a:latin typeface="Segoe UI"/>
                <a:ea typeface="+mn-ea"/>
                <a:cs typeface="+mn-cs"/>
              </a:rPr>
              <a:t> plan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immediate, </a:t>
            </a:r>
            <a:r>
              <a:rPr kumimoji="0" lang="de-DE" sz="1200" b="0" i="0" u="none" strike="noStrike" kern="1200" cap="none" spc="0" normalizeH="0" baseline="0" noProof="0" err="1">
                <a:ln>
                  <a:noFill/>
                </a:ln>
                <a:solidFill>
                  <a:prstClr val="black"/>
                </a:solidFill>
                <a:effectLst/>
                <a:uLnTx/>
                <a:uFillTx/>
                <a:latin typeface="Segoe UI"/>
                <a:ea typeface="+mn-ea"/>
                <a:cs typeface="+mn-cs"/>
              </a:rPr>
              <a:t>short</a:t>
            </a:r>
            <a:r>
              <a:rPr kumimoji="0" lang="de-DE" sz="1200" b="0" i="0" u="none" strike="noStrike" kern="1200" cap="none" spc="0" normalizeH="0" baseline="0" noProof="0">
                <a:ln>
                  <a:noFill/>
                </a:ln>
                <a:solidFill>
                  <a:prstClr val="black"/>
                </a:solidFill>
                <a:effectLst/>
                <a:uLnTx/>
                <a:uFillTx/>
                <a:latin typeface="Segoe UI"/>
                <a:ea typeface="+mn-ea"/>
                <a:cs typeface="+mn-cs"/>
              </a:rPr>
              <a:t>-term, and </a:t>
            </a:r>
            <a:r>
              <a:rPr kumimoji="0" lang="de-DE" sz="1200" b="0" i="0" u="none" strike="noStrike" kern="1200" cap="none" spc="0" normalizeH="0" baseline="0" noProof="0" err="1">
                <a:ln>
                  <a:noFill/>
                </a:ln>
                <a:solidFill>
                  <a:prstClr val="black"/>
                </a:solidFill>
                <a:effectLst/>
                <a:uLnTx/>
                <a:uFillTx/>
                <a:latin typeface="Segoe UI"/>
                <a:ea typeface="+mn-ea"/>
                <a:cs typeface="+mn-cs"/>
              </a:rPr>
              <a:t>long</a:t>
            </a:r>
            <a:r>
              <a:rPr kumimoji="0" lang="de-DE" sz="1200" b="0" i="0" u="none" strike="noStrike" kern="1200" cap="none" spc="0" normalizeH="0" baseline="0" noProof="0">
                <a:ln>
                  <a:noFill/>
                </a:ln>
                <a:solidFill>
                  <a:prstClr val="black"/>
                </a:solidFill>
                <a:effectLst/>
                <a:uLnTx/>
                <a:uFillTx/>
                <a:latin typeface="Segoe UI"/>
                <a:ea typeface="+mn-ea"/>
                <a:cs typeface="+mn-cs"/>
              </a:rPr>
              <a:t>-term </a:t>
            </a:r>
            <a:r>
              <a:rPr kumimoji="0" lang="de-DE" sz="1200" b="0" i="0" u="none" strike="noStrike" kern="1200" cap="none" spc="0" normalizeH="0" baseline="0" noProof="0" err="1">
                <a:ln>
                  <a:noFill/>
                </a:ln>
                <a:solidFill>
                  <a:prstClr val="black"/>
                </a:solidFill>
                <a:effectLst/>
                <a:uLnTx/>
                <a:uFillTx/>
                <a:latin typeface="Segoe UI"/>
                <a:ea typeface="+mn-ea"/>
                <a:cs typeface="+mn-cs"/>
              </a:rPr>
              <a:t>actio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tem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1" name="Graphic 17">
            <a:extLst>
              <a:ext uri="{FF2B5EF4-FFF2-40B4-BE49-F238E27FC236}">
                <a16:creationId xmlns:a16="http://schemas.microsoft.com/office/drawing/2014/main" id="{E73611ED-78C0-41D7-8BA1-2568CA2EB1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4591" y="5993200"/>
            <a:ext cx="351558" cy="351558"/>
          </a:xfrm>
          <a:prstGeom prst="rect">
            <a:avLst/>
          </a:prstGeom>
        </p:spPr>
      </p:pic>
    </p:spTree>
    <p:extLst>
      <p:ext uri="{BB962C8B-B14F-4D97-AF65-F5344CB8AC3E}">
        <p14:creationId xmlns:p14="http://schemas.microsoft.com/office/powerpoint/2010/main" val="97857321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062090" y="4442060"/>
            <a:ext cx="9862991" cy="2847219"/>
          </a:xfrm>
          <a:prstGeom prst="rect">
            <a:avLst/>
          </a:prstGeom>
          <a:noFill/>
        </p:spPr>
        <p:txBody>
          <a:bodyPr wrap="square" lIns="0" tIns="89642" rIns="0" bIns="0">
            <a:noAutofit/>
          </a:bodyPr>
          <a:lstStyle/>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wer BI Premium is available in node configurations with different v-core capacities – see Power BI Premium whitepaper</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 nodes can be used for embedded (PaaS) or service (SaaS) deploymen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3 node can only be used for embedded deploymen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wer BI Premium includes the right to run Power BI Report Server on-premises</a:t>
            </a:r>
          </a:p>
        </p:txBody>
      </p:sp>
      <p:sp>
        <p:nvSpPr>
          <p:cNvPr id="2" name="Title 1"/>
          <p:cNvSpPr>
            <a:spLocks noGrp="1"/>
          </p:cNvSpPr>
          <p:nvPr>
            <p:ph type="title"/>
          </p:nvPr>
        </p:nvSpPr>
        <p:spPr/>
        <p:txBody>
          <a:bodyPr/>
          <a:lstStyle/>
          <a:p>
            <a:r>
              <a:rPr lang="en-US"/>
              <a:t>Power</a:t>
            </a:r>
            <a:r>
              <a:rPr lang="en-US">
                <a:solidFill>
                  <a:schemeClr val="tx1"/>
                </a:solidFill>
              </a:rPr>
              <a:t> </a:t>
            </a:r>
            <a:r>
              <a:rPr lang="en-US"/>
              <a:t>BI Premium Licensing</a:t>
            </a:r>
          </a:p>
        </p:txBody>
      </p:sp>
      <p:sp>
        <p:nvSpPr>
          <p:cNvPr id="29" name="Rectangle 28"/>
          <p:cNvSpPr/>
          <p:nvPr/>
        </p:nvSpPr>
        <p:spPr>
          <a:xfrm>
            <a:off x="2062090" y="4344148"/>
            <a:ext cx="9610108" cy="44821"/>
          </a:xfrm>
          <a:prstGeom prst="rect">
            <a:avLst/>
          </a:prstGeom>
          <a:solidFill>
            <a:schemeClr val="accent2"/>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icensing</a:t>
            </a:r>
            <a:endParaRPr kumimoji="0" lang="en-US" sz="1961"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5" name="Rectangle 14"/>
          <p:cNvSpPr/>
          <p:nvPr/>
        </p:nvSpPr>
        <p:spPr>
          <a:xfrm>
            <a:off x="2062090" y="1862701"/>
            <a:ext cx="9610107" cy="1347427"/>
          </a:xfrm>
          <a:prstGeom prst="rect">
            <a:avLst/>
          </a:prstGeom>
          <a:noFill/>
        </p:spPr>
        <p:txBody>
          <a:bodyPr wrap="square" lIns="0" tIns="89642" rIns="0" bIns="0" numCol="2" spcCol="457200">
            <a:noAutofit/>
          </a:bodyPr>
          <a:lstStyle/>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dicated resources in the cloud</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lexibility to license by capacity</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reater scale and performance</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bedded analytic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aginated Reports</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cremental Refresh</a:t>
            </a:r>
          </a:p>
          <a:p>
            <a:pPr marL="220984" marR="0" lvl="0" indent="-220984" algn="l" defTabSz="914120" rtl="0" eaLnBrk="1" fontAlgn="auto" latinLnBrk="0" hangingPunct="1">
              <a:lnSpc>
                <a:spcPct val="100000"/>
              </a:lnSpc>
              <a:spcBef>
                <a:spcPts val="392"/>
              </a:spcBef>
              <a:spcAft>
                <a:spcPts val="0"/>
              </a:spcAft>
              <a:buClrTx/>
              <a:buSzTx/>
              <a:buFont typeface="Arial" panose="020B0604020202020204" pitchFamily="34" charset="0"/>
              <a:buChar char="•"/>
              <a:tabLst/>
              <a:defRPr/>
            </a:pPr>
            <a:r>
              <a:rPr kumimoji="0" lang="en-US" sz="2157"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ulti-Geo</a:t>
            </a:r>
          </a:p>
        </p:txBody>
      </p:sp>
      <p:sp>
        <p:nvSpPr>
          <p:cNvPr id="16" name="Rectangle 15"/>
          <p:cNvSpPr/>
          <p:nvPr/>
        </p:nvSpPr>
        <p:spPr>
          <a:xfrm>
            <a:off x="2062090" y="1764788"/>
            <a:ext cx="9610109" cy="44821"/>
          </a:xfrm>
          <a:prstGeom prst="rect">
            <a:avLst/>
          </a:prstGeom>
          <a:solidFill>
            <a:schemeClr val="accent1"/>
          </a:solidFill>
        </p:spPr>
        <p:txBody>
          <a:bodyPr wrap="square" lIns="0" tIns="0" rIns="0" bIns="179285" anchor="b">
            <a:no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What is Power BI Premium?</a:t>
            </a:r>
          </a:p>
        </p:txBody>
      </p:sp>
      <p:grpSp>
        <p:nvGrpSpPr>
          <p:cNvPr id="5" name="Group 4"/>
          <p:cNvGrpSpPr/>
          <p:nvPr/>
        </p:nvGrpSpPr>
        <p:grpSpPr>
          <a:xfrm>
            <a:off x="533095" y="3748660"/>
            <a:ext cx="1265139" cy="1265139"/>
            <a:chOff x="543784" y="4574830"/>
            <a:chExt cx="1290508" cy="1290508"/>
          </a:xfrm>
        </p:grpSpPr>
        <p:sp>
          <p:nvSpPr>
            <p:cNvPr id="14" name="Oval 13"/>
            <p:cNvSpPr/>
            <p:nvPr/>
          </p:nvSpPr>
          <p:spPr bwMode="auto">
            <a:xfrm>
              <a:off x="543784" y="4574830"/>
              <a:ext cx="1290508" cy="1290508"/>
            </a:xfrm>
            <a:prstGeom prst="ellipse">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Freeform 61"/>
            <p:cNvSpPr>
              <a:spLocks/>
            </p:cNvSpPr>
            <p:nvPr/>
          </p:nvSpPr>
          <p:spPr bwMode="auto">
            <a:xfrm>
              <a:off x="894514" y="4853805"/>
              <a:ext cx="589048" cy="732558"/>
            </a:xfrm>
            <a:custGeom>
              <a:avLst/>
              <a:gdLst>
                <a:gd name="connsiteX0" fmla="*/ 493968 w 2678113"/>
                <a:gd name="connsiteY0" fmla="*/ 2662238 h 3330575"/>
                <a:gd name="connsiteX1" fmla="*/ 2184146 w 2678113"/>
                <a:gd name="connsiteY1" fmla="*/ 2662238 h 3330575"/>
                <a:gd name="connsiteX2" fmla="*/ 2244726 w 2678113"/>
                <a:gd name="connsiteY2" fmla="*/ 2723357 h 3330575"/>
                <a:gd name="connsiteX3" fmla="*/ 2184146 w 2678113"/>
                <a:gd name="connsiteY3" fmla="*/ 2784476 h 3330575"/>
                <a:gd name="connsiteX4" fmla="*/ 493968 w 2678113"/>
                <a:gd name="connsiteY4" fmla="*/ 2784476 h 3330575"/>
                <a:gd name="connsiteX5" fmla="*/ 433388 w 2678113"/>
                <a:gd name="connsiteY5" fmla="*/ 2723357 h 3330575"/>
                <a:gd name="connsiteX6" fmla="*/ 493968 w 2678113"/>
                <a:gd name="connsiteY6" fmla="*/ 2662238 h 3330575"/>
                <a:gd name="connsiteX7" fmla="*/ 493968 w 2678113"/>
                <a:gd name="connsiteY7" fmla="*/ 2303463 h 3330575"/>
                <a:gd name="connsiteX8" fmla="*/ 2184146 w 2678113"/>
                <a:gd name="connsiteY8" fmla="*/ 2303463 h 3330575"/>
                <a:gd name="connsiteX9" fmla="*/ 2244726 w 2678113"/>
                <a:gd name="connsiteY9" fmla="*/ 2364582 h 3330575"/>
                <a:gd name="connsiteX10" fmla="*/ 2184146 w 2678113"/>
                <a:gd name="connsiteY10" fmla="*/ 2425701 h 3330575"/>
                <a:gd name="connsiteX11" fmla="*/ 493968 w 2678113"/>
                <a:gd name="connsiteY11" fmla="*/ 2425701 h 3330575"/>
                <a:gd name="connsiteX12" fmla="*/ 433388 w 2678113"/>
                <a:gd name="connsiteY12" fmla="*/ 2364582 h 3330575"/>
                <a:gd name="connsiteX13" fmla="*/ 493968 w 2678113"/>
                <a:gd name="connsiteY13" fmla="*/ 2303463 h 3330575"/>
                <a:gd name="connsiteX14" fmla="*/ 493968 w 2678113"/>
                <a:gd name="connsiteY14" fmla="*/ 1944688 h 3330575"/>
                <a:gd name="connsiteX15" fmla="*/ 2184146 w 2678113"/>
                <a:gd name="connsiteY15" fmla="*/ 1944688 h 3330575"/>
                <a:gd name="connsiteX16" fmla="*/ 2244726 w 2678113"/>
                <a:gd name="connsiteY16" fmla="*/ 2005807 h 3330575"/>
                <a:gd name="connsiteX17" fmla="*/ 2184146 w 2678113"/>
                <a:gd name="connsiteY17" fmla="*/ 2066926 h 3330575"/>
                <a:gd name="connsiteX18" fmla="*/ 493968 w 2678113"/>
                <a:gd name="connsiteY18" fmla="*/ 2066926 h 3330575"/>
                <a:gd name="connsiteX19" fmla="*/ 433388 w 2678113"/>
                <a:gd name="connsiteY19" fmla="*/ 2005807 h 3330575"/>
                <a:gd name="connsiteX20" fmla="*/ 493968 w 2678113"/>
                <a:gd name="connsiteY20" fmla="*/ 1944688 h 3330575"/>
                <a:gd name="connsiteX21" fmla="*/ 493968 w 2678113"/>
                <a:gd name="connsiteY21" fmla="*/ 1585913 h 3330575"/>
                <a:gd name="connsiteX22" fmla="*/ 2184146 w 2678113"/>
                <a:gd name="connsiteY22" fmla="*/ 1585913 h 3330575"/>
                <a:gd name="connsiteX23" fmla="*/ 2244726 w 2678113"/>
                <a:gd name="connsiteY23" fmla="*/ 1647032 h 3330575"/>
                <a:gd name="connsiteX24" fmla="*/ 2184146 w 2678113"/>
                <a:gd name="connsiteY24" fmla="*/ 1708151 h 3330575"/>
                <a:gd name="connsiteX25" fmla="*/ 493968 w 2678113"/>
                <a:gd name="connsiteY25" fmla="*/ 1708151 h 3330575"/>
                <a:gd name="connsiteX26" fmla="*/ 433388 w 2678113"/>
                <a:gd name="connsiteY26" fmla="*/ 1647032 h 3330575"/>
                <a:gd name="connsiteX27" fmla="*/ 493968 w 2678113"/>
                <a:gd name="connsiteY27" fmla="*/ 1585913 h 3330575"/>
                <a:gd name="connsiteX28" fmla="*/ 493968 w 2678113"/>
                <a:gd name="connsiteY28" fmla="*/ 1227138 h 3330575"/>
                <a:gd name="connsiteX29" fmla="*/ 2184146 w 2678113"/>
                <a:gd name="connsiteY29" fmla="*/ 1227138 h 3330575"/>
                <a:gd name="connsiteX30" fmla="*/ 2244726 w 2678113"/>
                <a:gd name="connsiteY30" fmla="*/ 1288257 h 3330575"/>
                <a:gd name="connsiteX31" fmla="*/ 2184146 w 2678113"/>
                <a:gd name="connsiteY31" fmla="*/ 1349376 h 3330575"/>
                <a:gd name="connsiteX32" fmla="*/ 493968 w 2678113"/>
                <a:gd name="connsiteY32" fmla="*/ 1349376 h 3330575"/>
                <a:gd name="connsiteX33" fmla="*/ 433388 w 2678113"/>
                <a:gd name="connsiteY33" fmla="*/ 1288257 h 3330575"/>
                <a:gd name="connsiteX34" fmla="*/ 493968 w 2678113"/>
                <a:gd name="connsiteY34" fmla="*/ 1227138 h 3330575"/>
                <a:gd name="connsiteX35" fmla="*/ 493968 w 2678113"/>
                <a:gd name="connsiteY35" fmla="*/ 868363 h 3330575"/>
                <a:gd name="connsiteX36" fmla="*/ 2184146 w 2678113"/>
                <a:gd name="connsiteY36" fmla="*/ 868363 h 3330575"/>
                <a:gd name="connsiteX37" fmla="*/ 2244726 w 2678113"/>
                <a:gd name="connsiteY37" fmla="*/ 929482 h 3330575"/>
                <a:gd name="connsiteX38" fmla="*/ 2184146 w 2678113"/>
                <a:gd name="connsiteY38" fmla="*/ 990601 h 3330575"/>
                <a:gd name="connsiteX39" fmla="*/ 493968 w 2678113"/>
                <a:gd name="connsiteY39" fmla="*/ 990601 h 3330575"/>
                <a:gd name="connsiteX40" fmla="*/ 433388 w 2678113"/>
                <a:gd name="connsiteY40" fmla="*/ 929482 h 3330575"/>
                <a:gd name="connsiteX41" fmla="*/ 493968 w 2678113"/>
                <a:gd name="connsiteY41" fmla="*/ 868363 h 3330575"/>
                <a:gd name="connsiteX42" fmla="*/ 833642 w 2678113"/>
                <a:gd name="connsiteY42" fmla="*/ 511175 h 3330575"/>
                <a:gd name="connsiteX43" fmla="*/ 1844472 w 2678113"/>
                <a:gd name="connsiteY43" fmla="*/ 511175 h 3330575"/>
                <a:gd name="connsiteX44" fmla="*/ 1905001 w 2678113"/>
                <a:gd name="connsiteY44" fmla="*/ 571500 h 3330575"/>
                <a:gd name="connsiteX45" fmla="*/ 1844472 w 2678113"/>
                <a:gd name="connsiteY45" fmla="*/ 631825 h 3330575"/>
                <a:gd name="connsiteX46" fmla="*/ 833642 w 2678113"/>
                <a:gd name="connsiteY46" fmla="*/ 631825 h 3330575"/>
                <a:gd name="connsiteX47" fmla="*/ 773113 w 2678113"/>
                <a:gd name="connsiteY47" fmla="*/ 571500 h 3330575"/>
                <a:gd name="connsiteX48" fmla="*/ 833642 w 2678113"/>
                <a:gd name="connsiteY48" fmla="*/ 511175 h 3330575"/>
                <a:gd name="connsiteX49" fmla="*/ 217638 w 2678113"/>
                <a:gd name="connsiteY49" fmla="*/ 122238 h 3330575"/>
                <a:gd name="connsiteX50" fmla="*/ 120650 w 2678113"/>
                <a:gd name="connsiteY50" fmla="*/ 222527 h 3330575"/>
                <a:gd name="connsiteX51" fmla="*/ 120650 w 2678113"/>
                <a:gd name="connsiteY51" fmla="*/ 3109637 h 3330575"/>
                <a:gd name="connsiteX52" fmla="*/ 217638 w 2678113"/>
                <a:gd name="connsiteY52" fmla="*/ 3209926 h 3330575"/>
                <a:gd name="connsiteX53" fmla="*/ 2460476 w 2678113"/>
                <a:gd name="connsiteY53" fmla="*/ 3209926 h 3330575"/>
                <a:gd name="connsiteX54" fmla="*/ 2557463 w 2678113"/>
                <a:gd name="connsiteY54" fmla="*/ 3109637 h 3330575"/>
                <a:gd name="connsiteX55" fmla="*/ 2557463 w 2678113"/>
                <a:gd name="connsiteY55" fmla="*/ 222527 h 3330575"/>
                <a:gd name="connsiteX56" fmla="*/ 2460476 w 2678113"/>
                <a:gd name="connsiteY56" fmla="*/ 122238 h 3330575"/>
                <a:gd name="connsiteX57" fmla="*/ 218127 w 2678113"/>
                <a:gd name="connsiteY57" fmla="*/ 0 h 3330575"/>
                <a:gd name="connsiteX58" fmla="*/ 2459986 w 2678113"/>
                <a:gd name="connsiteY58" fmla="*/ 0 h 3330575"/>
                <a:gd name="connsiteX59" fmla="*/ 2678113 w 2678113"/>
                <a:gd name="connsiteY59" fmla="*/ 221836 h 3330575"/>
                <a:gd name="connsiteX60" fmla="*/ 2678113 w 2678113"/>
                <a:gd name="connsiteY60" fmla="*/ 3108739 h 3330575"/>
                <a:gd name="connsiteX61" fmla="*/ 2459986 w 2678113"/>
                <a:gd name="connsiteY61" fmla="*/ 3330575 h 3330575"/>
                <a:gd name="connsiteX62" fmla="*/ 218127 w 2678113"/>
                <a:gd name="connsiteY62" fmla="*/ 3330575 h 3330575"/>
                <a:gd name="connsiteX63" fmla="*/ 0 w 2678113"/>
                <a:gd name="connsiteY63" fmla="*/ 3108739 h 3330575"/>
                <a:gd name="connsiteX64" fmla="*/ 0 w 2678113"/>
                <a:gd name="connsiteY64" fmla="*/ 221836 h 3330575"/>
                <a:gd name="connsiteX65" fmla="*/ 218127 w 2678113"/>
                <a:gd name="connsiteY65" fmla="*/ 0 h 33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78113" h="3330575">
                  <a:moveTo>
                    <a:pt x="493968" y="2662238"/>
                  </a:moveTo>
                  <a:cubicBezTo>
                    <a:pt x="2184146" y="2662238"/>
                    <a:pt x="2184146" y="2662238"/>
                    <a:pt x="2184146" y="2662238"/>
                  </a:cubicBezTo>
                  <a:cubicBezTo>
                    <a:pt x="2217465" y="2662238"/>
                    <a:pt x="2244726" y="2689742"/>
                    <a:pt x="2244726" y="2723357"/>
                  </a:cubicBezTo>
                  <a:cubicBezTo>
                    <a:pt x="2244726" y="2756973"/>
                    <a:pt x="2217465" y="2784476"/>
                    <a:pt x="2184146" y="2784476"/>
                  </a:cubicBezTo>
                  <a:cubicBezTo>
                    <a:pt x="493968" y="2784476"/>
                    <a:pt x="493968" y="2784476"/>
                    <a:pt x="493968" y="2784476"/>
                  </a:cubicBezTo>
                  <a:cubicBezTo>
                    <a:pt x="460649" y="2784476"/>
                    <a:pt x="433388" y="2756973"/>
                    <a:pt x="433388" y="2723357"/>
                  </a:cubicBezTo>
                  <a:cubicBezTo>
                    <a:pt x="433388" y="2689742"/>
                    <a:pt x="460649" y="2662238"/>
                    <a:pt x="493968" y="2662238"/>
                  </a:cubicBezTo>
                  <a:close/>
                  <a:moveTo>
                    <a:pt x="493968" y="2303463"/>
                  </a:moveTo>
                  <a:cubicBezTo>
                    <a:pt x="2184146" y="2303463"/>
                    <a:pt x="2184146" y="2303463"/>
                    <a:pt x="2184146" y="2303463"/>
                  </a:cubicBezTo>
                  <a:cubicBezTo>
                    <a:pt x="2217465" y="2303463"/>
                    <a:pt x="2244726" y="2330967"/>
                    <a:pt x="2244726" y="2364582"/>
                  </a:cubicBezTo>
                  <a:cubicBezTo>
                    <a:pt x="2244726" y="2398198"/>
                    <a:pt x="2217465" y="2425701"/>
                    <a:pt x="2184146" y="2425701"/>
                  </a:cubicBezTo>
                  <a:cubicBezTo>
                    <a:pt x="493968" y="2425701"/>
                    <a:pt x="493968" y="2425701"/>
                    <a:pt x="493968" y="2425701"/>
                  </a:cubicBezTo>
                  <a:cubicBezTo>
                    <a:pt x="460649" y="2425701"/>
                    <a:pt x="433388" y="2398198"/>
                    <a:pt x="433388" y="2364582"/>
                  </a:cubicBezTo>
                  <a:cubicBezTo>
                    <a:pt x="433388" y="2330967"/>
                    <a:pt x="460649" y="2303463"/>
                    <a:pt x="493968" y="2303463"/>
                  </a:cubicBezTo>
                  <a:close/>
                  <a:moveTo>
                    <a:pt x="493968" y="1944688"/>
                  </a:moveTo>
                  <a:cubicBezTo>
                    <a:pt x="2184146" y="1944688"/>
                    <a:pt x="2184146" y="1944688"/>
                    <a:pt x="2184146" y="1944688"/>
                  </a:cubicBezTo>
                  <a:cubicBezTo>
                    <a:pt x="2217465" y="1944688"/>
                    <a:pt x="2244726" y="1972192"/>
                    <a:pt x="2244726" y="2005807"/>
                  </a:cubicBezTo>
                  <a:cubicBezTo>
                    <a:pt x="2244726" y="2039423"/>
                    <a:pt x="2217465" y="2066926"/>
                    <a:pt x="2184146" y="2066926"/>
                  </a:cubicBezTo>
                  <a:cubicBezTo>
                    <a:pt x="493968" y="2066926"/>
                    <a:pt x="493968" y="2066926"/>
                    <a:pt x="493968" y="2066926"/>
                  </a:cubicBezTo>
                  <a:cubicBezTo>
                    <a:pt x="460649" y="2066926"/>
                    <a:pt x="433388" y="2039423"/>
                    <a:pt x="433388" y="2005807"/>
                  </a:cubicBezTo>
                  <a:cubicBezTo>
                    <a:pt x="433388" y="1972192"/>
                    <a:pt x="460649" y="1944688"/>
                    <a:pt x="493968" y="1944688"/>
                  </a:cubicBezTo>
                  <a:close/>
                  <a:moveTo>
                    <a:pt x="493968" y="1585913"/>
                  </a:moveTo>
                  <a:cubicBezTo>
                    <a:pt x="2184146" y="1585913"/>
                    <a:pt x="2184146" y="1585913"/>
                    <a:pt x="2184146" y="1585913"/>
                  </a:cubicBezTo>
                  <a:cubicBezTo>
                    <a:pt x="2217465" y="1585913"/>
                    <a:pt x="2244726" y="1613417"/>
                    <a:pt x="2244726" y="1647032"/>
                  </a:cubicBezTo>
                  <a:cubicBezTo>
                    <a:pt x="2244726" y="1680648"/>
                    <a:pt x="2217465" y="1708151"/>
                    <a:pt x="2184146" y="1708151"/>
                  </a:cubicBezTo>
                  <a:cubicBezTo>
                    <a:pt x="493968" y="1708151"/>
                    <a:pt x="493968" y="1708151"/>
                    <a:pt x="493968" y="1708151"/>
                  </a:cubicBezTo>
                  <a:cubicBezTo>
                    <a:pt x="460649" y="1708151"/>
                    <a:pt x="433388" y="1680648"/>
                    <a:pt x="433388" y="1647032"/>
                  </a:cubicBezTo>
                  <a:cubicBezTo>
                    <a:pt x="433388" y="1613417"/>
                    <a:pt x="460649" y="1585913"/>
                    <a:pt x="493968" y="1585913"/>
                  </a:cubicBezTo>
                  <a:close/>
                  <a:moveTo>
                    <a:pt x="493968" y="1227138"/>
                  </a:moveTo>
                  <a:cubicBezTo>
                    <a:pt x="2184146" y="1227138"/>
                    <a:pt x="2184146" y="1227138"/>
                    <a:pt x="2184146" y="1227138"/>
                  </a:cubicBezTo>
                  <a:cubicBezTo>
                    <a:pt x="2217465" y="1227138"/>
                    <a:pt x="2244726" y="1254642"/>
                    <a:pt x="2244726" y="1288257"/>
                  </a:cubicBezTo>
                  <a:cubicBezTo>
                    <a:pt x="2244726" y="1321873"/>
                    <a:pt x="2217465" y="1349376"/>
                    <a:pt x="2184146" y="1349376"/>
                  </a:cubicBezTo>
                  <a:cubicBezTo>
                    <a:pt x="493968" y="1349376"/>
                    <a:pt x="493968" y="1349376"/>
                    <a:pt x="493968" y="1349376"/>
                  </a:cubicBezTo>
                  <a:cubicBezTo>
                    <a:pt x="460649" y="1349376"/>
                    <a:pt x="433388" y="1321873"/>
                    <a:pt x="433388" y="1288257"/>
                  </a:cubicBezTo>
                  <a:cubicBezTo>
                    <a:pt x="433388" y="1254642"/>
                    <a:pt x="460649" y="1227138"/>
                    <a:pt x="493968" y="1227138"/>
                  </a:cubicBezTo>
                  <a:close/>
                  <a:moveTo>
                    <a:pt x="493968" y="868363"/>
                  </a:moveTo>
                  <a:cubicBezTo>
                    <a:pt x="2184146" y="868363"/>
                    <a:pt x="2184146" y="868363"/>
                    <a:pt x="2184146" y="868363"/>
                  </a:cubicBezTo>
                  <a:cubicBezTo>
                    <a:pt x="2217465" y="868363"/>
                    <a:pt x="2244726" y="895867"/>
                    <a:pt x="2244726" y="929482"/>
                  </a:cubicBezTo>
                  <a:cubicBezTo>
                    <a:pt x="2244726" y="963098"/>
                    <a:pt x="2217465" y="990601"/>
                    <a:pt x="2184146" y="990601"/>
                  </a:cubicBezTo>
                  <a:cubicBezTo>
                    <a:pt x="493968" y="990601"/>
                    <a:pt x="493968" y="990601"/>
                    <a:pt x="493968" y="990601"/>
                  </a:cubicBezTo>
                  <a:cubicBezTo>
                    <a:pt x="460649" y="990601"/>
                    <a:pt x="433388" y="963098"/>
                    <a:pt x="433388" y="929482"/>
                  </a:cubicBezTo>
                  <a:cubicBezTo>
                    <a:pt x="433388" y="895867"/>
                    <a:pt x="460649" y="868363"/>
                    <a:pt x="493968" y="868363"/>
                  </a:cubicBezTo>
                  <a:close/>
                  <a:moveTo>
                    <a:pt x="833642" y="511175"/>
                  </a:moveTo>
                  <a:cubicBezTo>
                    <a:pt x="1844472" y="511175"/>
                    <a:pt x="1844472" y="511175"/>
                    <a:pt x="1844472" y="511175"/>
                  </a:cubicBezTo>
                  <a:cubicBezTo>
                    <a:pt x="1877763" y="511175"/>
                    <a:pt x="1905001" y="538321"/>
                    <a:pt x="1905001" y="571500"/>
                  </a:cubicBezTo>
                  <a:cubicBezTo>
                    <a:pt x="1905001" y="604679"/>
                    <a:pt x="1877763" y="631825"/>
                    <a:pt x="1844472" y="631825"/>
                  </a:cubicBezTo>
                  <a:cubicBezTo>
                    <a:pt x="833642" y="631825"/>
                    <a:pt x="833642" y="631825"/>
                    <a:pt x="833642" y="631825"/>
                  </a:cubicBezTo>
                  <a:cubicBezTo>
                    <a:pt x="800351" y="631825"/>
                    <a:pt x="773113" y="604679"/>
                    <a:pt x="773113" y="571500"/>
                  </a:cubicBezTo>
                  <a:cubicBezTo>
                    <a:pt x="773113" y="538321"/>
                    <a:pt x="800351" y="511175"/>
                    <a:pt x="833642" y="511175"/>
                  </a:cubicBezTo>
                  <a:close/>
                  <a:moveTo>
                    <a:pt x="217638" y="122238"/>
                  </a:moveTo>
                  <a:cubicBezTo>
                    <a:pt x="163082" y="122238"/>
                    <a:pt x="120650" y="167824"/>
                    <a:pt x="120650" y="222527"/>
                  </a:cubicBezTo>
                  <a:cubicBezTo>
                    <a:pt x="120650" y="3109637"/>
                    <a:pt x="120650" y="3109637"/>
                    <a:pt x="120650" y="3109637"/>
                  </a:cubicBezTo>
                  <a:cubicBezTo>
                    <a:pt x="120650" y="3164340"/>
                    <a:pt x="163082" y="3209926"/>
                    <a:pt x="217638" y="3209926"/>
                  </a:cubicBezTo>
                  <a:cubicBezTo>
                    <a:pt x="2460476" y="3209926"/>
                    <a:pt x="2460476" y="3209926"/>
                    <a:pt x="2460476" y="3209926"/>
                  </a:cubicBezTo>
                  <a:cubicBezTo>
                    <a:pt x="2515031" y="3209926"/>
                    <a:pt x="2557463" y="3164340"/>
                    <a:pt x="2557463" y="3109637"/>
                  </a:cubicBezTo>
                  <a:cubicBezTo>
                    <a:pt x="2557463" y="222527"/>
                    <a:pt x="2557463" y="222527"/>
                    <a:pt x="2557463" y="222527"/>
                  </a:cubicBezTo>
                  <a:cubicBezTo>
                    <a:pt x="2557463" y="167824"/>
                    <a:pt x="2515031" y="122238"/>
                    <a:pt x="2460476" y="122238"/>
                  </a:cubicBezTo>
                  <a:close/>
                  <a:moveTo>
                    <a:pt x="218127" y="0"/>
                  </a:moveTo>
                  <a:cubicBezTo>
                    <a:pt x="2459986" y="0"/>
                    <a:pt x="2459986" y="0"/>
                    <a:pt x="2459986" y="0"/>
                  </a:cubicBezTo>
                  <a:cubicBezTo>
                    <a:pt x="2581168" y="0"/>
                    <a:pt x="2678113" y="100282"/>
                    <a:pt x="2678113" y="221836"/>
                  </a:cubicBezTo>
                  <a:cubicBezTo>
                    <a:pt x="2678113" y="3108739"/>
                    <a:pt x="2678113" y="3108739"/>
                    <a:pt x="2678113" y="3108739"/>
                  </a:cubicBezTo>
                  <a:cubicBezTo>
                    <a:pt x="2678113" y="3233332"/>
                    <a:pt x="2581168" y="3330575"/>
                    <a:pt x="2459986" y="3330575"/>
                  </a:cubicBezTo>
                  <a:cubicBezTo>
                    <a:pt x="218127" y="3330575"/>
                    <a:pt x="218127" y="3330575"/>
                    <a:pt x="218127" y="3330575"/>
                  </a:cubicBezTo>
                  <a:cubicBezTo>
                    <a:pt x="96946" y="3330575"/>
                    <a:pt x="0" y="3233332"/>
                    <a:pt x="0" y="3108739"/>
                  </a:cubicBezTo>
                  <a:cubicBezTo>
                    <a:pt x="0" y="221836"/>
                    <a:pt x="0" y="221836"/>
                    <a:pt x="0" y="221836"/>
                  </a:cubicBezTo>
                  <a:cubicBezTo>
                    <a:pt x="0" y="100282"/>
                    <a:pt x="96946" y="0"/>
                    <a:pt x="218127"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 name="Oval 122"/>
          <p:cNvSpPr/>
          <p:nvPr/>
        </p:nvSpPr>
        <p:spPr bwMode="auto">
          <a:xfrm>
            <a:off x="533095" y="1735947"/>
            <a:ext cx="1275020" cy="1275020"/>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6" name="Straight Arrow Connector 5"/>
          <p:cNvCxnSpPr>
            <a:cxnSpLocks/>
          </p:cNvCxnSpPr>
          <p:nvPr/>
        </p:nvCxnSpPr>
        <p:spPr>
          <a:xfrm>
            <a:off x="1170604" y="1880422"/>
            <a:ext cx="0" cy="986067"/>
          </a:xfrm>
          <a:prstGeom prst="straightConnector1">
            <a:avLst/>
          </a:prstGeom>
          <a:noFill/>
          <a:ln w="38100" cap="flat">
            <a:solidFill>
              <a:srgbClr val="353535"/>
            </a:solidFill>
            <a:prstDash val="solid"/>
            <a:miter lim="800000"/>
            <a:headEnd type="arrow" w="med" len="med"/>
            <a:tailEnd type="arrow" w="med" len="med"/>
          </a:ln>
        </p:spPr>
      </p:cxnSp>
      <p:cxnSp>
        <p:nvCxnSpPr>
          <p:cNvPr id="18" name="Straight Arrow Connector 17"/>
          <p:cNvCxnSpPr>
            <a:cxnSpLocks/>
          </p:cNvCxnSpPr>
          <p:nvPr/>
        </p:nvCxnSpPr>
        <p:spPr>
          <a:xfrm>
            <a:off x="677571" y="2373456"/>
            <a:ext cx="986067" cy="0"/>
          </a:xfrm>
          <a:prstGeom prst="straightConnector1">
            <a:avLst/>
          </a:prstGeom>
          <a:noFill/>
          <a:ln w="38100" cap="flat">
            <a:solidFill>
              <a:srgbClr val="353535"/>
            </a:solidFill>
            <a:prstDash val="solid"/>
            <a:miter lim="800000"/>
            <a:headEnd type="arrow" w="med" len="med"/>
            <a:tailEnd type="arrow" w="med" len="med"/>
          </a:ln>
        </p:spPr>
      </p:cxnSp>
    </p:spTree>
    <p:extLst>
      <p:ext uri="{BB962C8B-B14F-4D97-AF65-F5344CB8AC3E}">
        <p14:creationId xmlns:p14="http://schemas.microsoft.com/office/powerpoint/2010/main" val="723175777"/>
      </p:ext>
    </p:extLst>
  </p:cSld>
  <p:clrMapOvr>
    <a:masterClrMapping/>
  </p:clrMapOvr>
  <mc:AlternateContent xmlns:mc="http://schemas.openxmlformats.org/markup-compatibility/2006" xmlns:p14="http://schemas.microsoft.com/office/powerpoint/2010/main">
    <mc:Choice Requires="p14">
      <p:transition spd="med" p14:dur="700" advTm="67929">
        <p:fade/>
      </p:transition>
    </mc:Choice>
    <mc:Fallback xmlns="">
      <p:transition spd="med" advTm="67929">
        <p:fade/>
      </p:transition>
    </mc:Fallback>
  </mc:AlternateContent>
</p:sld>
</file>

<file path=ppt/slides/slide2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16"/>
          <p:cNvSpPr>
            <a:spLocks noGrp="1"/>
          </p:cNvSpPr>
          <p:nvPr>
            <p:ph type="title"/>
          </p:nvPr>
        </p:nvSpPr>
        <p:spPr/>
        <p:txBody>
          <a:bodyPr/>
          <a:lstStyle/>
          <a:p>
            <a:r>
              <a:rPr lang="en-US"/>
              <a:t>How to acquire Power BI SaaS Offering</a:t>
            </a:r>
          </a:p>
        </p:txBody>
      </p:sp>
      <p:sp>
        <p:nvSpPr>
          <p:cNvPr id="22" name="Rectangle 21"/>
          <p:cNvSpPr/>
          <p:nvPr/>
        </p:nvSpPr>
        <p:spPr>
          <a:xfrm>
            <a:off x="6245469" y="1367245"/>
            <a:ext cx="507906" cy="358570"/>
          </a:xfrm>
          <a:prstGeom prst="rect">
            <a:avLst/>
          </a:prstGeom>
        </p:spPr>
        <p:txBody>
          <a:bodyPr wrap="none" tIns="71714" bIns="0" anchor="ctr" anchorCtr="0">
            <a:noAutofit/>
          </a:bodyPr>
          <a:lstStyle/>
          <a:p>
            <a:pPr marL="0" marR="0" lvl="1" indent="0" algn="ctr" defTabSz="914225"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0" normalizeH="0" baseline="0" noProof="0">
                <a:ln>
                  <a:noFill/>
                </a:ln>
                <a:gradFill>
                  <a:gsLst>
                    <a:gs pos="1250">
                      <a:srgbClr val="353535">
                        <a:lumMod val="60000"/>
                        <a:lumOff val="40000"/>
                      </a:srgbClr>
                    </a:gs>
                    <a:gs pos="100000">
                      <a:srgbClr val="353535">
                        <a:lumMod val="60000"/>
                        <a:lumOff val="40000"/>
                      </a:srgbClr>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24" name="Rectangle 23"/>
          <p:cNvSpPr/>
          <p:nvPr/>
        </p:nvSpPr>
        <p:spPr>
          <a:xfrm>
            <a:off x="448586" y="2467922"/>
            <a:ext cx="1971844"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tandalone</a:t>
            </a:r>
          </a:p>
        </p:txBody>
      </p:sp>
      <p:sp>
        <p:nvSpPr>
          <p:cNvPr id="30" name="Rectangle 29"/>
          <p:cNvSpPr/>
          <p:nvPr/>
        </p:nvSpPr>
        <p:spPr>
          <a:xfrm>
            <a:off x="448586" y="3514288"/>
            <a:ext cx="1816958"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ffice 365</a:t>
            </a:r>
          </a:p>
        </p:txBody>
      </p:sp>
      <p:grpSp>
        <p:nvGrpSpPr>
          <p:cNvPr id="9" name="Group 8"/>
          <p:cNvGrpSpPr/>
          <p:nvPr/>
        </p:nvGrpSpPr>
        <p:grpSpPr>
          <a:xfrm>
            <a:off x="2868906" y="1367245"/>
            <a:ext cx="3227129" cy="4988679"/>
            <a:chOff x="2926433" y="1394165"/>
            <a:chExt cx="3291840" cy="5088712"/>
          </a:xfrm>
        </p:grpSpPr>
        <p:sp>
          <p:nvSpPr>
            <p:cNvPr id="18" name="Rectangle 17"/>
            <p:cNvSpPr/>
            <p:nvPr/>
          </p:nvSpPr>
          <p:spPr>
            <a:xfrm>
              <a:off x="2926433" y="1394165"/>
              <a:ext cx="3291840" cy="480131"/>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o</a:t>
              </a:r>
            </a:p>
          </p:txBody>
        </p:sp>
        <p:sp>
          <p:nvSpPr>
            <p:cNvPr id="19" name="Rectangle 18"/>
            <p:cNvSpPr/>
            <p:nvPr/>
          </p:nvSpPr>
          <p:spPr bwMode="auto">
            <a:xfrm>
              <a:off x="2926433" y="2195604"/>
              <a:ext cx="329184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 name="Rectangle 19"/>
            <p:cNvSpPr/>
            <p:nvPr/>
          </p:nvSpPr>
          <p:spPr>
            <a:xfrm>
              <a:off x="2926433" y="2516912"/>
              <a:ext cx="3291840" cy="424732"/>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9.99/user/month</a:t>
              </a:r>
            </a:p>
          </p:txBody>
        </p:sp>
        <p:sp>
          <p:nvSpPr>
            <p:cNvPr id="28" name="Rectangle 27"/>
            <p:cNvSpPr/>
            <p:nvPr/>
          </p:nvSpPr>
          <p:spPr bwMode="auto">
            <a:xfrm>
              <a:off x="2926433" y="3262952"/>
              <a:ext cx="329184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Rectangle 28"/>
            <p:cNvSpPr/>
            <p:nvPr/>
          </p:nvSpPr>
          <p:spPr>
            <a:xfrm>
              <a:off x="2926433" y="3584260"/>
              <a:ext cx="3291840" cy="834074"/>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d in E5</a:t>
              </a:r>
            </a:p>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for E1/E3</a:t>
              </a:r>
            </a:p>
          </p:txBody>
        </p:sp>
        <p:sp>
          <p:nvSpPr>
            <p:cNvPr id="21" name="Rectangle 20"/>
            <p:cNvSpPr/>
            <p:nvPr/>
          </p:nvSpPr>
          <p:spPr bwMode="auto">
            <a:xfrm>
              <a:off x="2926433" y="4739642"/>
              <a:ext cx="329184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 name="Rectangle 26"/>
            <p:cNvSpPr/>
            <p:nvPr/>
          </p:nvSpPr>
          <p:spPr>
            <a:xfrm>
              <a:off x="2926433" y="5060949"/>
              <a:ext cx="3291840" cy="1421928"/>
            </a:xfrm>
            <a:prstGeom prst="rect">
              <a:avLst/>
            </a:prstGeom>
          </p:spPr>
          <p:txBody>
            <a:bodyPr wrap="square" anchor="t">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ustomers with SQL EE SA also have access to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s a SA benefit</a:t>
              </a:r>
            </a:p>
          </p:txBody>
        </p:sp>
      </p:grpSp>
      <p:sp>
        <p:nvSpPr>
          <p:cNvPr id="32" name="Rectangle 31"/>
          <p:cNvSpPr/>
          <p:nvPr/>
        </p:nvSpPr>
        <p:spPr>
          <a:xfrm>
            <a:off x="448586" y="4961949"/>
            <a:ext cx="1924134" cy="470693"/>
          </a:xfrm>
          <a:prstGeom prst="rect">
            <a:avLst/>
          </a:prstGeom>
        </p:spPr>
        <p:txBody>
          <a:bodyPr wrap="non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QL Server</a:t>
            </a:r>
          </a:p>
        </p:txBody>
      </p:sp>
      <p:grpSp>
        <p:nvGrpSpPr>
          <p:cNvPr id="8" name="Group 7"/>
          <p:cNvGrpSpPr/>
          <p:nvPr/>
        </p:nvGrpSpPr>
        <p:grpSpPr>
          <a:xfrm>
            <a:off x="6902807" y="1367246"/>
            <a:ext cx="4840694" cy="2804333"/>
            <a:chOff x="7041222" y="1394165"/>
            <a:chExt cx="4937760" cy="2860566"/>
          </a:xfrm>
        </p:grpSpPr>
        <p:sp>
          <p:nvSpPr>
            <p:cNvPr id="14" name="Rectangle 13"/>
            <p:cNvSpPr/>
            <p:nvPr/>
          </p:nvSpPr>
          <p:spPr>
            <a:xfrm>
              <a:off x="7041222" y="1394165"/>
              <a:ext cx="4937760" cy="480131"/>
            </a:xfrm>
            <a:prstGeom prst="rect">
              <a:avLst/>
            </a:prstGeom>
          </p:spPr>
          <p:txBody>
            <a:bodyPr wrap="square">
              <a:spAutoFit/>
            </a:bodyPr>
            <a:lstStyle/>
            <a:p>
              <a:pPr marL="0" marR="0" lvl="1" indent="0" algn="l" defTabSz="914225" rtl="0" eaLnBrk="1" fontAlgn="auto" latinLnBrk="0" hangingPunct="1">
                <a:lnSpc>
                  <a:spcPct val="90000"/>
                </a:lnSpc>
                <a:spcBef>
                  <a:spcPts val="0"/>
                </a:spcBef>
                <a:spcAft>
                  <a:spcPts val="0"/>
                </a:spcAft>
                <a:buClrTx/>
                <a:buSzTx/>
                <a:buFontTx/>
                <a:buNone/>
                <a:tabLst/>
                <a:defRPr/>
              </a:pPr>
              <a:r>
                <a:rPr kumimoji="0" lang="en-US" sz="2745"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Premium</a:t>
              </a:r>
            </a:p>
          </p:txBody>
        </p:sp>
        <p:grpSp>
          <p:nvGrpSpPr>
            <p:cNvPr id="7" name="Group 6"/>
            <p:cNvGrpSpPr/>
            <p:nvPr/>
          </p:nvGrpSpPr>
          <p:grpSpPr>
            <a:xfrm>
              <a:off x="7041222" y="2516912"/>
              <a:ext cx="4937760" cy="1737819"/>
              <a:chOff x="7041222" y="2516912"/>
              <a:chExt cx="4937760" cy="1737819"/>
            </a:xfrm>
          </p:grpSpPr>
          <p:sp>
            <p:nvSpPr>
              <p:cNvPr id="16" name="Rectangle 15"/>
              <p:cNvSpPr/>
              <p:nvPr/>
            </p:nvSpPr>
            <p:spPr>
              <a:xfrm>
                <a:off x="7041222" y="2516912"/>
                <a:ext cx="4937760" cy="834074"/>
              </a:xfrm>
              <a:prstGeom prst="rect">
                <a:avLst/>
              </a:prstGeom>
            </p:spPr>
            <p:txBody>
              <a:bodyPr wrap="square" anchor="t" anchorCtr="0">
                <a:spAutoFit/>
              </a:bodyPr>
              <a:lstStyle/>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Add on to Power BI Pro</a:t>
                </a:r>
              </a:p>
              <a:p>
                <a:pPr marL="0" marR="0" lvl="0" indent="0" algn="l" defTabSz="914367" rtl="0" eaLnBrk="1" fontAlgn="auto" latinLnBrk="0" hangingPunct="1">
                  <a:lnSpc>
                    <a:spcPct val="90000"/>
                  </a:lnSpc>
                  <a:spcBef>
                    <a:spcPts val="588"/>
                  </a:spcBef>
                  <a:spcAft>
                    <a:spcPts val="0"/>
                  </a:spcAft>
                  <a:buClrTx/>
                  <a:buSzTx/>
                  <a:buFontTx/>
                  <a:buNone/>
                  <a:tabLst/>
                  <a:defRPr/>
                </a:pP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Includes </a:t>
                </a:r>
                <a:r>
                  <a:rPr kumimoji="0" lang="en-US" sz="2353"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ower BI Report Server</a:t>
                </a:r>
              </a:p>
            </p:txBody>
          </p:sp>
          <p:sp>
            <p:nvSpPr>
              <p:cNvPr id="33" name="Rectangle 32"/>
              <p:cNvSpPr/>
              <p:nvPr/>
            </p:nvSpPr>
            <p:spPr>
              <a:xfrm>
                <a:off x="7041222" y="3497601"/>
                <a:ext cx="4937760" cy="7571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353" b="0" i="1"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panose="020B0502040204020203" pitchFamily="34" charset="0"/>
                  </a:rPr>
                  <a:t>Concurrently deploy an equivalent number of cores on-premises</a:t>
                </a:r>
              </a:p>
            </p:txBody>
          </p:sp>
        </p:grpSp>
      </p:grpSp>
      <p:sp>
        <p:nvSpPr>
          <p:cNvPr id="23" name="Rectangle 22">
            <a:extLst>
              <a:ext uri="{FF2B5EF4-FFF2-40B4-BE49-F238E27FC236}">
                <a16:creationId xmlns:a16="http://schemas.microsoft.com/office/drawing/2014/main" id="{F3A7D2F5-2D4D-4C0D-A79A-73F58FFA07AE}"/>
              </a:ext>
            </a:extLst>
          </p:cNvPr>
          <p:cNvSpPr/>
          <p:nvPr/>
        </p:nvSpPr>
        <p:spPr bwMode="auto">
          <a:xfrm>
            <a:off x="7037774" y="2157749"/>
            <a:ext cx="3227129"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33214528"/>
      </p:ext>
    </p:extLst>
  </p:cSld>
  <p:clrMapOvr>
    <a:masterClrMapping/>
  </p:clrMapOvr>
  <mc:AlternateContent xmlns:mc="http://schemas.openxmlformats.org/markup-compatibility/2006" xmlns:p14="http://schemas.microsoft.com/office/powerpoint/2010/main">
    <mc:Choice Requires="p14">
      <p:transition spd="med" p14:dur="700" advTm="47161">
        <p:fade/>
      </p:transition>
    </mc:Choice>
    <mc:Fallback xmlns="">
      <p:transition spd="med" advTm="47161">
        <p:fade/>
      </p:transition>
    </mc:Fallback>
  </mc:AlternateContent>
</p:sld>
</file>

<file path=ppt/slides/slide2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0" name="Rectangle 229"/>
          <p:cNvSpPr/>
          <p:nvPr/>
        </p:nvSpPr>
        <p:spPr bwMode="auto">
          <a:xfrm flipH="1">
            <a:off x="3993217" y="2324263"/>
            <a:ext cx="682947" cy="6829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1" name="Rectangle 230"/>
          <p:cNvSpPr/>
          <p:nvPr/>
        </p:nvSpPr>
        <p:spPr bwMode="auto">
          <a:xfrm flipH="1">
            <a:off x="7400881" y="2311448"/>
            <a:ext cx="896425" cy="1183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13" name="Group 312"/>
          <p:cNvGrpSpPr/>
          <p:nvPr/>
        </p:nvGrpSpPr>
        <p:grpSpPr>
          <a:xfrm>
            <a:off x="3861409" y="2191799"/>
            <a:ext cx="946563" cy="947876"/>
            <a:chOff x="6510094" y="1694343"/>
            <a:chExt cx="901909" cy="903160"/>
          </a:xfrm>
        </p:grpSpPr>
        <p:cxnSp>
          <p:nvCxnSpPr>
            <p:cNvPr id="314" name="Straight Arrow Connector 313"/>
            <p:cNvCxnSpPr>
              <a:cxnSpLocks/>
            </p:cNvCxnSpPr>
            <p:nvPr/>
          </p:nvCxnSpPr>
          <p:spPr>
            <a:xfrm>
              <a:off x="6838505" y="2407235"/>
              <a:ext cx="251092" cy="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315" name="Group 314"/>
            <p:cNvGrpSpPr/>
            <p:nvPr/>
          </p:nvGrpSpPr>
          <p:grpSpPr>
            <a:xfrm>
              <a:off x="6510094" y="1694343"/>
              <a:ext cx="901909" cy="903160"/>
              <a:chOff x="6510094" y="1694343"/>
              <a:chExt cx="901909" cy="903160"/>
            </a:xfrm>
          </p:grpSpPr>
          <p:cxnSp>
            <p:nvCxnSpPr>
              <p:cNvPr id="316" name="Straight Arrow Connector 315"/>
              <p:cNvCxnSpPr>
                <a:cxnSpLocks/>
              </p:cNvCxnSpPr>
              <p:nvPr/>
            </p:nvCxnSpPr>
            <p:spPr>
              <a:xfrm>
                <a:off x="6838510" y="1858845"/>
                <a:ext cx="251092" cy="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317" name="Oval 316"/>
              <p:cNvSpPr/>
              <p:nvPr/>
            </p:nvSpPr>
            <p:spPr bwMode="auto">
              <a:xfrm>
                <a:off x="6510950" y="1694343"/>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18" name="Group 317"/>
              <p:cNvGrpSpPr/>
              <p:nvPr/>
            </p:nvGrpSpPr>
            <p:grpSpPr>
              <a:xfrm>
                <a:off x="6581117" y="1752432"/>
                <a:ext cx="220528" cy="224401"/>
                <a:chOff x="2255837" y="2067578"/>
                <a:chExt cx="725595" cy="723519"/>
              </a:xfrm>
              <a:solidFill>
                <a:schemeClr val="accent1"/>
              </a:solidFill>
            </p:grpSpPr>
            <p:sp>
              <p:nvSpPr>
                <p:cNvPr id="33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8" name="Graphic 33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19" name="Oval 318"/>
              <p:cNvSpPr/>
              <p:nvPr/>
            </p:nvSpPr>
            <p:spPr bwMode="auto">
              <a:xfrm>
                <a:off x="7089602" y="1694343"/>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0" name="Group 319"/>
              <p:cNvGrpSpPr/>
              <p:nvPr/>
            </p:nvGrpSpPr>
            <p:grpSpPr>
              <a:xfrm>
                <a:off x="7159769" y="1752432"/>
                <a:ext cx="220528" cy="224401"/>
                <a:chOff x="2255837" y="2067578"/>
                <a:chExt cx="725595" cy="723519"/>
              </a:xfrm>
              <a:solidFill>
                <a:schemeClr val="accent1"/>
              </a:solidFill>
            </p:grpSpPr>
            <p:sp>
              <p:nvSpPr>
                <p:cNvPr id="335"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6" name="Graphic 335"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21" name="Oval 320"/>
              <p:cNvSpPr/>
              <p:nvPr/>
            </p:nvSpPr>
            <p:spPr bwMode="auto">
              <a:xfrm>
                <a:off x="6510094" y="2268498"/>
                <a:ext cx="322401"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2" name="Group 321"/>
              <p:cNvGrpSpPr/>
              <p:nvPr/>
            </p:nvGrpSpPr>
            <p:grpSpPr>
              <a:xfrm>
                <a:off x="6580259" y="2326587"/>
                <a:ext cx="220528" cy="224401"/>
                <a:chOff x="2255837" y="2067578"/>
                <a:chExt cx="725595" cy="723519"/>
              </a:xfrm>
              <a:solidFill>
                <a:schemeClr val="accent1"/>
              </a:solidFill>
            </p:grpSpPr>
            <p:sp>
              <p:nvSpPr>
                <p:cNvPr id="333"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4" name="Graphic 333"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sp>
            <p:nvSpPr>
              <p:cNvPr id="323" name="Oval 322"/>
              <p:cNvSpPr/>
              <p:nvPr/>
            </p:nvSpPr>
            <p:spPr bwMode="auto">
              <a:xfrm>
                <a:off x="7089598" y="2268498"/>
                <a:ext cx="322400" cy="329005"/>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24" name="Group 323"/>
              <p:cNvGrpSpPr/>
              <p:nvPr/>
            </p:nvGrpSpPr>
            <p:grpSpPr>
              <a:xfrm>
                <a:off x="7159763" y="2326589"/>
                <a:ext cx="220528" cy="224401"/>
                <a:chOff x="2255837" y="2067578"/>
                <a:chExt cx="725595" cy="723519"/>
              </a:xfrm>
              <a:solidFill>
                <a:schemeClr val="accent1"/>
              </a:solidFill>
            </p:grpSpPr>
            <p:sp>
              <p:nvSpPr>
                <p:cNvPr id="3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31" name="Graphic 330"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cxnSp>
            <p:nvCxnSpPr>
              <p:cNvPr id="325" name="Straight Arrow Connector 324"/>
              <p:cNvCxnSpPr>
                <a:cxnSpLocks/>
                <a:stCxn id="323" idx="0"/>
                <a:endCxn id="319" idx="4"/>
              </p:cNvCxnSpPr>
              <p:nvPr/>
            </p:nvCxnSpPr>
            <p:spPr>
              <a:xfrm flipV="1">
                <a:off x="7250798" y="2023348"/>
                <a:ext cx="5" cy="24515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a:cxnSpLocks/>
              </p:cNvCxnSpPr>
              <p:nvPr/>
            </p:nvCxnSpPr>
            <p:spPr>
              <a:xfrm flipV="1">
                <a:off x="6672150" y="2023346"/>
                <a:ext cx="2" cy="245153"/>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7" name="Straight Arrow Connector 326"/>
              <p:cNvCxnSpPr>
                <a:cxnSpLocks/>
                <a:endCxn id="323" idx="1"/>
              </p:cNvCxnSpPr>
              <p:nvPr/>
            </p:nvCxnSpPr>
            <p:spPr>
              <a:xfrm>
                <a:off x="6797619" y="1976850"/>
                <a:ext cx="339193" cy="339830"/>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a:cxnSpLocks/>
                <a:stCxn id="319" idx="3"/>
                <a:endCxn id="321" idx="7"/>
              </p:cNvCxnSpPr>
              <p:nvPr/>
            </p:nvCxnSpPr>
            <p:spPr>
              <a:xfrm flipH="1">
                <a:off x="6785280" y="1975166"/>
                <a:ext cx="351537" cy="341514"/>
              </a:xfrm>
              <a:prstGeom prst="straightConnector1">
                <a:avLst/>
              </a:prstGeom>
              <a:ln w="28575">
                <a:solidFill>
                  <a:schemeClr val="accent3"/>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grpSp>
        <p:nvGrpSpPr>
          <p:cNvPr id="339" name="Group 338"/>
          <p:cNvGrpSpPr/>
          <p:nvPr/>
        </p:nvGrpSpPr>
        <p:grpSpPr>
          <a:xfrm>
            <a:off x="7303808" y="2197051"/>
            <a:ext cx="1216740" cy="351873"/>
            <a:chOff x="1172504" y="2134433"/>
            <a:chExt cx="1275273" cy="368801"/>
          </a:xfrm>
        </p:grpSpPr>
        <p:grpSp>
          <p:nvGrpSpPr>
            <p:cNvPr id="340" name="Group 339"/>
            <p:cNvGrpSpPr/>
            <p:nvPr/>
          </p:nvGrpSpPr>
          <p:grpSpPr>
            <a:xfrm>
              <a:off x="1172504" y="2134433"/>
              <a:ext cx="364291" cy="368801"/>
              <a:chOff x="5574934" y="1898517"/>
              <a:chExt cx="331174" cy="335274"/>
            </a:xfrm>
          </p:grpSpPr>
          <p:sp>
            <p:nvSpPr>
              <p:cNvPr id="348" name="Oval 347"/>
              <p:cNvSpPr/>
              <p:nvPr/>
            </p:nvSpPr>
            <p:spPr bwMode="auto">
              <a:xfrm>
                <a:off x="5574934" y="1898517"/>
                <a:ext cx="331174" cy="33527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49" name="Group 348"/>
              <p:cNvGrpSpPr/>
              <p:nvPr/>
            </p:nvGrpSpPr>
            <p:grpSpPr>
              <a:xfrm>
                <a:off x="5647011" y="1957714"/>
                <a:ext cx="226529" cy="228677"/>
                <a:chOff x="2255837" y="2067578"/>
                <a:chExt cx="725595" cy="723519"/>
              </a:xfrm>
              <a:solidFill>
                <a:schemeClr val="accent1"/>
              </a:solidFill>
            </p:grpSpPr>
            <p:sp>
              <p:nvSpPr>
                <p:cNvPr id="350"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51" name="Graphic 350" descr="Pencil"/>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5376" y="2245041"/>
                  <a:ext cx="546056" cy="546056"/>
                </a:xfrm>
                <a:prstGeom prst="rect">
                  <a:avLst/>
                </a:prstGeom>
              </p:spPr>
            </p:pic>
          </p:grpSp>
        </p:grpSp>
        <p:grpSp>
          <p:nvGrpSpPr>
            <p:cNvPr id="341" name="Group 340"/>
            <p:cNvGrpSpPr/>
            <p:nvPr/>
          </p:nvGrpSpPr>
          <p:grpSpPr>
            <a:xfrm>
              <a:off x="2083486" y="2134433"/>
              <a:ext cx="364291" cy="368801"/>
              <a:chOff x="5574934" y="1898517"/>
              <a:chExt cx="331174" cy="335274"/>
            </a:xfrm>
          </p:grpSpPr>
          <p:sp>
            <p:nvSpPr>
              <p:cNvPr id="343" name="Oval 342"/>
              <p:cNvSpPr/>
              <p:nvPr/>
            </p:nvSpPr>
            <p:spPr bwMode="auto">
              <a:xfrm>
                <a:off x="5574934" y="1898517"/>
                <a:ext cx="331174" cy="33527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44" name="Group 343"/>
              <p:cNvGrpSpPr/>
              <p:nvPr/>
            </p:nvGrpSpPr>
            <p:grpSpPr>
              <a:xfrm>
                <a:off x="5647011" y="1957714"/>
                <a:ext cx="226529" cy="228677"/>
                <a:chOff x="2255837" y="2067578"/>
                <a:chExt cx="725595" cy="723519"/>
              </a:xfrm>
              <a:solidFill>
                <a:schemeClr val="accent1"/>
              </a:solidFill>
            </p:grpSpPr>
            <p:sp>
              <p:nvSpPr>
                <p:cNvPr id="345"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347" name="Graphic 346" descr="Pencil"/>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35376" y="2245041"/>
                  <a:ext cx="546056" cy="546056"/>
                </a:xfrm>
                <a:prstGeom prst="rect">
                  <a:avLst/>
                </a:prstGeom>
              </p:spPr>
            </p:pic>
          </p:grpSp>
        </p:grpSp>
        <p:cxnSp>
          <p:nvCxnSpPr>
            <p:cNvPr id="342" name="Straight Arrow Connector 341"/>
            <p:cNvCxnSpPr>
              <a:cxnSpLocks/>
            </p:cNvCxnSpPr>
            <p:nvPr/>
          </p:nvCxnSpPr>
          <p:spPr>
            <a:xfrm>
              <a:off x="1536795" y="2318834"/>
              <a:ext cx="546691" cy="0"/>
            </a:xfrm>
            <a:prstGeom prst="straightConnector1">
              <a:avLst/>
            </a:prstGeom>
            <a:ln w="28575">
              <a:solidFill>
                <a:schemeClr val="accent2"/>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10" name="Group 309"/>
          <p:cNvGrpSpPr/>
          <p:nvPr/>
        </p:nvGrpSpPr>
        <p:grpSpPr>
          <a:xfrm>
            <a:off x="1618010" y="1550777"/>
            <a:ext cx="739450" cy="739449"/>
            <a:chOff x="8862002" y="2451168"/>
            <a:chExt cx="623370" cy="623368"/>
          </a:xfrm>
        </p:grpSpPr>
        <p:sp>
          <p:nvSpPr>
            <p:cNvPr id="311" name="Oval 310"/>
            <p:cNvSpPr/>
            <p:nvPr/>
          </p:nvSpPr>
          <p:spPr bwMode="auto">
            <a:xfrm>
              <a:off x="8862002" y="2451168"/>
              <a:ext cx="623370" cy="623368"/>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12" name="Graphic 311" descr="Coins"/>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27061" y="2516227"/>
              <a:ext cx="493252" cy="493250"/>
            </a:xfrm>
            <a:prstGeom prst="rect">
              <a:avLst/>
            </a:prstGeom>
          </p:spPr>
        </p:pic>
      </p:grpSp>
      <p:sp>
        <p:nvSpPr>
          <p:cNvPr id="309" name="Freeform 87"/>
          <p:cNvSpPr>
            <a:spLocks/>
          </p:cNvSpPr>
          <p:nvPr/>
        </p:nvSpPr>
        <p:spPr bwMode="auto">
          <a:xfrm>
            <a:off x="7726456" y="4543135"/>
            <a:ext cx="519622" cy="760943"/>
          </a:xfrm>
          <a:custGeom>
            <a:avLst/>
            <a:gdLst>
              <a:gd name="connsiteX0" fmla="*/ 122238 w 2276475"/>
              <a:gd name="connsiteY0" fmla="*/ 2868613 h 3333750"/>
              <a:gd name="connsiteX1" fmla="*/ 122238 w 2276475"/>
              <a:gd name="connsiteY1" fmla="*/ 3185748 h 3333750"/>
              <a:gd name="connsiteX2" fmla="*/ 128322 w 2276475"/>
              <a:gd name="connsiteY2" fmla="*/ 3213101 h 3333750"/>
              <a:gd name="connsiteX3" fmla="*/ 2148154 w 2276475"/>
              <a:gd name="connsiteY3" fmla="*/ 3213101 h 3333750"/>
              <a:gd name="connsiteX4" fmla="*/ 2154238 w 2276475"/>
              <a:gd name="connsiteY4" fmla="*/ 3185748 h 3333750"/>
              <a:gd name="connsiteX5" fmla="*/ 2154238 w 2276475"/>
              <a:gd name="connsiteY5" fmla="*/ 2868613 h 3333750"/>
              <a:gd name="connsiteX6" fmla="*/ 2019847 w 2276475"/>
              <a:gd name="connsiteY6" fmla="*/ 2868613 h 3333750"/>
              <a:gd name="connsiteX7" fmla="*/ 126626 w 2276475"/>
              <a:gd name="connsiteY7" fmla="*/ 2868613 h 3333750"/>
              <a:gd name="connsiteX8" fmla="*/ 399008 w 2276475"/>
              <a:gd name="connsiteY8" fmla="*/ 2470150 h 3333750"/>
              <a:gd name="connsiteX9" fmla="*/ 1342482 w 2276475"/>
              <a:gd name="connsiteY9" fmla="*/ 2470150 h 3333750"/>
              <a:gd name="connsiteX10" fmla="*/ 1403351 w 2276475"/>
              <a:gd name="connsiteY10" fmla="*/ 2531269 h 3333750"/>
              <a:gd name="connsiteX11" fmla="*/ 1342482 w 2276475"/>
              <a:gd name="connsiteY11" fmla="*/ 2592388 h 3333750"/>
              <a:gd name="connsiteX12" fmla="*/ 399008 w 2276475"/>
              <a:gd name="connsiteY12" fmla="*/ 2592388 h 3333750"/>
              <a:gd name="connsiteX13" fmla="*/ 338138 w 2276475"/>
              <a:gd name="connsiteY13" fmla="*/ 2531269 h 3333750"/>
              <a:gd name="connsiteX14" fmla="*/ 399008 w 2276475"/>
              <a:gd name="connsiteY14" fmla="*/ 2470150 h 3333750"/>
              <a:gd name="connsiteX15" fmla="*/ 1677078 w 2276475"/>
              <a:gd name="connsiteY15" fmla="*/ 2373313 h 3333750"/>
              <a:gd name="connsiteX16" fmla="*/ 1600621 w 2276475"/>
              <a:gd name="connsiteY16" fmla="*/ 2403641 h 3333750"/>
              <a:gd name="connsiteX17" fmla="*/ 1570038 w 2276475"/>
              <a:gd name="connsiteY17" fmla="*/ 2473397 h 3333750"/>
              <a:gd name="connsiteX18" fmla="*/ 1600621 w 2276475"/>
              <a:gd name="connsiteY18" fmla="*/ 2546185 h 3333750"/>
              <a:gd name="connsiteX19" fmla="*/ 1674020 w 2276475"/>
              <a:gd name="connsiteY19" fmla="*/ 2576513 h 3333750"/>
              <a:gd name="connsiteX20" fmla="*/ 1747418 w 2276475"/>
              <a:gd name="connsiteY20" fmla="*/ 2546185 h 3333750"/>
              <a:gd name="connsiteX21" fmla="*/ 1778001 w 2276475"/>
              <a:gd name="connsiteY21" fmla="*/ 2473397 h 3333750"/>
              <a:gd name="connsiteX22" fmla="*/ 1677078 w 2276475"/>
              <a:gd name="connsiteY22" fmla="*/ 2373313 h 3333750"/>
              <a:gd name="connsiteX23" fmla="*/ 1676272 w 2276475"/>
              <a:gd name="connsiteY23" fmla="*/ 2252663 h 3333750"/>
              <a:gd name="connsiteX24" fmla="*/ 1898650 w 2276475"/>
              <a:gd name="connsiteY24" fmla="*/ 2474190 h 3333750"/>
              <a:gd name="connsiteX25" fmla="*/ 1834678 w 2276475"/>
              <a:gd name="connsiteY25" fmla="*/ 2631990 h 3333750"/>
              <a:gd name="connsiteX26" fmla="*/ 1673225 w 2276475"/>
              <a:gd name="connsiteY26" fmla="*/ 2698751 h 3333750"/>
              <a:gd name="connsiteX27" fmla="*/ 1514818 w 2276475"/>
              <a:gd name="connsiteY27" fmla="*/ 2631990 h 3333750"/>
              <a:gd name="connsiteX28" fmla="*/ 1447800 w 2276475"/>
              <a:gd name="connsiteY28" fmla="*/ 2474190 h 3333750"/>
              <a:gd name="connsiteX29" fmla="*/ 1514818 w 2276475"/>
              <a:gd name="connsiteY29" fmla="*/ 2316390 h 3333750"/>
              <a:gd name="connsiteX30" fmla="*/ 1676272 w 2276475"/>
              <a:gd name="connsiteY30" fmla="*/ 2252663 h 3333750"/>
              <a:gd name="connsiteX31" fmla="*/ 122238 w 2276475"/>
              <a:gd name="connsiteY31" fmla="*/ 2193925 h 3333750"/>
              <a:gd name="connsiteX32" fmla="*/ 122238 w 2276475"/>
              <a:gd name="connsiteY32" fmla="*/ 2203756 h 3333750"/>
              <a:gd name="connsiteX33" fmla="*/ 122238 w 2276475"/>
              <a:gd name="connsiteY33" fmla="*/ 2374283 h 3333750"/>
              <a:gd name="connsiteX34" fmla="*/ 122238 w 2276475"/>
              <a:gd name="connsiteY34" fmla="*/ 2574870 h 3333750"/>
              <a:gd name="connsiteX35" fmla="*/ 122238 w 2276475"/>
              <a:gd name="connsiteY35" fmla="*/ 2747963 h 3333750"/>
              <a:gd name="connsiteX36" fmla="*/ 256628 w 2276475"/>
              <a:gd name="connsiteY36" fmla="*/ 2747963 h 3333750"/>
              <a:gd name="connsiteX37" fmla="*/ 2149850 w 2276475"/>
              <a:gd name="connsiteY37" fmla="*/ 2747963 h 3333750"/>
              <a:gd name="connsiteX38" fmla="*/ 2154238 w 2276475"/>
              <a:gd name="connsiteY38" fmla="*/ 2747963 h 3333750"/>
              <a:gd name="connsiteX39" fmla="*/ 2154238 w 2276475"/>
              <a:gd name="connsiteY39" fmla="*/ 2193925 h 3333750"/>
              <a:gd name="connsiteX40" fmla="*/ 2019847 w 2276475"/>
              <a:gd name="connsiteY40" fmla="*/ 2193925 h 3333750"/>
              <a:gd name="connsiteX41" fmla="*/ 126626 w 2276475"/>
              <a:gd name="connsiteY41" fmla="*/ 2193925 h 3333750"/>
              <a:gd name="connsiteX42" fmla="*/ 399008 w 2276475"/>
              <a:gd name="connsiteY42" fmla="*/ 1808163 h 3333750"/>
              <a:gd name="connsiteX43" fmla="*/ 1342482 w 2276475"/>
              <a:gd name="connsiteY43" fmla="*/ 1808163 h 3333750"/>
              <a:gd name="connsiteX44" fmla="*/ 1403351 w 2276475"/>
              <a:gd name="connsiteY44" fmla="*/ 1869282 h 3333750"/>
              <a:gd name="connsiteX45" fmla="*/ 1342482 w 2276475"/>
              <a:gd name="connsiteY45" fmla="*/ 1930401 h 3333750"/>
              <a:gd name="connsiteX46" fmla="*/ 399008 w 2276475"/>
              <a:gd name="connsiteY46" fmla="*/ 1930401 h 3333750"/>
              <a:gd name="connsiteX47" fmla="*/ 338138 w 2276475"/>
              <a:gd name="connsiteY47" fmla="*/ 1869282 h 3333750"/>
              <a:gd name="connsiteX48" fmla="*/ 399008 w 2276475"/>
              <a:gd name="connsiteY48" fmla="*/ 1808163 h 3333750"/>
              <a:gd name="connsiteX49" fmla="*/ 1674020 w 2276475"/>
              <a:gd name="connsiteY49" fmla="*/ 1692275 h 3333750"/>
              <a:gd name="connsiteX50" fmla="*/ 1570038 w 2276475"/>
              <a:gd name="connsiteY50" fmla="*/ 1793141 h 3333750"/>
              <a:gd name="connsiteX51" fmla="*/ 1674020 w 2276475"/>
              <a:gd name="connsiteY51" fmla="*/ 1897063 h 3333750"/>
              <a:gd name="connsiteX52" fmla="*/ 1778001 w 2276475"/>
              <a:gd name="connsiteY52" fmla="*/ 1796197 h 3333750"/>
              <a:gd name="connsiteX53" fmla="*/ 1747418 w 2276475"/>
              <a:gd name="connsiteY53" fmla="*/ 1722840 h 3333750"/>
              <a:gd name="connsiteX54" fmla="*/ 1674020 w 2276475"/>
              <a:gd name="connsiteY54" fmla="*/ 1692275 h 3333750"/>
              <a:gd name="connsiteX55" fmla="*/ 1673225 w 2276475"/>
              <a:gd name="connsiteY55" fmla="*/ 1571625 h 3333750"/>
              <a:gd name="connsiteX56" fmla="*/ 1834678 w 2276475"/>
              <a:gd name="connsiteY56" fmla="*/ 1638387 h 3333750"/>
              <a:gd name="connsiteX57" fmla="*/ 1898650 w 2276475"/>
              <a:gd name="connsiteY57" fmla="*/ 1796186 h 3333750"/>
              <a:gd name="connsiteX58" fmla="*/ 1673225 w 2276475"/>
              <a:gd name="connsiteY58" fmla="*/ 2017713 h 3333750"/>
              <a:gd name="connsiteX59" fmla="*/ 1447800 w 2276475"/>
              <a:gd name="connsiteY59" fmla="*/ 1796186 h 3333750"/>
              <a:gd name="connsiteX60" fmla="*/ 1673225 w 2276475"/>
              <a:gd name="connsiteY60" fmla="*/ 1571625 h 3333750"/>
              <a:gd name="connsiteX61" fmla="*/ 122238 w 2276475"/>
              <a:gd name="connsiteY61" fmla="*/ 1519238 h 3333750"/>
              <a:gd name="connsiteX62" fmla="*/ 122238 w 2276475"/>
              <a:gd name="connsiteY62" fmla="*/ 1970070 h 3333750"/>
              <a:gd name="connsiteX63" fmla="*/ 122238 w 2276475"/>
              <a:gd name="connsiteY63" fmla="*/ 2073275 h 3333750"/>
              <a:gd name="connsiteX64" fmla="*/ 256628 w 2276475"/>
              <a:gd name="connsiteY64" fmla="*/ 2073275 h 3333750"/>
              <a:gd name="connsiteX65" fmla="*/ 2149850 w 2276475"/>
              <a:gd name="connsiteY65" fmla="*/ 2073275 h 3333750"/>
              <a:gd name="connsiteX66" fmla="*/ 2154238 w 2276475"/>
              <a:gd name="connsiteY66" fmla="*/ 2073275 h 3333750"/>
              <a:gd name="connsiteX67" fmla="*/ 2154238 w 2276475"/>
              <a:gd name="connsiteY67" fmla="*/ 1833306 h 3333750"/>
              <a:gd name="connsiteX68" fmla="*/ 2154238 w 2276475"/>
              <a:gd name="connsiteY68" fmla="*/ 1541561 h 3333750"/>
              <a:gd name="connsiteX69" fmla="*/ 2154238 w 2276475"/>
              <a:gd name="connsiteY69" fmla="*/ 1519238 h 3333750"/>
              <a:gd name="connsiteX70" fmla="*/ 2019847 w 2276475"/>
              <a:gd name="connsiteY70" fmla="*/ 1519238 h 3333750"/>
              <a:gd name="connsiteX71" fmla="*/ 126626 w 2276475"/>
              <a:gd name="connsiteY71" fmla="*/ 1519238 h 3333750"/>
              <a:gd name="connsiteX72" fmla="*/ 399000 w 2276475"/>
              <a:gd name="connsiteY72" fmla="*/ 1143000 h 3333750"/>
              <a:gd name="connsiteX73" fmla="*/ 1339314 w 2276475"/>
              <a:gd name="connsiteY73" fmla="*/ 1143000 h 3333750"/>
              <a:gd name="connsiteX74" fmla="*/ 1400176 w 2276475"/>
              <a:gd name="connsiteY74" fmla="*/ 1203325 h 3333750"/>
              <a:gd name="connsiteX75" fmla="*/ 1339314 w 2276475"/>
              <a:gd name="connsiteY75" fmla="*/ 1263650 h 3333750"/>
              <a:gd name="connsiteX76" fmla="*/ 399000 w 2276475"/>
              <a:gd name="connsiteY76" fmla="*/ 1263650 h 3333750"/>
              <a:gd name="connsiteX77" fmla="*/ 338138 w 2276475"/>
              <a:gd name="connsiteY77" fmla="*/ 1203325 h 3333750"/>
              <a:gd name="connsiteX78" fmla="*/ 399000 w 2276475"/>
              <a:gd name="connsiteY78" fmla="*/ 1143000 h 3333750"/>
              <a:gd name="connsiteX79" fmla="*/ 1674020 w 2276475"/>
              <a:gd name="connsiteY79" fmla="*/ 1012825 h 3333750"/>
              <a:gd name="connsiteX80" fmla="*/ 1603679 w 2276475"/>
              <a:gd name="connsiteY80" fmla="*/ 1043153 h 3333750"/>
              <a:gd name="connsiteX81" fmla="*/ 1570038 w 2276475"/>
              <a:gd name="connsiteY81" fmla="*/ 1115942 h 3333750"/>
              <a:gd name="connsiteX82" fmla="*/ 1674020 w 2276475"/>
              <a:gd name="connsiteY82" fmla="*/ 1216025 h 3333750"/>
              <a:gd name="connsiteX83" fmla="*/ 1778001 w 2276475"/>
              <a:gd name="connsiteY83" fmla="*/ 1115942 h 3333750"/>
              <a:gd name="connsiteX84" fmla="*/ 1747418 w 2276475"/>
              <a:gd name="connsiteY84" fmla="*/ 1043153 h 3333750"/>
              <a:gd name="connsiteX85" fmla="*/ 1674020 w 2276475"/>
              <a:gd name="connsiteY85" fmla="*/ 1012825 h 3333750"/>
              <a:gd name="connsiteX86" fmla="*/ 1673225 w 2276475"/>
              <a:gd name="connsiteY86" fmla="*/ 890588 h 3333750"/>
              <a:gd name="connsiteX87" fmla="*/ 1676272 w 2276475"/>
              <a:gd name="connsiteY87" fmla="*/ 890588 h 3333750"/>
              <a:gd name="connsiteX88" fmla="*/ 1831632 w 2276475"/>
              <a:gd name="connsiteY88" fmla="*/ 957350 h 3333750"/>
              <a:gd name="connsiteX89" fmla="*/ 1898650 w 2276475"/>
              <a:gd name="connsiteY89" fmla="*/ 1115149 h 3333750"/>
              <a:gd name="connsiteX90" fmla="*/ 1673225 w 2276475"/>
              <a:gd name="connsiteY90" fmla="*/ 1336676 h 3333750"/>
              <a:gd name="connsiteX91" fmla="*/ 1447800 w 2276475"/>
              <a:gd name="connsiteY91" fmla="*/ 1115149 h 3333750"/>
              <a:gd name="connsiteX92" fmla="*/ 1514818 w 2276475"/>
              <a:gd name="connsiteY92" fmla="*/ 954315 h 3333750"/>
              <a:gd name="connsiteX93" fmla="*/ 1673225 w 2276475"/>
              <a:gd name="connsiteY93" fmla="*/ 890588 h 3333750"/>
              <a:gd name="connsiteX94" fmla="*/ 122238 w 2276475"/>
              <a:gd name="connsiteY94" fmla="*/ 844550 h 3333750"/>
              <a:gd name="connsiteX95" fmla="*/ 122238 w 2276475"/>
              <a:gd name="connsiteY95" fmla="*/ 1398588 h 3333750"/>
              <a:gd name="connsiteX96" fmla="*/ 256628 w 2276475"/>
              <a:gd name="connsiteY96" fmla="*/ 1398588 h 3333750"/>
              <a:gd name="connsiteX97" fmla="*/ 2149850 w 2276475"/>
              <a:gd name="connsiteY97" fmla="*/ 1398588 h 3333750"/>
              <a:gd name="connsiteX98" fmla="*/ 2154238 w 2276475"/>
              <a:gd name="connsiteY98" fmla="*/ 1398588 h 3333750"/>
              <a:gd name="connsiteX99" fmla="*/ 2154238 w 2276475"/>
              <a:gd name="connsiteY99" fmla="*/ 1341995 h 3333750"/>
              <a:gd name="connsiteX100" fmla="*/ 2154238 w 2276475"/>
              <a:gd name="connsiteY100" fmla="*/ 1128212 h 3333750"/>
              <a:gd name="connsiteX101" fmla="*/ 2154238 w 2276475"/>
              <a:gd name="connsiteY101" fmla="*/ 844550 h 3333750"/>
              <a:gd name="connsiteX102" fmla="*/ 2019847 w 2276475"/>
              <a:gd name="connsiteY102" fmla="*/ 844550 h 3333750"/>
              <a:gd name="connsiteX103" fmla="*/ 126626 w 2276475"/>
              <a:gd name="connsiteY103" fmla="*/ 844550 h 3333750"/>
              <a:gd name="connsiteX104" fmla="*/ 395840 w 2276475"/>
              <a:gd name="connsiteY104" fmla="*/ 471488 h 3333750"/>
              <a:gd name="connsiteX105" fmla="*/ 1342474 w 2276475"/>
              <a:gd name="connsiteY105" fmla="*/ 471488 h 3333750"/>
              <a:gd name="connsiteX106" fmla="*/ 1403351 w 2276475"/>
              <a:gd name="connsiteY106" fmla="*/ 531813 h 3333750"/>
              <a:gd name="connsiteX107" fmla="*/ 1342474 w 2276475"/>
              <a:gd name="connsiteY107" fmla="*/ 592138 h 3333750"/>
              <a:gd name="connsiteX108" fmla="*/ 395840 w 2276475"/>
              <a:gd name="connsiteY108" fmla="*/ 592138 h 3333750"/>
              <a:gd name="connsiteX109" fmla="*/ 334963 w 2276475"/>
              <a:gd name="connsiteY109" fmla="*/ 531813 h 3333750"/>
              <a:gd name="connsiteX110" fmla="*/ 395840 w 2276475"/>
              <a:gd name="connsiteY110" fmla="*/ 471488 h 3333750"/>
              <a:gd name="connsiteX111" fmla="*/ 1677078 w 2276475"/>
              <a:gd name="connsiteY111" fmla="*/ 331788 h 3333750"/>
              <a:gd name="connsiteX112" fmla="*/ 1570038 w 2276475"/>
              <a:gd name="connsiteY112" fmla="*/ 431872 h 3333750"/>
              <a:gd name="connsiteX113" fmla="*/ 1600621 w 2276475"/>
              <a:gd name="connsiteY113" fmla="*/ 504660 h 3333750"/>
              <a:gd name="connsiteX114" fmla="*/ 1674020 w 2276475"/>
              <a:gd name="connsiteY114" fmla="*/ 534988 h 3333750"/>
              <a:gd name="connsiteX115" fmla="*/ 1747418 w 2276475"/>
              <a:gd name="connsiteY115" fmla="*/ 504660 h 3333750"/>
              <a:gd name="connsiteX116" fmla="*/ 1778001 w 2276475"/>
              <a:gd name="connsiteY116" fmla="*/ 434905 h 3333750"/>
              <a:gd name="connsiteX117" fmla="*/ 1677078 w 2276475"/>
              <a:gd name="connsiteY117" fmla="*/ 331788 h 3333750"/>
              <a:gd name="connsiteX118" fmla="*/ 1676272 w 2276475"/>
              <a:gd name="connsiteY118" fmla="*/ 209550 h 3333750"/>
              <a:gd name="connsiteX119" fmla="*/ 1898650 w 2276475"/>
              <a:gd name="connsiteY119" fmla="*/ 434910 h 3333750"/>
              <a:gd name="connsiteX120" fmla="*/ 1831632 w 2276475"/>
              <a:gd name="connsiteY120" fmla="*/ 593272 h 3333750"/>
              <a:gd name="connsiteX121" fmla="*/ 1673225 w 2276475"/>
              <a:gd name="connsiteY121" fmla="*/ 657225 h 3333750"/>
              <a:gd name="connsiteX122" fmla="*/ 1670179 w 2276475"/>
              <a:gd name="connsiteY122" fmla="*/ 657225 h 3333750"/>
              <a:gd name="connsiteX123" fmla="*/ 1514818 w 2276475"/>
              <a:gd name="connsiteY123" fmla="*/ 590226 h 3333750"/>
              <a:gd name="connsiteX124" fmla="*/ 1447800 w 2276475"/>
              <a:gd name="connsiteY124" fmla="*/ 431865 h 3333750"/>
              <a:gd name="connsiteX125" fmla="*/ 1676272 w 2276475"/>
              <a:gd name="connsiteY125" fmla="*/ 209550 h 3333750"/>
              <a:gd name="connsiteX126" fmla="*/ 128322 w 2276475"/>
              <a:gd name="connsiteY126" fmla="*/ 122238 h 3333750"/>
              <a:gd name="connsiteX127" fmla="*/ 122238 w 2276475"/>
              <a:gd name="connsiteY127" fmla="*/ 155669 h 3333750"/>
              <a:gd name="connsiteX128" fmla="*/ 122238 w 2276475"/>
              <a:gd name="connsiteY128" fmla="*/ 723900 h 3333750"/>
              <a:gd name="connsiteX129" fmla="*/ 256628 w 2276475"/>
              <a:gd name="connsiteY129" fmla="*/ 723900 h 3333750"/>
              <a:gd name="connsiteX130" fmla="*/ 2149850 w 2276475"/>
              <a:gd name="connsiteY130" fmla="*/ 723900 h 3333750"/>
              <a:gd name="connsiteX131" fmla="*/ 2154238 w 2276475"/>
              <a:gd name="connsiteY131" fmla="*/ 723900 h 3333750"/>
              <a:gd name="connsiteX132" fmla="*/ 2154238 w 2276475"/>
              <a:gd name="connsiteY132" fmla="*/ 152630 h 3333750"/>
              <a:gd name="connsiteX133" fmla="*/ 2148154 w 2276475"/>
              <a:gd name="connsiteY133" fmla="*/ 122238 h 3333750"/>
              <a:gd name="connsiteX134" fmla="*/ 128322 w 2276475"/>
              <a:gd name="connsiteY134" fmla="*/ 122238 h 3333750"/>
              <a:gd name="connsiteX135" fmla="*/ 106520 w 2276475"/>
              <a:gd name="connsiteY135" fmla="*/ 0 h 3333750"/>
              <a:gd name="connsiteX136" fmla="*/ 2169956 w 2276475"/>
              <a:gd name="connsiteY136" fmla="*/ 0 h 3333750"/>
              <a:gd name="connsiteX137" fmla="*/ 2197346 w 2276475"/>
              <a:gd name="connsiteY137" fmla="*/ 6078 h 3333750"/>
              <a:gd name="connsiteX138" fmla="*/ 2276475 w 2276475"/>
              <a:gd name="connsiteY138" fmla="*/ 151949 h 3333750"/>
              <a:gd name="connsiteX139" fmla="*/ 2276475 w 2276475"/>
              <a:gd name="connsiteY139" fmla="*/ 784225 h 3333750"/>
              <a:gd name="connsiteX140" fmla="*/ 2276475 w 2276475"/>
              <a:gd name="connsiteY140" fmla="*/ 1127458 h 3333750"/>
              <a:gd name="connsiteX141" fmla="*/ 2276475 w 2276475"/>
              <a:gd name="connsiteY141" fmla="*/ 1446550 h 3333750"/>
              <a:gd name="connsiteX142" fmla="*/ 2276475 w 2276475"/>
              <a:gd name="connsiteY142" fmla="*/ 1458913 h 3333750"/>
              <a:gd name="connsiteX143" fmla="*/ 2276475 w 2276475"/>
              <a:gd name="connsiteY143" fmla="*/ 1573943 h 3333750"/>
              <a:gd name="connsiteX144" fmla="*/ 2276475 w 2276475"/>
              <a:gd name="connsiteY144" fmla="*/ 1832499 h 3333750"/>
              <a:gd name="connsiteX145" fmla="*/ 2276475 w 2276475"/>
              <a:gd name="connsiteY145" fmla="*/ 2133600 h 3333750"/>
              <a:gd name="connsiteX146" fmla="*/ 2276475 w 2276475"/>
              <a:gd name="connsiteY146" fmla="*/ 2808288 h 3333750"/>
              <a:gd name="connsiteX147" fmla="*/ 2276475 w 2276475"/>
              <a:gd name="connsiteY147" fmla="*/ 3184841 h 3333750"/>
              <a:gd name="connsiteX148" fmla="*/ 2197346 w 2276475"/>
              <a:gd name="connsiteY148" fmla="*/ 3327672 h 3333750"/>
              <a:gd name="connsiteX149" fmla="*/ 2169956 w 2276475"/>
              <a:gd name="connsiteY149" fmla="*/ 3333750 h 3333750"/>
              <a:gd name="connsiteX150" fmla="*/ 106520 w 2276475"/>
              <a:gd name="connsiteY150" fmla="*/ 3333750 h 3333750"/>
              <a:gd name="connsiteX151" fmla="*/ 79129 w 2276475"/>
              <a:gd name="connsiteY151" fmla="*/ 3327672 h 3333750"/>
              <a:gd name="connsiteX152" fmla="*/ 0 w 2276475"/>
              <a:gd name="connsiteY152" fmla="*/ 3184841 h 3333750"/>
              <a:gd name="connsiteX153" fmla="*/ 0 w 2276475"/>
              <a:gd name="connsiteY153" fmla="*/ 2808288 h 3333750"/>
              <a:gd name="connsiteX154" fmla="*/ 0 w 2276475"/>
              <a:gd name="connsiteY154" fmla="*/ 2574008 h 3333750"/>
              <a:gd name="connsiteX155" fmla="*/ 0 w 2276475"/>
              <a:gd name="connsiteY155" fmla="*/ 2373436 h 3333750"/>
              <a:gd name="connsiteX156" fmla="*/ 0 w 2276475"/>
              <a:gd name="connsiteY156" fmla="*/ 2139768 h 3333750"/>
              <a:gd name="connsiteX157" fmla="*/ 0 w 2276475"/>
              <a:gd name="connsiteY157" fmla="*/ 2133600 h 3333750"/>
              <a:gd name="connsiteX158" fmla="*/ 0 w 2276475"/>
              <a:gd name="connsiteY158" fmla="*/ 2067930 h 3333750"/>
              <a:gd name="connsiteX159" fmla="*/ 0 w 2276475"/>
              <a:gd name="connsiteY159" fmla="*/ 1969253 h 3333750"/>
              <a:gd name="connsiteX160" fmla="*/ 0 w 2276475"/>
              <a:gd name="connsiteY160" fmla="*/ 1458913 h 3333750"/>
              <a:gd name="connsiteX161" fmla="*/ 0 w 2276475"/>
              <a:gd name="connsiteY161" fmla="*/ 784225 h 3333750"/>
              <a:gd name="connsiteX162" fmla="*/ 0 w 2276475"/>
              <a:gd name="connsiteY162" fmla="*/ 154988 h 3333750"/>
              <a:gd name="connsiteX163" fmla="*/ 79129 w 2276475"/>
              <a:gd name="connsiteY163" fmla="*/ 6078 h 3333750"/>
              <a:gd name="connsiteX164" fmla="*/ 106520 w 2276475"/>
              <a:gd name="connsiteY164" fmla="*/ 0 h 333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276475" h="3333750">
                <a:moveTo>
                  <a:pt x="122238" y="2868613"/>
                </a:moveTo>
                <a:lnTo>
                  <a:pt x="122238" y="3185748"/>
                </a:lnTo>
                <a:cubicBezTo>
                  <a:pt x="122238" y="3200944"/>
                  <a:pt x="125280" y="3210062"/>
                  <a:pt x="128322" y="3213101"/>
                </a:cubicBezTo>
                <a:cubicBezTo>
                  <a:pt x="2148154" y="3213101"/>
                  <a:pt x="2148154" y="3213101"/>
                  <a:pt x="2148154" y="3213101"/>
                </a:cubicBezTo>
                <a:cubicBezTo>
                  <a:pt x="2151196" y="3210062"/>
                  <a:pt x="2154238" y="3200944"/>
                  <a:pt x="2154238" y="3185748"/>
                </a:cubicBezTo>
                <a:lnTo>
                  <a:pt x="2154238" y="2868613"/>
                </a:lnTo>
                <a:lnTo>
                  <a:pt x="2019847" y="2868613"/>
                </a:lnTo>
                <a:cubicBezTo>
                  <a:pt x="692797" y="2868613"/>
                  <a:pt x="264716" y="2868613"/>
                  <a:pt x="126626" y="2868613"/>
                </a:cubicBezTo>
                <a:close/>
                <a:moveTo>
                  <a:pt x="399008" y="2470150"/>
                </a:moveTo>
                <a:cubicBezTo>
                  <a:pt x="1342482" y="2470150"/>
                  <a:pt x="1342482" y="2470150"/>
                  <a:pt x="1342482" y="2470150"/>
                </a:cubicBezTo>
                <a:cubicBezTo>
                  <a:pt x="1375960" y="2470150"/>
                  <a:pt x="1403351" y="2497654"/>
                  <a:pt x="1403351" y="2531269"/>
                </a:cubicBezTo>
                <a:cubicBezTo>
                  <a:pt x="1403351" y="2564885"/>
                  <a:pt x="1375960" y="2592388"/>
                  <a:pt x="1342482" y="2592388"/>
                </a:cubicBezTo>
                <a:cubicBezTo>
                  <a:pt x="399008" y="2592388"/>
                  <a:pt x="399008" y="2592388"/>
                  <a:pt x="399008" y="2592388"/>
                </a:cubicBezTo>
                <a:cubicBezTo>
                  <a:pt x="365529" y="2592388"/>
                  <a:pt x="338138" y="2564885"/>
                  <a:pt x="338138" y="2531269"/>
                </a:cubicBezTo>
                <a:cubicBezTo>
                  <a:pt x="338138" y="2497654"/>
                  <a:pt x="365529" y="2470150"/>
                  <a:pt x="399008" y="2470150"/>
                </a:cubicBezTo>
                <a:close/>
                <a:moveTo>
                  <a:pt x="1677078" y="2373313"/>
                </a:moveTo>
                <a:cubicBezTo>
                  <a:pt x="1646495" y="2373313"/>
                  <a:pt x="1618971" y="2385444"/>
                  <a:pt x="1600621" y="2403641"/>
                </a:cubicBezTo>
                <a:cubicBezTo>
                  <a:pt x="1582271" y="2421839"/>
                  <a:pt x="1570038" y="2446101"/>
                  <a:pt x="1570038" y="2473397"/>
                </a:cubicBezTo>
                <a:cubicBezTo>
                  <a:pt x="1570038" y="2500692"/>
                  <a:pt x="1582271" y="2527988"/>
                  <a:pt x="1600621" y="2546185"/>
                </a:cubicBezTo>
                <a:cubicBezTo>
                  <a:pt x="1618971" y="2564382"/>
                  <a:pt x="1646495" y="2576513"/>
                  <a:pt x="1674020" y="2576513"/>
                </a:cubicBezTo>
                <a:cubicBezTo>
                  <a:pt x="1701544" y="2576513"/>
                  <a:pt x="1729069" y="2564382"/>
                  <a:pt x="1747418" y="2546185"/>
                </a:cubicBezTo>
                <a:cubicBezTo>
                  <a:pt x="1768826" y="2524955"/>
                  <a:pt x="1778001" y="2500692"/>
                  <a:pt x="1778001" y="2473397"/>
                </a:cubicBezTo>
                <a:cubicBezTo>
                  <a:pt x="1778001" y="2418806"/>
                  <a:pt x="1732127" y="2373313"/>
                  <a:pt x="1677078" y="2373313"/>
                </a:cubicBezTo>
                <a:close/>
                <a:moveTo>
                  <a:pt x="1676272" y="2252663"/>
                </a:moveTo>
                <a:cubicBezTo>
                  <a:pt x="1798123" y="2252663"/>
                  <a:pt x="1898650" y="2352805"/>
                  <a:pt x="1898650" y="2474190"/>
                </a:cubicBezTo>
                <a:cubicBezTo>
                  <a:pt x="1898650" y="2534882"/>
                  <a:pt x="1877326" y="2589505"/>
                  <a:pt x="1834678" y="2631990"/>
                </a:cubicBezTo>
                <a:cubicBezTo>
                  <a:pt x="1792030" y="2674474"/>
                  <a:pt x="1734151" y="2698751"/>
                  <a:pt x="1673225" y="2698751"/>
                </a:cubicBezTo>
                <a:cubicBezTo>
                  <a:pt x="1612300" y="2698751"/>
                  <a:pt x="1557466" y="2674474"/>
                  <a:pt x="1514818" y="2631990"/>
                </a:cubicBezTo>
                <a:cubicBezTo>
                  <a:pt x="1472171" y="2589505"/>
                  <a:pt x="1447800" y="2534882"/>
                  <a:pt x="1447800" y="2474190"/>
                </a:cubicBezTo>
                <a:cubicBezTo>
                  <a:pt x="1447800" y="2416532"/>
                  <a:pt x="1472171" y="2358875"/>
                  <a:pt x="1514818" y="2316390"/>
                </a:cubicBezTo>
                <a:cubicBezTo>
                  <a:pt x="1557466" y="2276940"/>
                  <a:pt x="1615346" y="2252663"/>
                  <a:pt x="1676272" y="2252663"/>
                </a:cubicBezTo>
                <a:close/>
                <a:moveTo>
                  <a:pt x="122238" y="2193925"/>
                </a:moveTo>
                <a:lnTo>
                  <a:pt x="122238" y="2203756"/>
                </a:lnTo>
                <a:cubicBezTo>
                  <a:pt x="122238" y="2374283"/>
                  <a:pt x="122238" y="2374283"/>
                  <a:pt x="122238" y="2374283"/>
                </a:cubicBezTo>
                <a:cubicBezTo>
                  <a:pt x="122238" y="2574870"/>
                  <a:pt x="122238" y="2574870"/>
                  <a:pt x="122238" y="2574870"/>
                </a:cubicBezTo>
                <a:lnTo>
                  <a:pt x="122238" y="2747963"/>
                </a:lnTo>
                <a:lnTo>
                  <a:pt x="256628" y="2747963"/>
                </a:lnTo>
                <a:cubicBezTo>
                  <a:pt x="1583679" y="2747963"/>
                  <a:pt x="2011759" y="2747963"/>
                  <a:pt x="2149850" y="2747963"/>
                </a:cubicBezTo>
                <a:lnTo>
                  <a:pt x="2154238" y="2747963"/>
                </a:lnTo>
                <a:lnTo>
                  <a:pt x="2154238" y="2193925"/>
                </a:lnTo>
                <a:lnTo>
                  <a:pt x="2019847" y="2193925"/>
                </a:lnTo>
                <a:cubicBezTo>
                  <a:pt x="692797" y="2193925"/>
                  <a:pt x="264716" y="2193925"/>
                  <a:pt x="126626" y="2193925"/>
                </a:cubicBezTo>
                <a:close/>
                <a:moveTo>
                  <a:pt x="399008" y="1808163"/>
                </a:moveTo>
                <a:cubicBezTo>
                  <a:pt x="1342482" y="1808163"/>
                  <a:pt x="1342482" y="1808163"/>
                  <a:pt x="1342482" y="1808163"/>
                </a:cubicBezTo>
                <a:cubicBezTo>
                  <a:pt x="1375960" y="1808163"/>
                  <a:pt x="1403351" y="1835666"/>
                  <a:pt x="1403351" y="1869282"/>
                </a:cubicBezTo>
                <a:cubicBezTo>
                  <a:pt x="1403351" y="1902897"/>
                  <a:pt x="1375960" y="1930401"/>
                  <a:pt x="1342482" y="1930401"/>
                </a:cubicBezTo>
                <a:cubicBezTo>
                  <a:pt x="399008" y="1930401"/>
                  <a:pt x="399008" y="1930401"/>
                  <a:pt x="399008" y="1930401"/>
                </a:cubicBezTo>
                <a:cubicBezTo>
                  <a:pt x="365529" y="1930401"/>
                  <a:pt x="338138" y="1902897"/>
                  <a:pt x="338138" y="1869282"/>
                </a:cubicBezTo>
                <a:cubicBezTo>
                  <a:pt x="338138" y="1835666"/>
                  <a:pt x="365529" y="1808163"/>
                  <a:pt x="399008" y="1808163"/>
                </a:cubicBezTo>
                <a:close/>
                <a:moveTo>
                  <a:pt x="1674020" y="1692275"/>
                </a:moveTo>
                <a:cubicBezTo>
                  <a:pt x="1618971" y="1692275"/>
                  <a:pt x="1570038" y="1741180"/>
                  <a:pt x="1570038" y="1793141"/>
                </a:cubicBezTo>
                <a:cubicBezTo>
                  <a:pt x="1570038" y="1851215"/>
                  <a:pt x="1618971" y="1897063"/>
                  <a:pt x="1674020" y="1897063"/>
                </a:cubicBezTo>
                <a:cubicBezTo>
                  <a:pt x="1729069" y="1897063"/>
                  <a:pt x="1778001" y="1851215"/>
                  <a:pt x="1778001" y="1796197"/>
                </a:cubicBezTo>
                <a:cubicBezTo>
                  <a:pt x="1778001" y="1768689"/>
                  <a:pt x="1768826" y="1744236"/>
                  <a:pt x="1747418" y="1722840"/>
                </a:cubicBezTo>
                <a:cubicBezTo>
                  <a:pt x="1729069" y="1701445"/>
                  <a:pt x="1701544" y="1692275"/>
                  <a:pt x="1674020" y="1692275"/>
                </a:cubicBezTo>
                <a:close/>
                <a:moveTo>
                  <a:pt x="1673225" y="1571625"/>
                </a:moveTo>
                <a:cubicBezTo>
                  <a:pt x="1731105" y="1571625"/>
                  <a:pt x="1792030" y="1595902"/>
                  <a:pt x="1834678" y="1638387"/>
                </a:cubicBezTo>
                <a:cubicBezTo>
                  <a:pt x="1877326" y="1680871"/>
                  <a:pt x="1898650" y="1738529"/>
                  <a:pt x="1898650" y="1796186"/>
                </a:cubicBezTo>
                <a:cubicBezTo>
                  <a:pt x="1898650" y="1917571"/>
                  <a:pt x="1795077" y="2017713"/>
                  <a:pt x="1673225" y="2017713"/>
                </a:cubicBezTo>
                <a:cubicBezTo>
                  <a:pt x="1548328" y="2017713"/>
                  <a:pt x="1447800" y="1917571"/>
                  <a:pt x="1447800" y="1796186"/>
                </a:cubicBezTo>
                <a:cubicBezTo>
                  <a:pt x="1447800" y="1674802"/>
                  <a:pt x="1551374" y="1571625"/>
                  <a:pt x="1673225" y="1571625"/>
                </a:cubicBezTo>
                <a:close/>
                <a:moveTo>
                  <a:pt x="122238" y="1519238"/>
                </a:moveTo>
                <a:lnTo>
                  <a:pt x="122238" y="1970070"/>
                </a:lnTo>
                <a:lnTo>
                  <a:pt x="122238" y="2073275"/>
                </a:lnTo>
                <a:lnTo>
                  <a:pt x="256628" y="2073275"/>
                </a:lnTo>
                <a:cubicBezTo>
                  <a:pt x="1583679" y="2073275"/>
                  <a:pt x="2011759" y="2073275"/>
                  <a:pt x="2149850" y="2073275"/>
                </a:cubicBezTo>
                <a:lnTo>
                  <a:pt x="2154238" y="2073275"/>
                </a:lnTo>
                <a:lnTo>
                  <a:pt x="2154238" y="1833306"/>
                </a:lnTo>
                <a:cubicBezTo>
                  <a:pt x="2154238" y="1688564"/>
                  <a:pt x="2154238" y="1598101"/>
                  <a:pt x="2154238" y="1541561"/>
                </a:cubicBezTo>
                <a:lnTo>
                  <a:pt x="2154238" y="1519238"/>
                </a:lnTo>
                <a:lnTo>
                  <a:pt x="2019847" y="1519238"/>
                </a:lnTo>
                <a:cubicBezTo>
                  <a:pt x="692797" y="1519238"/>
                  <a:pt x="264716" y="1519238"/>
                  <a:pt x="126626" y="1519238"/>
                </a:cubicBezTo>
                <a:close/>
                <a:moveTo>
                  <a:pt x="399000" y="1143000"/>
                </a:moveTo>
                <a:cubicBezTo>
                  <a:pt x="1339314" y="1143000"/>
                  <a:pt x="1339314" y="1143000"/>
                  <a:pt x="1339314" y="1143000"/>
                </a:cubicBezTo>
                <a:cubicBezTo>
                  <a:pt x="1372788" y="1143000"/>
                  <a:pt x="1400176" y="1170146"/>
                  <a:pt x="1400176" y="1203325"/>
                </a:cubicBezTo>
                <a:cubicBezTo>
                  <a:pt x="1400176" y="1236504"/>
                  <a:pt x="1372788" y="1263650"/>
                  <a:pt x="1339314" y="1263650"/>
                </a:cubicBezTo>
                <a:cubicBezTo>
                  <a:pt x="399000" y="1263650"/>
                  <a:pt x="399000" y="1263650"/>
                  <a:pt x="399000" y="1263650"/>
                </a:cubicBezTo>
                <a:cubicBezTo>
                  <a:pt x="365526" y="1263650"/>
                  <a:pt x="338138" y="1236504"/>
                  <a:pt x="338138" y="1203325"/>
                </a:cubicBezTo>
                <a:cubicBezTo>
                  <a:pt x="338138" y="1170146"/>
                  <a:pt x="365526" y="1143000"/>
                  <a:pt x="399000" y="1143000"/>
                </a:cubicBezTo>
                <a:close/>
                <a:moveTo>
                  <a:pt x="1674020" y="1012825"/>
                </a:moveTo>
                <a:cubicBezTo>
                  <a:pt x="1646495" y="1012825"/>
                  <a:pt x="1622029" y="1021924"/>
                  <a:pt x="1603679" y="1043153"/>
                </a:cubicBezTo>
                <a:cubicBezTo>
                  <a:pt x="1582271" y="1061351"/>
                  <a:pt x="1570038" y="1088646"/>
                  <a:pt x="1570038" y="1115942"/>
                </a:cubicBezTo>
                <a:cubicBezTo>
                  <a:pt x="1570038" y="1170533"/>
                  <a:pt x="1618971" y="1216025"/>
                  <a:pt x="1674020" y="1216025"/>
                </a:cubicBezTo>
                <a:cubicBezTo>
                  <a:pt x="1729069" y="1216025"/>
                  <a:pt x="1778001" y="1170533"/>
                  <a:pt x="1778001" y="1115942"/>
                </a:cubicBezTo>
                <a:cubicBezTo>
                  <a:pt x="1778001" y="1088646"/>
                  <a:pt x="1768826" y="1064383"/>
                  <a:pt x="1747418" y="1043153"/>
                </a:cubicBezTo>
                <a:cubicBezTo>
                  <a:pt x="1729069" y="1024956"/>
                  <a:pt x="1701544" y="1012825"/>
                  <a:pt x="1674020" y="1012825"/>
                </a:cubicBezTo>
                <a:close/>
                <a:moveTo>
                  <a:pt x="1673225" y="890588"/>
                </a:moveTo>
                <a:cubicBezTo>
                  <a:pt x="1673225" y="890588"/>
                  <a:pt x="1676272" y="890588"/>
                  <a:pt x="1676272" y="890588"/>
                </a:cubicBezTo>
                <a:cubicBezTo>
                  <a:pt x="1734151" y="890588"/>
                  <a:pt x="1788984" y="914865"/>
                  <a:pt x="1831632" y="957350"/>
                </a:cubicBezTo>
                <a:cubicBezTo>
                  <a:pt x="1874280" y="999834"/>
                  <a:pt x="1898650" y="1057492"/>
                  <a:pt x="1898650" y="1115149"/>
                </a:cubicBezTo>
                <a:cubicBezTo>
                  <a:pt x="1898650" y="1236534"/>
                  <a:pt x="1798123" y="1336676"/>
                  <a:pt x="1673225" y="1336676"/>
                </a:cubicBezTo>
                <a:cubicBezTo>
                  <a:pt x="1551374" y="1336676"/>
                  <a:pt x="1447800" y="1236534"/>
                  <a:pt x="1447800" y="1115149"/>
                </a:cubicBezTo>
                <a:cubicBezTo>
                  <a:pt x="1447800" y="1054457"/>
                  <a:pt x="1472171" y="999834"/>
                  <a:pt x="1514818" y="954315"/>
                </a:cubicBezTo>
                <a:cubicBezTo>
                  <a:pt x="1557466" y="914865"/>
                  <a:pt x="1615346" y="890588"/>
                  <a:pt x="1673225" y="890588"/>
                </a:cubicBezTo>
                <a:close/>
                <a:moveTo>
                  <a:pt x="122238" y="844550"/>
                </a:moveTo>
                <a:lnTo>
                  <a:pt x="122238" y="1398588"/>
                </a:lnTo>
                <a:lnTo>
                  <a:pt x="256628" y="1398588"/>
                </a:lnTo>
                <a:cubicBezTo>
                  <a:pt x="1583679" y="1398588"/>
                  <a:pt x="2011759" y="1398588"/>
                  <a:pt x="2149850" y="1398588"/>
                </a:cubicBezTo>
                <a:lnTo>
                  <a:pt x="2154238" y="1398588"/>
                </a:lnTo>
                <a:lnTo>
                  <a:pt x="2154238" y="1341995"/>
                </a:lnTo>
                <a:cubicBezTo>
                  <a:pt x="2154238" y="1128212"/>
                  <a:pt x="2154238" y="1128212"/>
                  <a:pt x="2154238" y="1128212"/>
                </a:cubicBezTo>
                <a:lnTo>
                  <a:pt x="2154238" y="844550"/>
                </a:lnTo>
                <a:lnTo>
                  <a:pt x="2019847" y="844550"/>
                </a:lnTo>
                <a:cubicBezTo>
                  <a:pt x="692797" y="844550"/>
                  <a:pt x="264716" y="844550"/>
                  <a:pt x="126626" y="844550"/>
                </a:cubicBezTo>
                <a:close/>
                <a:moveTo>
                  <a:pt x="395840" y="471488"/>
                </a:moveTo>
                <a:cubicBezTo>
                  <a:pt x="1342474" y="471488"/>
                  <a:pt x="1342474" y="471488"/>
                  <a:pt x="1342474" y="471488"/>
                </a:cubicBezTo>
                <a:cubicBezTo>
                  <a:pt x="1375957" y="471488"/>
                  <a:pt x="1403351" y="498634"/>
                  <a:pt x="1403351" y="531813"/>
                </a:cubicBezTo>
                <a:cubicBezTo>
                  <a:pt x="1403351" y="564992"/>
                  <a:pt x="1375957" y="592138"/>
                  <a:pt x="1342474" y="592138"/>
                </a:cubicBezTo>
                <a:cubicBezTo>
                  <a:pt x="395840" y="592138"/>
                  <a:pt x="395840" y="592138"/>
                  <a:pt x="395840" y="592138"/>
                </a:cubicBezTo>
                <a:cubicBezTo>
                  <a:pt x="362358" y="592138"/>
                  <a:pt x="334963" y="564992"/>
                  <a:pt x="334963" y="531813"/>
                </a:cubicBezTo>
                <a:cubicBezTo>
                  <a:pt x="334963" y="498634"/>
                  <a:pt x="362358" y="471488"/>
                  <a:pt x="395840" y="471488"/>
                </a:cubicBezTo>
                <a:close/>
                <a:moveTo>
                  <a:pt x="1677078" y="331788"/>
                </a:moveTo>
                <a:cubicBezTo>
                  <a:pt x="1618971" y="331788"/>
                  <a:pt x="1573097" y="377281"/>
                  <a:pt x="1570038" y="431872"/>
                </a:cubicBezTo>
                <a:cubicBezTo>
                  <a:pt x="1570038" y="459167"/>
                  <a:pt x="1582271" y="486463"/>
                  <a:pt x="1600621" y="504660"/>
                </a:cubicBezTo>
                <a:cubicBezTo>
                  <a:pt x="1618971" y="525890"/>
                  <a:pt x="1646495" y="534988"/>
                  <a:pt x="1674020" y="534988"/>
                </a:cubicBezTo>
                <a:cubicBezTo>
                  <a:pt x="1701544" y="534988"/>
                  <a:pt x="1729069" y="525890"/>
                  <a:pt x="1747418" y="504660"/>
                </a:cubicBezTo>
                <a:cubicBezTo>
                  <a:pt x="1768826" y="486463"/>
                  <a:pt x="1778001" y="462200"/>
                  <a:pt x="1778001" y="434905"/>
                </a:cubicBezTo>
                <a:cubicBezTo>
                  <a:pt x="1778001" y="380314"/>
                  <a:pt x="1732127" y="331788"/>
                  <a:pt x="1677078" y="331788"/>
                </a:cubicBezTo>
                <a:close/>
                <a:moveTo>
                  <a:pt x="1676272" y="209550"/>
                </a:moveTo>
                <a:cubicBezTo>
                  <a:pt x="1798123" y="212595"/>
                  <a:pt x="1898650" y="313094"/>
                  <a:pt x="1898650" y="434910"/>
                </a:cubicBezTo>
                <a:cubicBezTo>
                  <a:pt x="1898650" y="492773"/>
                  <a:pt x="1874280" y="550636"/>
                  <a:pt x="1831632" y="593272"/>
                </a:cubicBezTo>
                <a:cubicBezTo>
                  <a:pt x="1788984" y="632862"/>
                  <a:pt x="1734151" y="657225"/>
                  <a:pt x="1673225" y="657225"/>
                </a:cubicBezTo>
                <a:cubicBezTo>
                  <a:pt x="1673225" y="657225"/>
                  <a:pt x="1673225" y="657225"/>
                  <a:pt x="1670179" y="657225"/>
                </a:cubicBezTo>
                <a:cubicBezTo>
                  <a:pt x="1612300" y="657225"/>
                  <a:pt x="1554420" y="632862"/>
                  <a:pt x="1514818" y="590226"/>
                </a:cubicBezTo>
                <a:cubicBezTo>
                  <a:pt x="1472171" y="547590"/>
                  <a:pt x="1447800" y="492773"/>
                  <a:pt x="1447800" y="431865"/>
                </a:cubicBezTo>
                <a:cubicBezTo>
                  <a:pt x="1450847" y="307003"/>
                  <a:pt x="1548328" y="209550"/>
                  <a:pt x="1676272" y="209550"/>
                </a:cubicBezTo>
                <a:close/>
                <a:moveTo>
                  <a:pt x="128322" y="122238"/>
                </a:moveTo>
                <a:cubicBezTo>
                  <a:pt x="125280" y="128317"/>
                  <a:pt x="122238" y="137434"/>
                  <a:pt x="122238" y="155669"/>
                </a:cubicBezTo>
                <a:lnTo>
                  <a:pt x="122238" y="723900"/>
                </a:lnTo>
                <a:lnTo>
                  <a:pt x="256628" y="723900"/>
                </a:lnTo>
                <a:cubicBezTo>
                  <a:pt x="1583679" y="723900"/>
                  <a:pt x="2011759" y="723900"/>
                  <a:pt x="2149850" y="723900"/>
                </a:cubicBezTo>
                <a:lnTo>
                  <a:pt x="2154238" y="723900"/>
                </a:lnTo>
                <a:lnTo>
                  <a:pt x="2154238" y="152630"/>
                </a:lnTo>
                <a:cubicBezTo>
                  <a:pt x="2154238" y="134395"/>
                  <a:pt x="2151196" y="128317"/>
                  <a:pt x="2148154" y="122238"/>
                </a:cubicBezTo>
                <a:cubicBezTo>
                  <a:pt x="128322" y="122238"/>
                  <a:pt x="128322" y="122238"/>
                  <a:pt x="128322" y="122238"/>
                </a:cubicBezTo>
                <a:close/>
                <a:moveTo>
                  <a:pt x="106520" y="0"/>
                </a:moveTo>
                <a:cubicBezTo>
                  <a:pt x="2169956" y="0"/>
                  <a:pt x="2169956" y="0"/>
                  <a:pt x="2169956" y="0"/>
                </a:cubicBezTo>
                <a:cubicBezTo>
                  <a:pt x="2179086" y="0"/>
                  <a:pt x="2188216" y="3039"/>
                  <a:pt x="2197346" y="6078"/>
                </a:cubicBezTo>
                <a:cubicBezTo>
                  <a:pt x="2276475" y="48624"/>
                  <a:pt x="2276475" y="127637"/>
                  <a:pt x="2276475" y="151949"/>
                </a:cubicBezTo>
                <a:lnTo>
                  <a:pt x="2276475" y="784225"/>
                </a:lnTo>
                <a:lnTo>
                  <a:pt x="2276475" y="1127458"/>
                </a:lnTo>
                <a:cubicBezTo>
                  <a:pt x="2276475" y="1446550"/>
                  <a:pt x="2276475" y="1446550"/>
                  <a:pt x="2276475" y="1446550"/>
                </a:cubicBezTo>
                <a:lnTo>
                  <a:pt x="2276475" y="1458913"/>
                </a:lnTo>
                <a:lnTo>
                  <a:pt x="2276475" y="1573943"/>
                </a:lnTo>
                <a:cubicBezTo>
                  <a:pt x="2276475" y="1832499"/>
                  <a:pt x="2276475" y="1832499"/>
                  <a:pt x="2276475" y="1832499"/>
                </a:cubicBezTo>
                <a:lnTo>
                  <a:pt x="2276475" y="2133600"/>
                </a:lnTo>
                <a:lnTo>
                  <a:pt x="2276475" y="2808288"/>
                </a:lnTo>
                <a:lnTo>
                  <a:pt x="2276475" y="3184841"/>
                </a:lnTo>
                <a:cubicBezTo>
                  <a:pt x="2276475" y="3251698"/>
                  <a:pt x="2249084" y="3300321"/>
                  <a:pt x="2197346" y="3327672"/>
                </a:cubicBezTo>
                <a:cubicBezTo>
                  <a:pt x="2188216" y="3330711"/>
                  <a:pt x="2179086" y="3333750"/>
                  <a:pt x="2169956" y="3333750"/>
                </a:cubicBezTo>
                <a:cubicBezTo>
                  <a:pt x="106520" y="3333750"/>
                  <a:pt x="106520" y="3333750"/>
                  <a:pt x="106520" y="3333750"/>
                </a:cubicBezTo>
                <a:cubicBezTo>
                  <a:pt x="97390" y="3333750"/>
                  <a:pt x="88259" y="3330711"/>
                  <a:pt x="79129" y="3327672"/>
                </a:cubicBezTo>
                <a:cubicBezTo>
                  <a:pt x="27391" y="3300321"/>
                  <a:pt x="0" y="3251698"/>
                  <a:pt x="0" y="3184841"/>
                </a:cubicBezTo>
                <a:lnTo>
                  <a:pt x="0" y="2808288"/>
                </a:lnTo>
                <a:lnTo>
                  <a:pt x="0" y="2574008"/>
                </a:lnTo>
                <a:cubicBezTo>
                  <a:pt x="0" y="2373436"/>
                  <a:pt x="0" y="2373436"/>
                  <a:pt x="0" y="2373436"/>
                </a:cubicBezTo>
                <a:cubicBezTo>
                  <a:pt x="0" y="2272390"/>
                  <a:pt x="0" y="2196606"/>
                  <a:pt x="0" y="2139768"/>
                </a:cubicBezTo>
                <a:lnTo>
                  <a:pt x="0" y="2133600"/>
                </a:lnTo>
                <a:lnTo>
                  <a:pt x="0" y="2067930"/>
                </a:lnTo>
                <a:cubicBezTo>
                  <a:pt x="0" y="1969253"/>
                  <a:pt x="0" y="1969253"/>
                  <a:pt x="0" y="1969253"/>
                </a:cubicBezTo>
                <a:lnTo>
                  <a:pt x="0" y="1458913"/>
                </a:lnTo>
                <a:lnTo>
                  <a:pt x="0" y="784225"/>
                </a:lnTo>
                <a:lnTo>
                  <a:pt x="0" y="154988"/>
                </a:lnTo>
                <a:cubicBezTo>
                  <a:pt x="0" y="127637"/>
                  <a:pt x="0" y="48624"/>
                  <a:pt x="79129" y="6078"/>
                </a:cubicBezTo>
                <a:cubicBezTo>
                  <a:pt x="88259" y="3039"/>
                  <a:pt x="97390" y="0"/>
                  <a:pt x="106520" y="0"/>
                </a:cubicBez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 name="Title 3"/>
          <p:cNvSpPr>
            <a:spLocks noGrp="1"/>
          </p:cNvSpPr>
          <p:nvPr>
            <p:ph type="title"/>
          </p:nvPr>
        </p:nvSpPr>
        <p:spPr>
          <a:ln w="19050">
            <a:noFill/>
          </a:ln>
        </p:spPr>
        <p:txBody>
          <a:bodyPr/>
          <a:lstStyle/>
          <a:p>
            <a:r>
              <a:rPr lang="en-US"/>
              <a:t>Licensing</a:t>
            </a:r>
            <a:r>
              <a:rPr lang="en-US">
                <a:solidFill>
                  <a:schemeClr val="tx1"/>
                </a:solidFill>
              </a:rPr>
              <a:t> </a:t>
            </a:r>
            <a:r>
              <a:rPr lang="en-US"/>
              <a:t>Scenario</a:t>
            </a:r>
          </a:p>
        </p:txBody>
      </p:sp>
      <p:cxnSp>
        <p:nvCxnSpPr>
          <p:cNvPr id="195" name="Connector: Elbow 194"/>
          <p:cNvCxnSpPr>
            <a:cxnSpLocks/>
            <a:stCxn id="230" idx="2"/>
            <a:endCxn id="232" idx="1"/>
          </p:cNvCxnSpPr>
          <p:nvPr/>
        </p:nvCxnSpPr>
        <p:spPr>
          <a:xfrm rot="16200000" flipH="1">
            <a:off x="4396287" y="2945614"/>
            <a:ext cx="820134" cy="943324"/>
          </a:xfrm>
          <a:prstGeom prst="bentConnector2">
            <a:avLst/>
          </a:prstGeom>
          <a:ln w="28575">
            <a:solidFill>
              <a:schemeClr val="accent3"/>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28" name="Connector: Elbow 227"/>
          <p:cNvCxnSpPr>
            <a:cxnSpLocks/>
            <a:stCxn id="231" idx="2"/>
            <a:endCxn id="232" idx="3"/>
          </p:cNvCxnSpPr>
          <p:nvPr/>
        </p:nvCxnSpPr>
        <p:spPr>
          <a:xfrm rot="5400000">
            <a:off x="6682762" y="2661012"/>
            <a:ext cx="1397554" cy="935109"/>
          </a:xfrm>
          <a:prstGeom prst="bentConnector2">
            <a:avLst/>
          </a:prstGeom>
          <a:ln w="28575">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flipH="1">
            <a:off x="5363195" y="4365202"/>
            <a:ext cx="1441099" cy="11217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6" name="Group 15"/>
          <p:cNvGrpSpPr/>
          <p:nvPr/>
        </p:nvGrpSpPr>
        <p:grpSpPr>
          <a:xfrm flipH="1">
            <a:off x="9707638" y="1550777"/>
            <a:ext cx="739450" cy="739449"/>
            <a:chOff x="637392" y="2451168"/>
            <a:chExt cx="623370" cy="623368"/>
          </a:xfrm>
        </p:grpSpPr>
        <p:sp>
          <p:nvSpPr>
            <p:cNvPr id="3" name="Oval 2"/>
            <p:cNvSpPr/>
            <p:nvPr/>
          </p:nvSpPr>
          <p:spPr bwMode="auto">
            <a:xfrm>
              <a:off x="637392" y="2451168"/>
              <a:ext cx="623370" cy="623368"/>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460" name="Graphic 459" descr="Users"/>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6582" y="2516225"/>
              <a:ext cx="484990" cy="493252"/>
            </a:xfrm>
            <a:prstGeom prst="rect">
              <a:avLst/>
            </a:prstGeom>
          </p:spPr>
        </p:pic>
      </p:grpSp>
      <p:sp>
        <p:nvSpPr>
          <p:cNvPr id="330" name="Rectangle 329"/>
          <p:cNvSpPr/>
          <p:nvPr/>
        </p:nvSpPr>
        <p:spPr bwMode="auto">
          <a:xfrm flipH="1">
            <a:off x="8508620" y="2415267"/>
            <a:ext cx="3137487" cy="1934391"/>
          </a:xfrm>
          <a:prstGeom prst="rect">
            <a:avLst/>
          </a:prstGeom>
        </p:spPr>
        <p:txBody>
          <a:bodyPr wrap="square" lIns="0" tIns="0" rIns="0" bIns="0" anchor="t">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R</a:t>
            </a:r>
            <a:endParaRPr kumimoji="0" lang="en-US" sz="1372" b="0" i="0" u="none" strike="noStrike" kern="1200" cap="none" spc="0" normalizeH="0" baseline="0" noProof="0">
              <a:ln>
                <a:noFill/>
              </a:ln>
              <a:solidFill>
                <a:prstClr val="black"/>
              </a:solidFill>
              <a:effectLst/>
              <a:uLnTx/>
              <a:uFillTx/>
              <a:latin typeface="Segoe UI Semilight"/>
              <a:ea typeface="+mn-ea"/>
              <a:cs typeface="Segoe UI" panose="020B0502040204020203" pitchFamily="34" charset="0"/>
            </a:endParaRPr>
          </a:p>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Extend read access to BI content throughout the organization</a:t>
            </a:r>
          </a:p>
        </p:txBody>
      </p:sp>
      <p:sp>
        <p:nvSpPr>
          <p:cNvPr id="332" name="Rectangle 331"/>
          <p:cNvSpPr/>
          <p:nvPr/>
        </p:nvSpPr>
        <p:spPr bwMode="auto">
          <a:xfrm flipH="1">
            <a:off x="418992" y="2415267"/>
            <a:ext cx="3137487" cy="1934391"/>
          </a:xfrm>
          <a:prstGeom prst="rect">
            <a:avLst/>
          </a:prstGeom>
        </p:spPr>
        <p:txBody>
          <a:bodyPr wrap="square" lIns="0" tIns="0" rIns="0" bIns="0" anchor="t">
            <a:noAutofit/>
          </a:bodyPr>
          <a:lstStyle/>
          <a:p>
            <a:pPr marL="0" marR="0" lvl="0" indent="0" algn="ctr" defTabSz="932293"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inance</a:t>
            </a:r>
          </a:p>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nalyze several large datasets requiring unthrottled and isolated capacity</a:t>
            </a:r>
          </a:p>
        </p:txBody>
      </p:sp>
      <p:sp>
        <p:nvSpPr>
          <p:cNvPr id="192" name="Rectangle 191"/>
          <p:cNvSpPr/>
          <p:nvPr/>
        </p:nvSpPr>
        <p:spPr bwMode="auto">
          <a:xfrm flipH="1">
            <a:off x="6529458" y="1659734"/>
            <a:ext cx="2771839" cy="35857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500 Pro (standalone)</a:t>
            </a:r>
          </a:p>
        </p:txBody>
      </p:sp>
      <p:sp>
        <p:nvSpPr>
          <p:cNvPr id="193" name="Rectangle 192"/>
          <p:cNvSpPr/>
          <p:nvPr/>
        </p:nvSpPr>
        <p:spPr bwMode="auto">
          <a:xfrm flipH="1">
            <a:off x="3380195" y="1659734"/>
            <a:ext cx="1912265" cy="35857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a:ln>
                  <a:noFill/>
                </a:ln>
                <a:solidFill>
                  <a:srgbClr val="353535"/>
                </a:solidFill>
                <a:effectLst/>
                <a:uLnTx/>
                <a:uFillTx/>
                <a:latin typeface="Segoe UI" panose="020B0502040204020203" pitchFamily="34" charset="0"/>
                <a:ea typeface="Times New Roman" panose="02020603050405020304" pitchFamily="18" charset="0"/>
                <a:cs typeface="Segoe UI" panose="020B0502040204020203" pitchFamily="34" charset="0"/>
              </a:rPr>
              <a:t>5,000 Pro (via E5)</a:t>
            </a:r>
          </a:p>
        </p:txBody>
      </p:sp>
      <p:cxnSp>
        <p:nvCxnSpPr>
          <p:cNvPr id="233" name="Connector: Elbow 25"/>
          <p:cNvCxnSpPr>
            <a:cxnSpLocks/>
          </p:cNvCxnSpPr>
          <p:nvPr/>
        </p:nvCxnSpPr>
        <p:spPr>
          <a:xfrm flipH="1">
            <a:off x="7978299" y="2429788"/>
            <a:ext cx="0" cy="2061777"/>
          </a:xfrm>
          <a:prstGeom prst="straightConnector1">
            <a:avLst/>
          </a:prstGeom>
          <a:ln w="28575">
            <a:solidFill>
              <a:schemeClr val="accent1"/>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flipH="1">
            <a:off x="8453311" y="4235050"/>
            <a:ext cx="2586964" cy="633625"/>
          </a:xfrm>
          <a:prstGeom prst="rect">
            <a:avLst/>
          </a:prstGeom>
        </p:spPr>
        <p:txBody>
          <a:bodyPr wrap="square" lIns="0" tIns="0" rIns="0" bIns="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Power BI Report Server extends hybrid capabilities, including </a:t>
            </a:r>
            <a:b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372"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on-premises report publishing</a:t>
            </a:r>
          </a:p>
        </p:txBody>
      </p:sp>
      <p:grpSp>
        <p:nvGrpSpPr>
          <p:cNvPr id="156" name="Group 155"/>
          <p:cNvGrpSpPr/>
          <p:nvPr/>
        </p:nvGrpSpPr>
        <p:grpSpPr>
          <a:xfrm>
            <a:off x="5488860" y="4654604"/>
            <a:ext cx="1214281" cy="774033"/>
            <a:chOff x="4219279" y="3312422"/>
            <a:chExt cx="711663" cy="453644"/>
          </a:xfrm>
        </p:grpSpPr>
        <p:grpSp>
          <p:nvGrpSpPr>
            <p:cNvPr id="157" name="Group 156"/>
            <p:cNvGrpSpPr/>
            <p:nvPr/>
          </p:nvGrpSpPr>
          <p:grpSpPr>
            <a:xfrm>
              <a:off x="4219279" y="3312422"/>
              <a:ext cx="202334" cy="202009"/>
              <a:chOff x="2144062" y="4945870"/>
              <a:chExt cx="466744" cy="466744"/>
            </a:xfrm>
          </p:grpSpPr>
          <p:sp>
            <p:nvSpPr>
              <p:cNvPr id="183" name="Oval 182"/>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84"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5" name="Rectangle 184"/>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94" name="Graphic 193"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58" name="Group 157"/>
            <p:cNvGrpSpPr/>
            <p:nvPr/>
          </p:nvGrpSpPr>
          <p:grpSpPr>
            <a:xfrm>
              <a:off x="4728608" y="3312422"/>
              <a:ext cx="202334" cy="202009"/>
              <a:chOff x="2144062" y="4945870"/>
              <a:chExt cx="466744" cy="466744"/>
            </a:xfrm>
          </p:grpSpPr>
          <p:sp>
            <p:nvSpPr>
              <p:cNvPr id="179" name="Oval 178"/>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80"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Rectangle 180"/>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82" name="Graphic 181"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59" name="Group 158"/>
            <p:cNvGrpSpPr/>
            <p:nvPr/>
          </p:nvGrpSpPr>
          <p:grpSpPr>
            <a:xfrm>
              <a:off x="4473944" y="3314898"/>
              <a:ext cx="202334" cy="202009"/>
              <a:chOff x="2144062" y="4945870"/>
              <a:chExt cx="466744" cy="466744"/>
            </a:xfrm>
          </p:grpSpPr>
          <p:sp>
            <p:nvSpPr>
              <p:cNvPr id="175" name="Oval 174"/>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6"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Rectangle 176"/>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8" name="Graphic 177"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0" name="Group 159"/>
            <p:cNvGrpSpPr/>
            <p:nvPr/>
          </p:nvGrpSpPr>
          <p:grpSpPr>
            <a:xfrm>
              <a:off x="4219279" y="3561580"/>
              <a:ext cx="202334" cy="202009"/>
              <a:chOff x="2144062" y="4945870"/>
              <a:chExt cx="466744" cy="466744"/>
            </a:xfrm>
          </p:grpSpPr>
          <p:sp>
            <p:nvSpPr>
              <p:cNvPr id="171" name="Oval 170"/>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2"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3" name="Rectangle 172"/>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4" name="Graphic 173"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1" name="Group 160"/>
            <p:cNvGrpSpPr/>
            <p:nvPr/>
          </p:nvGrpSpPr>
          <p:grpSpPr>
            <a:xfrm>
              <a:off x="4728608" y="3561580"/>
              <a:ext cx="202334" cy="202009"/>
              <a:chOff x="2144062" y="4945870"/>
              <a:chExt cx="466744" cy="466744"/>
            </a:xfrm>
          </p:grpSpPr>
          <p:sp>
            <p:nvSpPr>
              <p:cNvPr id="167" name="Oval 166"/>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8"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9" name="Rectangle 168"/>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0" name="Graphic 169"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nvGrpSpPr>
            <p:cNvPr id="162" name="Group 161"/>
            <p:cNvGrpSpPr/>
            <p:nvPr/>
          </p:nvGrpSpPr>
          <p:grpSpPr>
            <a:xfrm>
              <a:off x="4473944" y="3564057"/>
              <a:ext cx="202334" cy="202009"/>
              <a:chOff x="2144062" y="4945870"/>
              <a:chExt cx="466744" cy="466744"/>
            </a:xfrm>
          </p:grpSpPr>
          <p:sp>
            <p:nvSpPr>
              <p:cNvPr id="163" name="Oval 162"/>
              <p:cNvSpPr/>
              <p:nvPr/>
            </p:nvSpPr>
            <p:spPr bwMode="auto">
              <a:xfrm>
                <a:off x="2144062" y="4945870"/>
                <a:ext cx="466744" cy="466744"/>
              </a:xfrm>
              <a:prstGeom prst="ellipse">
                <a:avLst/>
              </a:prstGeom>
              <a:solidFill>
                <a:schemeClr val="bg1"/>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4" name="Freeform 523"/>
              <p:cNvSpPr>
                <a:spLocks noEditPoints="1"/>
              </p:cNvSpPr>
              <p:nvPr/>
            </p:nvSpPr>
            <p:spPr bwMode="auto">
              <a:xfrm>
                <a:off x="2229754" y="5021912"/>
                <a:ext cx="198616" cy="226308"/>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3"/>
              </a:solid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64"/>
              <p:cNvSpPr/>
              <p:nvPr/>
            </p:nvSpPr>
            <p:spPr bwMode="auto">
              <a:xfrm>
                <a:off x="2377434" y="5195093"/>
                <a:ext cx="122169" cy="87145"/>
              </a:xfrm>
              <a:prstGeom prst="rect">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66" name="Graphic 165" descr="Open Book"/>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335566" y="5154728"/>
                <a:ext cx="199718" cy="199718"/>
              </a:xfrm>
              <a:prstGeom prst="rect">
                <a:avLst/>
              </a:prstGeom>
            </p:spPr>
          </p:pic>
        </p:grpSp>
      </p:grpSp>
      <p:grpSp>
        <p:nvGrpSpPr>
          <p:cNvPr id="226" name="Group 225"/>
          <p:cNvGrpSpPr/>
          <p:nvPr/>
        </p:nvGrpSpPr>
        <p:grpSpPr>
          <a:xfrm>
            <a:off x="5278016" y="3009360"/>
            <a:ext cx="1635969" cy="1635967"/>
            <a:chOff x="815360" y="2868186"/>
            <a:chExt cx="1714670" cy="1714669"/>
          </a:xfrm>
        </p:grpSpPr>
        <p:pic>
          <p:nvPicPr>
            <p:cNvPr id="232" name="Picture 5" descr="Cloud"/>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15360" y="2868186"/>
              <a:ext cx="1714670" cy="1714669"/>
            </a:xfrm>
            <a:prstGeom prst="rect">
              <a:avLst/>
            </a:prstGeom>
          </p:spPr>
        </p:pic>
        <p:sp>
          <p:nvSpPr>
            <p:cNvPr id="243" name="Rectangle 242"/>
            <p:cNvSpPr/>
            <p:nvPr/>
          </p:nvSpPr>
          <p:spPr bwMode="auto">
            <a:xfrm>
              <a:off x="1037840" y="3653759"/>
              <a:ext cx="1269708" cy="434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80000"/>
                </a:lnSpc>
                <a:spcBef>
                  <a:spcPct val="0"/>
                </a:spcBef>
                <a:spcAft>
                  <a:spcPct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remium nodes</a:t>
              </a:r>
            </a:p>
          </p:txBody>
        </p:sp>
      </p:grpSp>
      <p:cxnSp>
        <p:nvCxnSpPr>
          <p:cNvPr id="244" name="Straight Arrow Connector 243"/>
          <p:cNvCxnSpPr>
            <a:cxnSpLocks/>
          </p:cNvCxnSpPr>
          <p:nvPr/>
        </p:nvCxnSpPr>
        <p:spPr>
          <a:xfrm>
            <a:off x="6096000" y="4173741"/>
            <a:ext cx="0" cy="403391"/>
          </a:xfrm>
          <a:prstGeom prst="straightConnector1">
            <a:avLst/>
          </a:prstGeom>
          <a:ln w="28575">
            <a:solidFill>
              <a:schemeClr val="accent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2628365" y="5662304"/>
            <a:ext cx="6935272" cy="627497"/>
            <a:chOff x="2681067" y="5573394"/>
            <a:chExt cx="7074339" cy="640080"/>
          </a:xfrm>
        </p:grpSpPr>
        <p:sp>
          <p:nvSpPr>
            <p:cNvPr id="247" name="Rectangle 246"/>
            <p:cNvSpPr/>
            <p:nvPr/>
          </p:nvSpPr>
          <p:spPr>
            <a:xfrm>
              <a:off x="4192763" y="5573394"/>
              <a:ext cx="4050948" cy="640080"/>
            </a:xfrm>
            <a:prstGeom prst="rect">
              <a:avLst/>
            </a:prstGeom>
          </p:spPr>
          <p:txBody>
            <a:bodyPr wrap="square" lIns="0" tIns="0" rIns="0" bIns="0" anchor="ctr">
              <a:noAutofit/>
            </a:bodyPr>
            <a:lstStyle/>
            <a:p>
              <a:pPr marL="0" marR="0" lvl="0" indent="0" algn="ctr" defTabSz="932293" rtl="0" eaLnBrk="1" fontAlgn="base" latinLnBrk="0" hangingPunct="1">
                <a:lnSpc>
                  <a:spcPct val="100000"/>
                </a:lnSpc>
                <a:spcBef>
                  <a:spcPct val="0"/>
                </a:spcBef>
                <a:spcAft>
                  <a:spcPts val="588"/>
                </a:spcAft>
                <a:buClrTx/>
                <a:buSzTx/>
                <a:buFontTx/>
                <a:buNone/>
                <a:tabLst/>
                <a:defRPr/>
              </a:pPr>
              <a: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est of company </a:t>
              </a:r>
              <a:br>
                <a:rPr kumimoji="0" lang="en-US" sz="2353"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g. Customer Service, Engineering, Manufacturing, Sale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nsume BI content</a:t>
              </a:r>
            </a:p>
          </p:txBody>
        </p:sp>
        <p:grpSp>
          <p:nvGrpSpPr>
            <p:cNvPr id="249" name="Group 248"/>
            <p:cNvGrpSpPr/>
            <p:nvPr/>
          </p:nvGrpSpPr>
          <p:grpSpPr>
            <a:xfrm>
              <a:off x="2681067" y="5610085"/>
              <a:ext cx="1300466" cy="566698"/>
              <a:chOff x="4960057" y="6059937"/>
              <a:chExt cx="1182242" cy="515180"/>
            </a:xfrm>
          </p:grpSpPr>
          <p:grpSp>
            <p:nvGrpSpPr>
              <p:cNvPr id="304" name="Group 303"/>
              <p:cNvGrpSpPr/>
              <p:nvPr/>
            </p:nvGrpSpPr>
            <p:grpSpPr>
              <a:xfrm>
                <a:off x="4960057" y="6059937"/>
                <a:ext cx="515182" cy="515180"/>
                <a:chOff x="3665312" y="5255403"/>
                <a:chExt cx="754278" cy="754276"/>
              </a:xfrm>
            </p:grpSpPr>
            <p:sp>
              <p:nvSpPr>
                <p:cNvPr id="307" name="Oval 306"/>
                <p:cNvSpPr/>
                <p:nvPr/>
              </p:nvSpPr>
              <p:spPr bwMode="auto">
                <a:xfrm>
                  <a:off x="3665312" y="5255403"/>
                  <a:ext cx="754278" cy="754276"/>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08" name="Graphic 307" descr="Handshake"/>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66167" y="5349001"/>
                  <a:ext cx="552569" cy="619205"/>
                </a:xfrm>
                <a:prstGeom prst="rect">
                  <a:avLst/>
                </a:prstGeom>
              </p:spPr>
            </p:pic>
          </p:grpSp>
          <p:sp>
            <p:nvSpPr>
              <p:cNvPr id="305" name="Oval 304"/>
              <p:cNvSpPr/>
              <p:nvPr/>
            </p:nvSpPr>
            <p:spPr bwMode="auto">
              <a:xfrm>
                <a:off x="5627117"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06" name="Graphic 305" descr="Wrench"/>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38503" y="6162247"/>
                <a:ext cx="288470" cy="288471"/>
              </a:xfrm>
              <a:prstGeom prst="rect">
                <a:avLst/>
              </a:prstGeom>
            </p:spPr>
          </p:pic>
        </p:grpSp>
        <p:grpSp>
          <p:nvGrpSpPr>
            <p:cNvPr id="250" name="Group 249"/>
            <p:cNvGrpSpPr/>
            <p:nvPr/>
          </p:nvGrpSpPr>
          <p:grpSpPr>
            <a:xfrm>
              <a:off x="8454941" y="5610085"/>
              <a:ext cx="1300465" cy="566698"/>
              <a:chOff x="6294177" y="6059937"/>
              <a:chExt cx="1182241" cy="515180"/>
            </a:xfrm>
          </p:grpSpPr>
          <p:sp>
            <p:nvSpPr>
              <p:cNvPr id="251" name="Oval 250"/>
              <p:cNvSpPr/>
              <p:nvPr/>
            </p:nvSpPr>
            <p:spPr bwMode="auto">
              <a:xfrm>
                <a:off x="6294177"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3" name="Oval 252"/>
              <p:cNvSpPr/>
              <p:nvPr/>
            </p:nvSpPr>
            <p:spPr bwMode="auto">
              <a:xfrm>
                <a:off x="6961236" y="6059937"/>
                <a:ext cx="515182" cy="515180"/>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254" name="Graphic 253" descr="Call cente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038478" y="6126230"/>
                <a:ext cx="360697" cy="341535"/>
              </a:xfrm>
              <a:prstGeom prst="rect">
                <a:avLst/>
              </a:prstGeom>
            </p:spPr>
          </p:pic>
          <p:grpSp>
            <p:nvGrpSpPr>
              <p:cNvPr id="255" name="Group 254"/>
              <p:cNvGrpSpPr>
                <a:grpSpLocks noChangeAspect="1"/>
              </p:cNvGrpSpPr>
              <p:nvPr/>
            </p:nvGrpSpPr>
            <p:grpSpPr>
              <a:xfrm>
                <a:off x="6407339" y="6177701"/>
                <a:ext cx="285420" cy="238592"/>
                <a:chOff x="4225429" y="1222164"/>
                <a:chExt cx="1460921" cy="1221232"/>
              </a:xfrm>
              <a:solidFill>
                <a:schemeClr val="tx2"/>
              </a:solidFill>
            </p:grpSpPr>
            <p:sp>
              <p:nvSpPr>
                <p:cNvPr id="256" name="Rounded Rectangle 340"/>
                <p:cNvSpPr/>
                <p:nvPr/>
              </p:nvSpPr>
              <p:spPr bwMode="auto">
                <a:xfrm flipH="1">
                  <a:off x="4320679" y="2160270"/>
                  <a:ext cx="845820" cy="266700"/>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Rectangle 256"/>
                <p:cNvSpPr/>
                <p:nvPr/>
              </p:nvSpPr>
              <p:spPr bwMode="auto">
                <a:xfrm rot="19233811" flipH="1">
                  <a:off x="4650722" y="2027619"/>
                  <a:ext cx="180975" cy="229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0" name="Rounded Rectangle 344"/>
                <p:cNvSpPr/>
                <p:nvPr/>
              </p:nvSpPr>
              <p:spPr bwMode="auto">
                <a:xfrm flipH="1">
                  <a:off x="4225429" y="2293620"/>
                  <a:ext cx="1036320" cy="149776"/>
                </a:xfrm>
                <a:prstGeom prst="round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1" name="Group 260"/>
                <p:cNvGrpSpPr/>
                <p:nvPr/>
              </p:nvGrpSpPr>
              <p:grpSpPr>
                <a:xfrm>
                  <a:off x="4394973" y="1762558"/>
                  <a:ext cx="352210" cy="352210"/>
                  <a:chOff x="4394973" y="1762558"/>
                  <a:chExt cx="352210" cy="352210"/>
                </a:xfrm>
                <a:grpFill/>
              </p:grpSpPr>
              <p:grpSp>
                <p:nvGrpSpPr>
                  <p:cNvPr id="298" name="Group 297"/>
                  <p:cNvGrpSpPr/>
                  <p:nvPr/>
                </p:nvGrpSpPr>
                <p:grpSpPr>
                  <a:xfrm flipH="1">
                    <a:off x="4394973" y="1762558"/>
                    <a:ext cx="352210" cy="352210"/>
                    <a:chOff x="5411363" y="1755522"/>
                    <a:chExt cx="316187" cy="316187"/>
                  </a:xfrm>
                  <a:grpFill/>
                </p:grpSpPr>
                <p:sp>
                  <p:nvSpPr>
                    <p:cNvPr id="301" name="Oval 300"/>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Oval 301"/>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Oval 302"/>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99" name="Rectangle 298"/>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0" name="Rectangle 299"/>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2" name="Group 261"/>
                <p:cNvGrpSpPr/>
                <p:nvPr/>
              </p:nvGrpSpPr>
              <p:grpSpPr>
                <a:xfrm>
                  <a:off x="4758229" y="1222164"/>
                  <a:ext cx="256032" cy="256032"/>
                  <a:chOff x="4394973" y="1762558"/>
                  <a:chExt cx="352210" cy="352210"/>
                </a:xfrm>
                <a:grpFill/>
              </p:grpSpPr>
              <p:grpSp>
                <p:nvGrpSpPr>
                  <p:cNvPr id="292" name="Group 291"/>
                  <p:cNvGrpSpPr/>
                  <p:nvPr/>
                </p:nvGrpSpPr>
                <p:grpSpPr>
                  <a:xfrm flipH="1">
                    <a:off x="4394973" y="1762558"/>
                    <a:ext cx="352210" cy="352210"/>
                    <a:chOff x="5411363" y="1755522"/>
                    <a:chExt cx="316187" cy="316187"/>
                  </a:xfrm>
                  <a:grpFill/>
                </p:grpSpPr>
                <p:sp>
                  <p:nvSpPr>
                    <p:cNvPr id="295" name="Oval 294"/>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Oval 295"/>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Oval 296"/>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93" name="Rectangle 292"/>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4" name="Rectangle 293"/>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3" name="Group 262"/>
                <p:cNvGrpSpPr/>
                <p:nvPr/>
              </p:nvGrpSpPr>
              <p:grpSpPr>
                <a:xfrm>
                  <a:off x="5372627" y="1436547"/>
                  <a:ext cx="192024" cy="192024"/>
                  <a:chOff x="4394973" y="1762558"/>
                  <a:chExt cx="352210" cy="352210"/>
                </a:xfrm>
                <a:grpFill/>
              </p:grpSpPr>
              <p:grpSp>
                <p:nvGrpSpPr>
                  <p:cNvPr id="273" name="Group 272"/>
                  <p:cNvGrpSpPr/>
                  <p:nvPr/>
                </p:nvGrpSpPr>
                <p:grpSpPr>
                  <a:xfrm flipH="1">
                    <a:off x="4394973" y="1762558"/>
                    <a:ext cx="352210" cy="352210"/>
                    <a:chOff x="5411363" y="1755522"/>
                    <a:chExt cx="316187" cy="316187"/>
                  </a:xfrm>
                  <a:grpFill/>
                </p:grpSpPr>
                <p:sp>
                  <p:nvSpPr>
                    <p:cNvPr id="289" name="Oval 288"/>
                    <p:cNvSpPr/>
                    <p:nvPr/>
                  </p:nvSpPr>
                  <p:spPr bwMode="auto">
                    <a:xfrm>
                      <a:off x="5411363" y="1755522"/>
                      <a:ext cx="316187" cy="316187"/>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0" name="Oval 28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1" name="Oval 29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4" name="Rectangle 273"/>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8" name="Rectangle 287"/>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4" name="Group 263"/>
                <p:cNvGrpSpPr/>
                <p:nvPr/>
              </p:nvGrpSpPr>
              <p:grpSpPr>
                <a:xfrm rot="20781386">
                  <a:off x="5409545" y="1586080"/>
                  <a:ext cx="276805" cy="467545"/>
                  <a:chOff x="6199773" y="1569838"/>
                  <a:chExt cx="276804" cy="467545"/>
                </a:xfrm>
                <a:grpFill/>
              </p:grpSpPr>
              <p:sp>
                <p:nvSpPr>
                  <p:cNvPr id="265" name="Rectangle 264"/>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Oval 265"/>
                  <p:cNvSpPr/>
                  <p:nvPr/>
                </p:nvSpPr>
                <p:spPr bwMode="auto">
                  <a:xfrm rot="10737439" flipH="1">
                    <a:off x="6282702" y="1724048"/>
                    <a:ext cx="110946" cy="110946"/>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7" name="Group 266"/>
                  <p:cNvGrpSpPr/>
                  <p:nvPr/>
                </p:nvGrpSpPr>
                <p:grpSpPr>
                  <a:xfrm>
                    <a:off x="6199773" y="1764545"/>
                    <a:ext cx="99173" cy="272838"/>
                    <a:chOff x="5426382" y="1788525"/>
                    <a:chExt cx="99173" cy="272838"/>
                  </a:xfrm>
                  <a:grpFill/>
                </p:grpSpPr>
                <p:sp>
                  <p:nvSpPr>
                    <p:cNvPr id="271" name="Rectangle 270"/>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2" name="Diagonal Stripe 271"/>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68" name="Group 267"/>
                  <p:cNvGrpSpPr/>
                  <p:nvPr/>
                </p:nvGrpSpPr>
                <p:grpSpPr>
                  <a:xfrm flipH="1">
                    <a:off x="6377404" y="1764545"/>
                    <a:ext cx="99173" cy="272838"/>
                    <a:chOff x="5426382" y="1788525"/>
                    <a:chExt cx="99173" cy="272838"/>
                  </a:xfrm>
                  <a:grpFill/>
                </p:grpSpPr>
                <p:sp>
                  <p:nvSpPr>
                    <p:cNvPr id="269" name="Rectangle 268"/>
                    <p:cNvSpPr/>
                    <p:nvPr/>
                  </p:nvSpPr>
                  <p:spPr bwMode="auto">
                    <a:xfrm rot="13260000" flipH="1">
                      <a:off x="5464045" y="178852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Diagonal Stripe 269"/>
                    <p:cNvSpPr/>
                    <p:nvPr/>
                  </p:nvSpPr>
                  <p:spPr bwMode="auto">
                    <a:xfrm rot="19432650">
                      <a:off x="5426382" y="1878483"/>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grpSp>
      <p:cxnSp>
        <p:nvCxnSpPr>
          <p:cNvPr id="353" name="Connector: Elbow 25"/>
          <p:cNvCxnSpPr>
            <a:cxnSpLocks/>
          </p:cNvCxnSpPr>
          <p:nvPr/>
        </p:nvCxnSpPr>
        <p:spPr>
          <a:xfrm flipH="1">
            <a:off x="6913985" y="5111712"/>
            <a:ext cx="743021" cy="0"/>
          </a:xfrm>
          <a:prstGeom prst="straightConnector1">
            <a:avLst/>
          </a:prstGeom>
          <a:ln w="28575">
            <a:solidFill>
              <a:schemeClr val="accent1"/>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81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0"/>
                                        </p:tgtEl>
                                        <p:attrNameLst>
                                          <p:attrName>style.visibility</p:attrName>
                                        </p:attrNameLst>
                                      </p:cBhvr>
                                      <p:to>
                                        <p:strVal val="visible"/>
                                      </p:to>
                                    </p:set>
                                    <p:animEffect transition="in" filter="fade">
                                      <p:cBhvr>
                                        <p:cTn id="7" dur="500"/>
                                        <p:tgtEl>
                                          <p:spTgt spid="3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2"/>
                                        </p:tgtEl>
                                        <p:attrNameLst>
                                          <p:attrName>style.visibility</p:attrName>
                                        </p:attrNameLst>
                                      </p:cBhvr>
                                      <p:to>
                                        <p:strVal val="visible"/>
                                      </p:to>
                                    </p:set>
                                    <p:animEffect transition="in" filter="fade">
                                      <p:cBhvr>
                                        <p:cTn id="10" dur="500"/>
                                        <p:tgtEl>
                                          <p:spTgt spid="33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13"/>
                                        </p:tgtEl>
                                        <p:attrNameLst>
                                          <p:attrName>style.visibility</p:attrName>
                                        </p:attrNameLst>
                                      </p:cBhvr>
                                      <p:to>
                                        <p:strVal val="visible"/>
                                      </p:to>
                                    </p:set>
                                    <p:animEffect transition="in" filter="fade">
                                      <p:cBhvr>
                                        <p:cTn id="14" dur="500"/>
                                        <p:tgtEl>
                                          <p:spTgt spid="313"/>
                                        </p:tgtEl>
                                      </p:cBhvr>
                                    </p:animEffect>
                                  </p:childTnLst>
                                </p:cTn>
                              </p:par>
                              <p:par>
                                <p:cTn id="15" presetID="10" presetClass="entr" presetSubtype="0" fill="hold" nodeType="withEffect">
                                  <p:stCondLst>
                                    <p:cond delay="0"/>
                                  </p:stCondLst>
                                  <p:childTnLst>
                                    <p:set>
                                      <p:cBhvr>
                                        <p:cTn id="16" dur="1" fill="hold">
                                          <p:stCondLst>
                                            <p:cond delay="0"/>
                                          </p:stCondLst>
                                        </p:cTn>
                                        <p:tgtEl>
                                          <p:spTgt spid="226"/>
                                        </p:tgtEl>
                                        <p:attrNameLst>
                                          <p:attrName>style.visibility</p:attrName>
                                        </p:attrNameLst>
                                      </p:cBhvr>
                                      <p:to>
                                        <p:strVal val="visible"/>
                                      </p:to>
                                    </p:set>
                                    <p:animEffect transition="in" filter="fade">
                                      <p:cBhvr>
                                        <p:cTn id="17" dur="500"/>
                                        <p:tgtEl>
                                          <p:spTgt spid="22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3"/>
                                        </p:tgtEl>
                                        <p:attrNameLst>
                                          <p:attrName>style.visibility</p:attrName>
                                        </p:attrNameLst>
                                      </p:cBhvr>
                                      <p:to>
                                        <p:strVal val="visible"/>
                                      </p:to>
                                    </p:set>
                                    <p:animEffect transition="in" filter="fade">
                                      <p:cBhvr>
                                        <p:cTn id="20" dur="500"/>
                                        <p:tgtEl>
                                          <p:spTgt spid="193"/>
                                        </p:tgtEl>
                                      </p:cBhvr>
                                    </p:animEffect>
                                  </p:childTnLst>
                                </p:cTn>
                              </p:par>
                              <p:par>
                                <p:cTn id="21" presetID="22" presetClass="entr" presetSubtype="8" fill="hold" nodeType="withEffect">
                                  <p:stCondLst>
                                    <p:cond delay="250"/>
                                  </p:stCondLst>
                                  <p:childTnLst>
                                    <p:set>
                                      <p:cBhvr>
                                        <p:cTn id="22" dur="1" fill="hold">
                                          <p:stCondLst>
                                            <p:cond delay="0"/>
                                          </p:stCondLst>
                                        </p:cTn>
                                        <p:tgtEl>
                                          <p:spTgt spid="195"/>
                                        </p:tgtEl>
                                        <p:attrNameLst>
                                          <p:attrName>style.visibility</p:attrName>
                                        </p:attrNameLst>
                                      </p:cBhvr>
                                      <p:to>
                                        <p:strVal val="visible"/>
                                      </p:to>
                                    </p:set>
                                    <p:animEffect transition="in" filter="wipe(left)">
                                      <p:cBhvr>
                                        <p:cTn id="23" dur="500"/>
                                        <p:tgtEl>
                                          <p:spTgt spid="19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30"/>
                                        </p:tgtEl>
                                        <p:attrNameLst>
                                          <p:attrName>style.visibility</p:attrName>
                                        </p:attrNameLst>
                                      </p:cBhvr>
                                      <p:to>
                                        <p:strVal val="visible"/>
                                      </p:to>
                                    </p:set>
                                    <p:animEffect transition="in" filter="fade">
                                      <p:cBhvr>
                                        <p:cTn id="31" dur="500"/>
                                        <p:tgtEl>
                                          <p:spTgt spid="330"/>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339"/>
                                        </p:tgtEl>
                                        <p:attrNameLst>
                                          <p:attrName>style.visibility</p:attrName>
                                        </p:attrNameLst>
                                      </p:cBhvr>
                                      <p:to>
                                        <p:strVal val="visible"/>
                                      </p:to>
                                    </p:set>
                                    <p:animEffect transition="in" filter="fade">
                                      <p:cBhvr>
                                        <p:cTn id="35" dur="500"/>
                                        <p:tgtEl>
                                          <p:spTgt spid="33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2"/>
                                        </p:tgtEl>
                                        <p:attrNameLst>
                                          <p:attrName>style.visibility</p:attrName>
                                        </p:attrNameLst>
                                      </p:cBhvr>
                                      <p:to>
                                        <p:strVal val="visible"/>
                                      </p:to>
                                    </p:set>
                                    <p:animEffect transition="in" filter="fade">
                                      <p:cBhvr>
                                        <p:cTn id="38" dur="500"/>
                                        <p:tgtEl>
                                          <p:spTgt spid="192"/>
                                        </p:tgtEl>
                                      </p:cBhvr>
                                    </p:animEffect>
                                  </p:childTnLst>
                                </p:cTn>
                              </p:par>
                              <p:par>
                                <p:cTn id="39" presetID="22" presetClass="entr" presetSubtype="2" fill="hold" nodeType="withEffect">
                                  <p:stCondLst>
                                    <p:cond delay="250"/>
                                  </p:stCondLst>
                                  <p:childTnLst>
                                    <p:set>
                                      <p:cBhvr>
                                        <p:cTn id="40" dur="1" fill="hold">
                                          <p:stCondLst>
                                            <p:cond delay="0"/>
                                          </p:stCondLst>
                                        </p:cTn>
                                        <p:tgtEl>
                                          <p:spTgt spid="228"/>
                                        </p:tgtEl>
                                        <p:attrNameLst>
                                          <p:attrName>style.visibility</p:attrName>
                                        </p:attrNameLst>
                                      </p:cBhvr>
                                      <p:to>
                                        <p:strVal val="visible"/>
                                      </p:to>
                                    </p:set>
                                    <p:animEffect transition="in" filter="wipe(right)">
                                      <p:cBhvr>
                                        <p:cTn id="41" dur="500"/>
                                        <p:tgtEl>
                                          <p:spTgt spid="228"/>
                                        </p:tgtEl>
                                      </p:cBhvr>
                                    </p:animEffect>
                                  </p:childTnLst>
                                </p:cTn>
                              </p:par>
                            </p:childTnLst>
                          </p:cTn>
                        </p:par>
                        <p:par>
                          <p:cTn id="42" fill="hold">
                            <p:stCondLst>
                              <p:cond delay="1250"/>
                            </p:stCondLst>
                            <p:childTnLst>
                              <p:par>
                                <p:cTn id="43" presetID="10" presetClass="entr" presetSubtype="0" fill="hold" grpId="0" nodeType="afterEffect">
                                  <p:stCondLst>
                                    <p:cond delay="0"/>
                                  </p:stCondLst>
                                  <p:childTnLst>
                                    <p:set>
                                      <p:cBhvr>
                                        <p:cTn id="44" dur="1" fill="hold">
                                          <p:stCondLst>
                                            <p:cond delay="0"/>
                                          </p:stCondLst>
                                        </p:cTn>
                                        <p:tgtEl>
                                          <p:spTgt spid="309"/>
                                        </p:tgtEl>
                                        <p:attrNameLst>
                                          <p:attrName>style.visibility</p:attrName>
                                        </p:attrNameLst>
                                      </p:cBhvr>
                                      <p:to>
                                        <p:strVal val="visible"/>
                                      </p:to>
                                    </p:set>
                                    <p:animEffect transition="in" filter="fade">
                                      <p:cBhvr>
                                        <p:cTn id="45" dur="500"/>
                                        <p:tgtEl>
                                          <p:spTgt spid="3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0"/>
                                        </p:tgtEl>
                                        <p:attrNameLst>
                                          <p:attrName>style.visibility</p:attrName>
                                        </p:attrNameLst>
                                      </p:cBhvr>
                                      <p:to>
                                        <p:strVal val="visible"/>
                                      </p:to>
                                    </p:set>
                                    <p:animEffect transition="in" filter="fade">
                                      <p:cBhvr>
                                        <p:cTn id="48" dur="500"/>
                                        <p:tgtEl>
                                          <p:spTgt spid="240"/>
                                        </p:tgtEl>
                                      </p:cBhvr>
                                    </p:animEffect>
                                  </p:childTnLst>
                                </p:cTn>
                              </p:par>
                            </p:childTnLst>
                          </p:cTn>
                        </p:par>
                        <p:par>
                          <p:cTn id="49" fill="hold">
                            <p:stCondLst>
                              <p:cond delay="1750"/>
                            </p:stCondLst>
                            <p:childTnLst>
                              <p:par>
                                <p:cTn id="50" presetID="22" presetClass="entr" presetSubtype="1" fill="hold" nodeType="afterEffect">
                                  <p:stCondLst>
                                    <p:cond delay="0"/>
                                  </p:stCondLst>
                                  <p:childTnLst>
                                    <p:set>
                                      <p:cBhvr>
                                        <p:cTn id="51" dur="1" fill="hold">
                                          <p:stCondLst>
                                            <p:cond delay="0"/>
                                          </p:stCondLst>
                                        </p:cTn>
                                        <p:tgtEl>
                                          <p:spTgt spid="233"/>
                                        </p:tgtEl>
                                        <p:attrNameLst>
                                          <p:attrName>style.visibility</p:attrName>
                                        </p:attrNameLst>
                                      </p:cBhvr>
                                      <p:to>
                                        <p:strVal val="visible"/>
                                      </p:to>
                                    </p:set>
                                    <p:animEffect transition="in" filter="wipe(up)">
                                      <p:cBhvr>
                                        <p:cTn id="52" dur="250"/>
                                        <p:tgtEl>
                                          <p:spTgt spid="2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56"/>
                                        </p:tgtEl>
                                        <p:attrNameLst>
                                          <p:attrName>style.visibility</p:attrName>
                                        </p:attrNameLst>
                                      </p:cBhvr>
                                      <p:to>
                                        <p:strVal val="visible"/>
                                      </p:to>
                                    </p:set>
                                    <p:animEffect transition="in" filter="fade">
                                      <p:cBhvr>
                                        <p:cTn id="57" dur="500"/>
                                        <p:tgtEl>
                                          <p:spTgt spid="156"/>
                                        </p:tgtEl>
                                      </p:cBhvr>
                                    </p:animEffect>
                                  </p:childTnLst>
                                </p:cTn>
                              </p:par>
                              <p:par>
                                <p:cTn id="58" presetID="10" presetClass="entr" presetSubtype="0" fill="hold" nodeType="withEffect">
                                  <p:stCondLst>
                                    <p:cond delay="0"/>
                                  </p:stCondLst>
                                  <p:childTnLst>
                                    <p:set>
                                      <p:cBhvr>
                                        <p:cTn id="59" dur="1" fill="hold">
                                          <p:stCondLst>
                                            <p:cond delay="0"/>
                                          </p:stCondLst>
                                        </p:cTn>
                                        <p:tgtEl>
                                          <p:spTgt spid="246"/>
                                        </p:tgtEl>
                                        <p:attrNameLst>
                                          <p:attrName>style.visibility</p:attrName>
                                        </p:attrNameLst>
                                      </p:cBhvr>
                                      <p:to>
                                        <p:strVal val="visible"/>
                                      </p:to>
                                    </p:set>
                                    <p:animEffect transition="in" filter="fade">
                                      <p:cBhvr>
                                        <p:cTn id="60" dur="500"/>
                                        <p:tgtEl>
                                          <p:spTgt spid="246"/>
                                        </p:tgtEl>
                                      </p:cBhvr>
                                    </p:animEffect>
                                  </p:childTnLst>
                                </p:cTn>
                              </p:par>
                            </p:childTnLst>
                          </p:cTn>
                        </p:par>
                        <p:par>
                          <p:cTn id="61" fill="hold">
                            <p:stCondLst>
                              <p:cond delay="500"/>
                            </p:stCondLst>
                            <p:childTnLst>
                              <p:par>
                                <p:cTn id="62" presetID="22" presetClass="entr" presetSubtype="2" fill="hold" nodeType="afterEffect">
                                  <p:stCondLst>
                                    <p:cond delay="0"/>
                                  </p:stCondLst>
                                  <p:childTnLst>
                                    <p:set>
                                      <p:cBhvr>
                                        <p:cTn id="63" dur="1" fill="hold">
                                          <p:stCondLst>
                                            <p:cond delay="0"/>
                                          </p:stCondLst>
                                        </p:cTn>
                                        <p:tgtEl>
                                          <p:spTgt spid="353"/>
                                        </p:tgtEl>
                                        <p:attrNameLst>
                                          <p:attrName>style.visibility</p:attrName>
                                        </p:attrNameLst>
                                      </p:cBhvr>
                                      <p:to>
                                        <p:strVal val="visible"/>
                                      </p:to>
                                    </p:set>
                                    <p:animEffect transition="in" filter="wipe(right)">
                                      <p:cBhvr>
                                        <p:cTn id="64" dur="500"/>
                                        <p:tgtEl>
                                          <p:spTgt spid="353"/>
                                        </p:tgtEl>
                                      </p:cBhvr>
                                    </p:animEffect>
                                  </p:childTnLst>
                                </p:cTn>
                              </p:par>
                              <p:par>
                                <p:cTn id="65" presetID="22" presetClass="entr" presetSubtype="1" fill="hold" nodeType="withEffect">
                                  <p:stCondLst>
                                    <p:cond delay="250"/>
                                  </p:stCondLst>
                                  <p:childTnLst>
                                    <p:set>
                                      <p:cBhvr>
                                        <p:cTn id="66" dur="1" fill="hold">
                                          <p:stCondLst>
                                            <p:cond delay="0"/>
                                          </p:stCondLst>
                                        </p:cTn>
                                        <p:tgtEl>
                                          <p:spTgt spid="244"/>
                                        </p:tgtEl>
                                        <p:attrNameLst>
                                          <p:attrName>style.visibility</p:attrName>
                                        </p:attrNameLst>
                                      </p:cBhvr>
                                      <p:to>
                                        <p:strVal val="visible"/>
                                      </p:to>
                                    </p:set>
                                    <p:animEffect transition="in" filter="wipe(up)">
                                      <p:cBhvr>
                                        <p:cTn id="67" dur="25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 grpId="0" animBg="1"/>
      <p:bldP spid="330" grpId="0"/>
      <p:bldP spid="332" grpId="0"/>
      <p:bldP spid="192" grpId="0"/>
      <p:bldP spid="193" grpId="0"/>
      <p:bldP spid="240" grpId="0"/>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a:t>
            </a:r>
            <a:r>
              <a:rPr lang="en-US"/>
              <a:t>hat licensing do you currently have available?</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Actions</a:t>
            </a:r>
          </a:p>
          <a:p>
            <a:pPr lvl="2"/>
            <a:r>
              <a:rPr lang="en-US">
                <a:solidFill>
                  <a:srgbClr val="EDC30D"/>
                </a:solidFill>
              </a:rPr>
              <a:t>Document current licenses</a:t>
            </a:r>
          </a:p>
          <a:p>
            <a:pPr lvl="2"/>
            <a:r>
              <a:rPr lang="en-US">
                <a:solidFill>
                  <a:srgbClr val="EDC30D"/>
                </a:solidFill>
              </a:rPr>
              <a:t>Discuss potential usage</a:t>
            </a:r>
          </a:p>
        </p:txBody>
      </p:sp>
    </p:spTree>
    <p:custDataLst>
      <p:tags r:id="rId2"/>
    </p:custDataLst>
    <p:extLst>
      <p:ext uri="{BB962C8B-B14F-4D97-AF65-F5344CB8AC3E}">
        <p14:creationId xmlns:p14="http://schemas.microsoft.com/office/powerpoint/2010/main" val="2751776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16646">
        <p:fade/>
      </p:transition>
    </mc:Choice>
    <mc:Fallback xmlns="">
      <p:transition spd="med" advTm="16646">
        <p:fade/>
      </p:transition>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require Power BI Premium?</a:t>
            </a:r>
          </a:p>
        </p:txBody>
      </p:sp>
      <p:sp>
        <p:nvSpPr>
          <p:cNvPr id="4" name="Text Placeholder 1">
            <a:extLst>
              <a:ext uri="{FF2B5EF4-FFF2-40B4-BE49-F238E27FC236}">
                <a16:creationId xmlns:a16="http://schemas.microsoft.com/office/drawing/2014/main" id="{1B65FD16-B131-4C4E-9569-91EA52792331}"/>
              </a:ext>
            </a:extLst>
          </p:cNvPr>
          <p:cNvSpPr>
            <a:spLocks noGrp="1"/>
          </p:cNvSpPr>
          <p:nvPr>
            <p:ph type="body" sz="quarter" idx="10"/>
          </p:nvPr>
        </p:nvSpPr>
        <p:spPr>
          <a:xfrm>
            <a:off x="302481" y="3178512"/>
            <a:ext cx="11292619" cy="3679487"/>
          </a:xfrm>
        </p:spPr>
        <p:txBody>
          <a:bodyPr>
            <a:normAutofit/>
          </a:bodyPr>
          <a:lstStyle/>
          <a:p>
            <a:r>
              <a:rPr lang="en-US"/>
              <a:t>How many report consumers are there?</a:t>
            </a:r>
          </a:p>
          <a:p>
            <a:r>
              <a:rPr lang="en-US"/>
              <a:t>Do you need larger model sizes?</a:t>
            </a:r>
          </a:p>
          <a:p>
            <a:r>
              <a:rPr lang="en-US"/>
              <a:t>Do you need Premium on functionality?</a:t>
            </a:r>
          </a:p>
        </p:txBody>
      </p:sp>
    </p:spTree>
    <p:custDataLst>
      <p:tags r:id="rId1"/>
    </p:custDataLst>
    <p:extLst>
      <p:ext uri="{BB962C8B-B14F-4D97-AF65-F5344CB8AC3E}">
        <p14:creationId xmlns:p14="http://schemas.microsoft.com/office/powerpoint/2010/main" val="2939018498"/>
      </p:ext>
    </p:extLst>
  </p:cSld>
  <p:clrMapOvr>
    <a:masterClrMapping/>
  </p:clrMapOvr>
  <mc:AlternateContent xmlns:mc="http://schemas.openxmlformats.org/markup-compatibility/2006" xmlns:p14="http://schemas.microsoft.com/office/powerpoint/2010/main">
    <mc:Choice Requires="p14">
      <p:transition spd="med" p14:dur="700" advTm="15948">
        <p:fade/>
      </p:transition>
    </mc:Choice>
    <mc:Fallback xmlns="">
      <p:transition spd="med" advTm="15948">
        <p:fade/>
      </p:transition>
    </mc:Fallback>
  </mc:AlternateContent>
</p:sld>
</file>

<file path=ppt/slides/slide2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1</a:t>
            </a:r>
          </a:p>
        </p:txBody>
      </p:sp>
      <p:pic>
        <p:nvPicPr>
          <p:cNvPr id="13" name="Graphic 12" descr="Gears"/>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0179" y="2367286"/>
            <a:ext cx="1705145" cy="1705145"/>
          </a:xfrm>
          <a:prstGeom prst="rect">
            <a:avLst/>
          </a:prstGeom>
        </p:spPr>
      </p:pic>
      <p:pic>
        <p:nvPicPr>
          <p:cNvPr id="23" name="Graphic 22" descr="Smiling Face with No Fill"/>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4957" y="2690490"/>
            <a:ext cx="1058737" cy="1058737"/>
          </a:xfrm>
          <a:prstGeom prst="rect">
            <a:avLst/>
          </a:prstGeom>
        </p:spPr>
      </p:pic>
      <p:sp>
        <p:nvSpPr>
          <p:cNvPr id="31" name="Arrow: Right 30"/>
          <p:cNvSpPr/>
          <p:nvPr/>
        </p:nvSpPr>
        <p:spPr>
          <a:xfrm>
            <a:off x="5083406" y="3044418"/>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2" name="Picture 31"/>
          <p:cNvPicPr>
            <a:picLocks noChangeAspect="1"/>
          </p:cNvPicPr>
          <p:nvPr/>
        </p:nvPicPr>
        <p:blipFill>
          <a:blip r:embed="rId7"/>
          <a:stretch>
            <a:fillRect/>
          </a:stretch>
        </p:blipFill>
        <p:spPr>
          <a:xfrm>
            <a:off x="3452662" y="2192372"/>
            <a:ext cx="1295866" cy="2464818"/>
          </a:xfrm>
          <a:prstGeom prst="rect">
            <a:avLst/>
          </a:prstGeom>
        </p:spPr>
      </p:pic>
      <p:sp>
        <p:nvSpPr>
          <p:cNvPr id="35" name="Arrow: Right 34"/>
          <p:cNvSpPr/>
          <p:nvPr/>
        </p:nvSpPr>
        <p:spPr>
          <a:xfrm>
            <a:off x="6989132" y="3044418"/>
            <a:ext cx="664830" cy="350882"/>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5415821" y="3900969"/>
            <a:ext cx="24819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ssignment</a:t>
            </a:r>
          </a:p>
        </p:txBody>
      </p:sp>
    </p:spTree>
    <p:extLst>
      <p:ext uri="{BB962C8B-B14F-4D97-AF65-F5344CB8AC3E}">
        <p14:creationId xmlns:p14="http://schemas.microsoft.com/office/powerpoint/2010/main" val="3528813744"/>
      </p:ext>
    </p:extLst>
  </p:cSld>
  <p:clrMapOvr>
    <a:masterClrMapping/>
  </p:clrMapOvr>
  <mc:AlternateContent xmlns:mc="http://schemas.openxmlformats.org/markup-compatibility/2006" xmlns:p14="http://schemas.microsoft.com/office/powerpoint/2010/main">
    <mc:Choice Requires="p14">
      <p:transition spd="med" p14:dur="700" advTm="19353">
        <p:fade/>
      </p:transition>
    </mc:Choice>
    <mc:Fallback xmlns="">
      <p:transition spd="med" advTm="19353">
        <p:fade/>
      </p:transition>
    </mc:Fallback>
  </mc:AlternateContent>
</p:sld>
</file>

<file path=ppt/slides/slide2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Graphic 6" descr="List"/>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63616" y="2846304"/>
            <a:ext cx="1440695" cy="1440695"/>
          </a:xfrm>
          <a:prstGeom prst="rect">
            <a:avLst/>
          </a:prstGeom>
        </p:spPr>
      </p:pic>
      <p:sp>
        <p:nvSpPr>
          <p:cNvPr id="2" name="Title 1"/>
          <p:cNvSpPr>
            <a:spLocks noGrp="1"/>
          </p:cNvSpPr>
          <p:nvPr>
            <p:ph type="title"/>
          </p:nvPr>
        </p:nvSpPr>
        <p:spPr/>
        <p:txBody>
          <a:bodyPr/>
          <a:lstStyle/>
          <a:p>
            <a:r>
              <a:rPr lang="en-US"/>
              <a:t>Sample License Assignment Workflow 2</a:t>
            </a:r>
          </a:p>
        </p:txBody>
      </p:sp>
      <p:pic>
        <p:nvPicPr>
          <p:cNvPr id="13" name="Graphic 12" descr="Gears"/>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71994" y="2714079"/>
            <a:ext cx="1705145" cy="1705145"/>
          </a:xfrm>
          <a:prstGeom prst="rect">
            <a:avLst/>
          </a:prstGeom>
        </p:spPr>
      </p:pic>
      <p:pic>
        <p:nvPicPr>
          <p:cNvPr id="15" name="Graphic 14" descr="Ribbon"/>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1325" y="2809443"/>
            <a:ext cx="1514420" cy="1514420"/>
          </a:xfrm>
          <a:prstGeom prst="rect">
            <a:avLst/>
          </a:prstGeom>
        </p:spPr>
      </p:pic>
      <p:pic>
        <p:nvPicPr>
          <p:cNvPr id="19" name="Graphic 18" descr="Video camera"/>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25028" y="2708215"/>
            <a:ext cx="1716875" cy="1716875"/>
          </a:xfrm>
          <a:prstGeom prst="rect">
            <a:avLst/>
          </a:prstGeom>
        </p:spPr>
      </p:pic>
      <p:pic>
        <p:nvPicPr>
          <p:cNvPr id="23" name="Graphic 22" descr="Smiling Face with No Fill"/>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36773" y="3037283"/>
            <a:ext cx="1058737" cy="1058737"/>
          </a:xfrm>
          <a:prstGeom prst="rect">
            <a:avLst/>
          </a:prstGeom>
        </p:spPr>
      </p:pic>
      <p:sp>
        <p:nvSpPr>
          <p:cNvPr id="24" name="Arrow: Right 23"/>
          <p:cNvSpPr/>
          <p:nvPr/>
        </p:nvSpPr>
        <p:spPr>
          <a:xfrm>
            <a:off x="1702553"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Arrow: Right 24"/>
          <p:cNvSpPr/>
          <p:nvPr/>
        </p:nvSpPr>
        <p:spPr>
          <a:xfrm>
            <a:off x="3737192"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6419325"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096028" y="4233888"/>
            <a:ext cx="1800366" cy="6572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License reque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rm</a:t>
            </a:r>
          </a:p>
        </p:txBody>
      </p:sp>
      <p:sp>
        <p:nvSpPr>
          <p:cNvPr id="21" name="TextBox 20"/>
          <p:cNvSpPr txBox="1"/>
          <p:nvPr/>
        </p:nvSpPr>
        <p:spPr>
          <a:xfrm>
            <a:off x="4431681" y="4239424"/>
            <a:ext cx="1867554" cy="6572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6917801" y="4247761"/>
            <a:ext cx="1725035" cy="3747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8425222"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2" name="Picture 31"/>
          <p:cNvPicPr>
            <a:picLocks noChangeAspect="1"/>
          </p:cNvPicPr>
          <p:nvPr/>
        </p:nvPicPr>
        <p:blipFill>
          <a:blip r:embed="rId13"/>
          <a:stretch>
            <a:fillRect/>
          </a:stretch>
        </p:blipFill>
        <p:spPr>
          <a:xfrm>
            <a:off x="378822" y="2334242"/>
            <a:ext cx="1295866" cy="2464818"/>
          </a:xfrm>
          <a:prstGeom prst="rect">
            <a:avLst/>
          </a:prstGeom>
        </p:spPr>
      </p:pic>
      <p:sp>
        <p:nvSpPr>
          <p:cNvPr id="35" name="Arrow: Right 34"/>
          <p:cNvSpPr/>
          <p:nvPr/>
        </p:nvSpPr>
        <p:spPr>
          <a:xfrm>
            <a:off x="10330949" y="3391211"/>
            <a:ext cx="664830" cy="35088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8757637" y="4247761"/>
            <a:ext cx="24819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ssignment</a:t>
            </a:r>
          </a:p>
        </p:txBody>
      </p:sp>
    </p:spTree>
    <p:extLst>
      <p:ext uri="{BB962C8B-B14F-4D97-AF65-F5344CB8AC3E}">
        <p14:creationId xmlns:p14="http://schemas.microsoft.com/office/powerpoint/2010/main" val="1055897291"/>
      </p:ext>
    </p:extLst>
  </p:cSld>
  <p:clrMapOvr>
    <a:masterClrMapping/>
  </p:clrMapOvr>
  <mc:AlternateContent xmlns:mc="http://schemas.openxmlformats.org/markup-compatibility/2006" xmlns:p14="http://schemas.microsoft.com/office/powerpoint/2010/main">
    <mc:Choice Requires="p14">
      <p:transition spd="med" p14:dur="700" advTm="47874">
        <p:fade/>
      </p:transition>
    </mc:Choice>
    <mc:Fallback xmlns="">
      <p:transition spd="med" advTm="47874">
        <p:fade/>
      </p:transition>
    </mc:Fallback>
  </mc:AlternateContent>
</p:sld>
</file>

<file path=ppt/slides/slide2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3</a:t>
            </a:r>
          </a:p>
        </p:txBody>
      </p:sp>
      <p:pic>
        <p:nvPicPr>
          <p:cNvPr id="32" name="Picture 31"/>
          <p:cNvPicPr>
            <a:picLocks noChangeAspect="1"/>
          </p:cNvPicPr>
          <p:nvPr/>
        </p:nvPicPr>
        <p:blipFill>
          <a:blip r:embed="rId3"/>
          <a:stretch>
            <a:fillRect/>
          </a:stretch>
        </p:blipFill>
        <p:spPr>
          <a:xfrm>
            <a:off x="378822" y="2334242"/>
            <a:ext cx="1295866" cy="2464818"/>
          </a:xfrm>
          <a:prstGeom prst="rect">
            <a:avLst/>
          </a:prstGeom>
        </p:spPr>
      </p:pic>
      <p:pic>
        <p:nvPicPr>
          <p:cNvPr id="7" name="Graphic 6" descr="List"/>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45187" y="2698794"/>
            <a:ext cx="1255956" cy="1215442"/>
          </a:xfrm>
          <a:prstGeom prst="rect">
            <a:avLst/>
          </a:prstGeom>
        </p:spPr>
      </p:pic>
      <p:pic>
        <p:nvPicPr>
          <p:cNvPr id="13" name="Graphic 12" descr="Gears"/>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05668" y="1371569"/>
            <a:ext cx="1486498" cy="1438546"/>
          </a:xfrm>
          <a:prstGeom prst="rect">
            <a:avLst/>
          </a:prstGeom>
        </p:spPr>
      </p:pic>
      <p:pic>
        <p:nvPicPr>
          <p:cNvPr id="15" name="Graphic 14" descr="Ribbon"/>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0117" y="1452022"/>
            <a:ext cx="1320229" cy="1277641"/>
          </a:xfrm>
          <a:prstGeom prst="rect">
            <a:avLst/>
          </a:prstGeom>
        </p:spPr>
      </p:pic>
      <p:pic>
        <p:nvPicPr>
          <p:cNvPr id="19" name="Graphic 18" descr="Video camera"/>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6480" y="1366622"/>
            <a:ext cx="1496724" cy="1448442"/>
          </a:xfrm>
          <a:prstGeom prst="rect">
            <a:avLst/>
          </a:prstGeom>
        </p:spPr>
      </p:pic>
      <p:sp>
        <p:nvSpPr>
          <p:cNvPr id="24" name="Arrow: Right 23"/>
          <p:cNvSpPr/>
          <p:nvPr/>
        </p:nvSpPr>
        <p:spPr>
          <a:xfrm>
            <a:off x="1782057" y="3158505"/>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800787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192557" y="3870017"/>
            <a:ext cx="1445514"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Business Case</a:t>
            </a:r>
          </a:p>
        </p:txBody>
      </p:sp>
      <p:sp>
        <p:nvSpPr>
          <p:cNvPr id="21" name="TextBox 20"/>
          <p:cNvSpPr txBox="1"/>
          <p:nvPr/>
        </p:nvSpPr>
        <p:spPr>
          <a:xfrm>
            <a:off x="6269873" y="2658425"/>
            <a:ext cx="1638541"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8408176" y="2665461"/>
            <a:ext cx="1609911"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981618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9820861" y="2689380"/>
            <a:ext cx="213157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 and Desktop Availability</a:t>
            </a:r>
          </a:p>
        </p:txBody>
      </p:sp>
      <p:pic>
        <p:nvPicPr>
          <p:cNvPr id="18" name="Graphic 17" descr="Gears">
            <a:extLst>
              <a:ext uri="{FF2B5EF4-FFF2-40B4-BE49-F238E27FC236}">
                <a16:creationId xmlns:a16="http://schemas.microsoft.com/office/drawing/2014/main" id="{EB0E8CD8-EDAD-4076-B3F6-23AA8C49D2A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9747" y="3420048"/>
            <a:ext cx="1486498" cy="1438546"/>
          </a:xfrm>
          <a:prstGeom prst="rect">
            <a:avLst/>
          </a:prstGeom>
        </p:spPr>
      </p:pic>
      <p:pic>
        <p:nvPicPr>
          <p:cNvPr id="22" name="Graphic 21" descr="Video camera">
            <a:extLst>
              <a:ext uri="{FF2B5EF4-FFF2-40B4-BE49-F238E27FC236}">
                <a16:creationId xmlns:a16="http://schemas.microsoft.com/office/drawing/2014/main" id="{41F68D26-9DB4-4FD5-A71C-EC68DADE1BC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22796" y="3448635"/>
            <a:ext cx="1496724" cy="1448442"/>
          </a:xfrm>
          <a:prstGeom prst="rect">
            <a:avLst/>
          </a:prstGeom>
        </p:spPr>
      </p:pic>
      <p:sp>
        <p:nvSpPr>
          <p:cNvPr id="30" name="TextBox 29">
            <a:extLst>
              <a:ext uri="{FF2B5EF4-FFF2-40B4-BE49-F238E27FC236}">
                <a16:creationId xmlns:a16="http://schemas.microsoft.com/office/drawing/2014/main" id="{577C3E37-3A49-4C22-9A79-183D789093DE}"/>
              </a:ext>
            </a:extLst>
          </p:cNvPr>
          <p:cNvSpPr txBox="1"/>
          <p:nvPr/>
        </p:nvSpPr>
        <p:spPr>
          <a:xfrm>
            <a:off x="8168779" y="4740440"/>
            <a:ext cx="197337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ptional Intro Video</a:t>
            </a:r>
          </a:p>
        </p:txBody>
      </p:sp>
      <p:sp>
        <p:nvSpPr>
          <p:cNvPr id="37" name="Arrow: Right 36">
            <a:extLst>
              <a:ext uri="{FF2B5EF4-FFF2-40B4-BE49-F238E27FC236}">
                <a16:creationId xmlns:a16="http://schemas.microsoft.com/office/drawing/2014/main" id="{8361B417-EF83-4EDF-BD75-A2C32741A4CC}"/>
              </a:ext>
            </a:extLst>
          </p:cNvPr>
          <p:cNvSpPr/>
          <p:nvPr/>
        </p:nvSpPr>
        <p:spPr>
          <a:xfrm>
            <a:off x="7714391" y="399131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CAF055F5-7F49-4996-8B19-189EFAF88593}"/>
              </a:ext>
            </a:extLst>
          </p:cNvPr>
          <p:cNvSpPr txBox="1"/>
          <p:nvPr/>
        </p:nvSpPr>
        <p:spPr>
          <a:xfrm>
            <a:off x="5857896" y="4775621"/>
            <a:ext cx="214628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a:t>
            </a:r>
          </a:p>
        </p:txBody>
      </p:sp>
      <p:sp>
        <p:nvSpPr>
          <p:cNvPr id="39" name="Arrow: Right 38">
            <a:extLst>
              <a:ext uri="{FF2B5EF4-FFF2-40B4-BE49-F238E27FC236}">
                <a16:creationId xmlns:a16="http://schemas.microsoft.com/office/drawing/2014/main" id="{07BB99EF-A2C1-4E75-90DE-73C200C4BA7D}"/>
              </a:ext>
            </a:extLst>
          </p:cNvPr>
          <p:cNvSpPr/>
          <p:nvPr/>
        </p:nvSpPr>
        <p:spPr>
          <a:xfrm rot="2700000">
            <a:off x="5112140" y="3802379"/>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Consume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
        <p:nvSpPr>
          <p:cNvPr id="42" name="Arrow: Right 41">
            <a:extLst>
              <a:ext uri="{FF2B5EF4-FFF2-40B4-BE49-F238E27FC236}">
                <a16:creationId xmlns:a16="http://schemas.microsoft.com/office/drawing/2014/main" id="{DD9EDCD0-213D-4B22-8D85-60086CF5D8B6}"/>
              </a:ext>
            </a:extLst>
          </p:cNvPr>
          <p:cNvSpPr/>
          <p:nvPr/>
        </p:nvSpPr>
        <p:spPr>
          <a:xfrm>
            <a:off x="3456986" y="3152916"/>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19ECD078-75C1-4C65-B7F8-E371C583F23B}"/>
              </a:ext>
            </a:extLst>
          </p:cNvPr>
          <p:cNvSpPr txBox="1"/>
          <p:nvPr/>
        </p:nvSpPr>
        <p:spPr>
          <a:xfrm>
            <a:off x="3866639" y="3872812"/>
            <a:ext cx="1411155" cy="10968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365 Group/ App Worksp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visioning</a:t>
            </a:r>
          </a:p>
        </p:txBody>
      </p:sp>
      <p:pic>
        <p:nvPicPr>
          <p:cNvPr id="5" name="Picture 4">
            <a:extLst>
              <a:ext uri="{FF2B5EF4-FFF2-40B4-BE49-F238E27FC236}">
                <a16:creationId xmlns:a16="http://schemas.microsoft.com/office/drawing/2014/main" id="{62537736-DC09-41CF-AF34-143E269BEE80}"/>
              </a:ext>
            </a:extLst>
          </p:cNvPr>
          <p:cNvPicPr>
            <a:picLocks noChangeAspect="1"/>
          </p:cNvPicPr>
          <p:nvPr/>
        </p:nvPicPr>
        <p:blipFill>
          <a:blip r:embed="rId12"/>
          <a:stretch>
            <a:fillRect/>
          </a:stretch>
        </p:blipFill>
        <p:spPr>
          <a:xfrm>
            <a:off x="4083134" y="2809001"/>
            <a:ext cx="991874" cy="959878"/>
          </a:xfrm>
          <a:prstGeom prst="rect">
            <a:avLst/>
          </a:prstGeom>
        </p:spPr>
      </p:pic>
      <p:sp>
        <p:nvSpPr>
          <p:cNvPr id="44" name="Arrow: Right 43">
            <a:extLst>
              <a:ext uri="{FF2B5EF4-FFF2-40B4-BE49-F238E27FC236}">
                <a16:creationId xmlns:a16="http://schemas.microsoft.com/office/drawing/2014/main" id="{6224E6AC-2029-485A-91DC-E930C53C99E9}"/>
              </a:ext>
            </a:extLst>
          </p:cNvPr>
          <p:cNvSpPr/>
          <p:nvPr/>
        </p:nvSpPr>
        <p:spPr>
          <a:xfrm rot="18900000">
            <a:off x="5112140" y="2613164"/>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Autho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99140457"/>
      </p:ext>
    </p:extLst>
  </p:cSld>
  <p:clrMapOvr>
    <a:masterClrMapping/>
  </p:clrMapOvr>
  <mc:AlternateContent xmlns:mc="http://schemas.openxmlformats.org/markup-compatibility/2006" xmlns:p14="http://schemas.microsoft.com/office/powerpoint/2010/main">
    <mc:Choice Requires="p14">
      <p:transition spd="med" p14:dur="700" advTm="59892">
        <p:fade/>
      </p:transition>
    </mc:Choice>
    <mc:Fallback xmlns="">
      <p:transition spd="med" advTm="59892">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License Assignment Workflow 4</a:t>
            </a:r>
          </a:p>
        </p:txBody>
      </p:sp>
      <p:pic>
        <p:nvPicPr>
          <p:cNvPr id="32" name="Picture 31"/>
          <p:cNvPicPr>
            <a:picLocks noChangeAspect="1"/>
          </p:cNvPicPr>
          <p:nvPr/>
        </p:nvPicPr>
        <p:blipFill>
          <a:blip r:embed="rId3"/>
          <a:stretch>
            <a:fillRect/>
          </a:stretch>
        </p:blipFill>
        <p:spPr>
          <a:xfrm>
            <a:off x="378822" y="2334242"/>
            <a:ext cx="1295866" cy="2464818"/>
          </a:xfrm>
          <a:prstGeom prst="rect">
            <a:avLst/>
          </a:prstGeom>
        </p:spPr>
      </p:pic>
      <p:pic>
        <p:nvPicPr>
          <p:cNvPr id="7" name="Graphic 6" descr="List"/>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45187" y="2698794"/>
            <a:ext cx="1255956" cy="1215442"/>
          </a:xfrm>
          <a:prstGeom prst="rect">
            <a:avLst/>
          </a:prstGeom>
        </p:spPr>
      </p:pic>
      <p:pic>
        <p:nvPicPr>
          <p:cNvPr id="13" name="Graphic 12" descr="Gears"/>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05668" y="1371569"/>
            <a:ext cx="1486498" cy="1438546"/>
          </a:xfrm>
          <a:prstGeom prst="rect">
            <a:avLst/>
          </a:prstGeom>
        </p:spPr>
      </p:pic>
      <p:pic>
        <p:nvPicPr>
          <p:cNvPr id="15" name="Graphic 14" descr="Ribbon"/>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0117" y="1452022"/>
            <a:ext cx="1320229" cy="1277641"/>
          </a:xfrm>
          <a:prstGeom prst="rect">
            <a:avLst/>
          </a:prstGeom>
        </p:spPr>
      </p:pic>
      <p:pic>
        <p:nvPicPr>
          <p:cNvPr id="19" name="Graphic 18" descr="Video camera"/>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6480" y="1366622"/>
            <a:ext cx="1496724" cy="1448442"/>
          </a:xfrm>
          <a:prstGeom prst="rect">
            <a:avLst/>
          </a:prstGeom>
        </p:spPr>
      </p:pic>
      <p:sp>
        <p:nvSpPr>
          <p:cNvPr id="24" name="Arrow: Right 23"/>
          <p:cNvSpPr/>
          <p:nvPr/>
        </p:nvSpPr>
        <p:spPr>
          <a:xfrm>
            <a:off x="1782057" y="3158505"/>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Arrow: Right 25"/>
          <p:cNvSpPr/>
          <p:nvPr/>
        </p:nvSpPr>
        <p:spPr>
          <a:xfrm>
            <a:off x="800787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2192557" y="3870017"/>
            <a:ext cx="1445514"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Business Case</a:t>
            </a:r>
          </a:p>
        </p:txBody>
      </p:sp>
      <p:sp>
        <p:nvSpPr>
          <p:cNvPr id="21" name="TextBox 20"/>
          <p:cNvSpPr txBox="1"/>
          <p:nvPr/>
        </p:nvSpPr>
        <p:spPr>
          <a:xfrm>
            <a:off x="6269873" y="2658425"/>
            <a:ext cx="1638541"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Usage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video</a:t>
            </a:r>
          </a:p>
        </p:txBody>
      </p:sp>
      <p:sp>
        <p:nvSpPr>
          <p:cNvPr id="29" name="TextBox 28"/>
          <p:cNvSpPr txBox="1"/>
          <p:nvPr/>
        </p:nvSpPr>
        <p:spPr>
          <a:xfrm>
            <a:off x="8408176" y="2665461"/>
            <a:ext cx="1609911" cy="343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ertified to use</a:t>
            </a:r>
          </a:p>
        </p:txBody>
      </p:sp>
      <p:sp>
        <p:nvSpPr>
          <p:cNvPr id="31" name="Arrow: Right 30"/>
          <p:cNvSpPr/>
          <p:nvPr/>
        </p:nvSpPr>
        <p:spPr>
          <a:xfrm>
            <a:off x="9816186" y="1942831"/>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TextBox 35"/>
          <p:cNvSpPr txBox="1"/>
          <p:nvPr/>
        </p:nvSpPr>
        <p:spPr>
          <a:xfrm>
            <a:off x="9870345" y="2665461"/>
            <a:ext cx="2119882"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grammatic Lice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ssignment and Desktop Availability</a:t>
            </a:r>
          </a:p>
        </p:txBody>
      </p:sp>
      <p:pic>
        <p:nvPicPr>
          <p:cNvPr id="22" name="Graphic 21" descr="Video camera">
            <a:extLst>
              <a:ext uri="{FF2B5EF4-FFF2-40B4-BE49-F238E27FC236}">
                <a16:creationId xmlns:a16="http://schemas.microsoft.com/office/drawing/2014/main" id="{41F68D26-9DB4-4FD5-A71C-EC68DADE1BC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4365" y="3448635"/>
            <a:ext cx="1496724" cy="1448442"/>
          </a:xfrm>
          <a:prstGeom prst="rect">
            <a:avLst/>
          </a:prstGeom>
        </p:spPr>
      </p:pic>
      <p:sp>
        <p:nvSpPr>
          <p:cNvPr id="30" name="TextBox 29">
            <a:extLst>
              <a:ext uri="{FF2B5EF4-FFF2-40B4-BE49-F238E27FC236}">
                <a16:creationId xmlns:a16="http://schemas.microsoft.com/office/drawing/2014/main" id="{577C3E37-3A49-4C22-9A79-183D789093DE}"/>
              </a:ext>
            </a:extLst>
          </p:cNvPr>
          <p:cNvSpPr txBox="1"/>
          <p:nvPr/>
        </p:nvSpPr>
        <p:spPr>
          <a:xfrm>
            <a:off x="6120349" y="4740440"/>
            <a:ext cx="197337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ptional Intro Video</a:t>
            </a:r>
          </a:p>
        </p:txBody>
      </p:sp>
      <p:sp>
        <p:nvSpPr>
          <p:cNvPr id="39" name="Arrow: Right 38">
            <a:extLst>
              <a:ext uri="{FF2B5EF4-FFF2-40B4-BE49-F238E27FC236}">
                <a16:creationId xmlns:a16="http://schemas.microsoft.com/office/drawing/2014/main" id="{07BB99EF-A2C1-4E75-90DE-73C200C4BA7D}"/>
              </a:ext>
            </a:extLst>
          </p:cNvPr>
          <p:cNvSpPr/>
          <p:nvPr/>
        </p:nvSpPr>
        <p:spPr>
          <a:xfrm rot="2700000">
            <a:off x="5112140" y="3802379"/>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Consume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
        <p:nvSpPr>
          <p:cNvPr id="42" name="Arrow: Right 41">
            <a:extLst>
              <a:ext uri="{FF2B5EF4-FFF2-40B4-BE49-F238E27FC236}">
                <a16:creationId xmlns:a16="http://schemas.microsoft.com/office/drawing/2014/main" id="{DD9EDCD0-213D-4B22-8D85-60086CF5D8B6}"/>
              </a:ext>
            </a:extLst>
          </p:cNvPr>
          <p:cNvSpPr/>
          <p:nvPr/>
        </p:nvSpPr>
        <p:spPr>
          <a:xfrm>
            <a:off x="3456986" y="3152916"/>
            <a:ext cx="579580"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19ECD078-75C1-4C65-B7F8-E371C583F23B}"/>
              </a:ext>
            </a:extLst>
          </p:cNvPr>
          <p:cNvSpPr txBox="1"/>
          <p:nvPr/>
        </p:nvSpPr>
        <p:spPr>
          <a:xfrm>
            <a:off x="3866639" y="3872811"/>
            <a:ext cx="1411155" cy="594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O365 Gro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rovisioning</a:t>
            </a:r>
          </a:p>
        </p:txBody>
      </p:sp>
      <p:pic>
        <p:nvPicPr>
          <p:cNvPr id="5" name="Picture 4">
            <a:extLst>
              <a:ext uri="{FF2B5EF4-FFF2-40B4-BE49-F238E27FC236}">
                <a16:creationId xmlns:a16="http://schemas.microsoft.com/office/drawing/2014/main" id="{62537736-DC09-41CF-AF34-143E269BEE80}"/>
              </a:ext>
            </a:extLst>
          </p:cNvPr>
          <p:cNvPicPr>
            <a:picLocks noChangeAspect="1"/>
          </p:cNvPicPr>
          <p:nvPr/>
        </p:nvPicPr>
        <p:blipFill>
          <a:blip r:embed="rId12"/>
          <a:stretch>
            <a:fillRect/>
          </a:stretch>
        </p:blipFill>
        <p:spPr>
          <a:xfrm>
            <a:off x="4083134" y="2809001"/>
            <a:ext cx="991874" cy="959878"/>
          </a:xfrm>
          <a:prstGeom prst="rect">
            <a:avLst/>
          </a:prstGeom>
        </p:spPr>
      </p:pic>
      <p:sp>
        <p:nvSpPr>
          <p:cNvPr id="44" name="Arrow: Right 43">
            <a:extLst>
              <a:ext uri="{FF2B5EF4-FFF2-40B4-BE49-F238E27FC236}">
                <a16:creationId xmlns:a16="http://schemas.microsoft.com/office/drawing/2014/main" id="{6224E6AC-2029-485A-91DC-E930C53C99E9}"/>
              </a:ext>
            </a:extLst>
          </p:cNvPr>
          <p:cNvSpPr/>
          <p:nvPr/>
        </p:nvSpPr>
        <p:spPr>
          <a:xfrm rot="18900000">
            <a:off x="5112140" y="2613164"/>
            <a:ext cx="1269423" cy="296022"/>
          </a:xfrm>
          <a:prstGeom prst="rightArrow">
            <a:avLst/>
          </a:prstGeom>
          <a:solidFill>
            <a:srgbClr val="FFFFFF"/>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Segoe UI"/>
                <a:ea typeface="+mn-ea"/>
                <a:cs typeface="+mn-cs"/>
              </a:rPr>
              <a:t>Author</a:t>
            </a:r>
            <a:endParaRPr kumimoji="0" lang="en-GB" sz="16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3620360"/>
      </p:ext>
    </p:extLst>
  </p:cSld>
  <p:clrMapOvr>
    <a:masterClrMapping/>
  </p:clrMapOvr>
  <mc:AlternateContent xmlns:mc="http://schemas.openxmlformats.org/markup-compatibility/2006" xmlns:p14="http://schemas.microsoft.com/office/powerpoint/2010/main">
    <mc:Choice Requires="p14">
      <p:transition spd="med" p14:dur="700" advTm="42418">
        <p:fade/>
      </p:transition>
    </mc:Choice>
    <mc:Fallback xmlns="">
      <p:transition spd="med" advTm="42418">
        <p:fade/>
      </p:transition>
    </mc:Fallback>
  </mc:AlternateContent>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you assign Power BI licenses?</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Options</a:t>
            </a:r>
          </a:p>
          <a:p>
            <a:pPr lvl="2"/>
            <a:r>
              <a:rPr lang="en-GB">
                <a:solidFill>
                  <a:srgbClr val="EDC30D"/>
                </a:solidFill>
              </a:rPr>
              <a:t>Assign All users at release</a:t>
            </a:r>
          </a:p>
          <a:p>
            <a:pPr lvl="2"/>
            <a:r>
              <a:rPr lang="en-GB">
                <a:solidFill>
                  <a:srgbClr val="EDC30D"/>
                </a:solidFill>
              </a:rPr>
              <a:t>Phased rollout to All users over time</a:t>
            </a:r>
          </a:p>
          <a:p>
            <a:pPr lvl="2"/>
            <a:r>
              <a:rPr lang="en-GB">
                <a:solidFill>
                  <a:srgbClr val="EDC30D"/>
                </a:solidFill>
              </a:rPr>
              <a:t>Assignment on Request</a:t>
            </a:r>
          </a:p>
          <a:p>
            <a:pPr lvl="1"/>
            <a:r>
              <a:rPr lang="en-GB" sz="3200">
                <a:solidFill>
                  <a:srgbClr val="EDC30D"/>
                </a:solidFill>
                <a:latin typeface="+mj-lt"/>
              </a:rPr>
              <a:t>Discuss an Approval process</a:t>
            </a:r>
            <a:endParaRPr lang="en-US" sz="3200">
              <a:solidFill>
                <a:srgbClr val="EDC30D"/>
              </a:solidFill>
              <a:latin typeface="+mj-lt"/>
            </a:endParaRPr>
          </a:p>
        </p:txBody>
      </p:sp>
    </p:spTree>
    <p:custDataLst>
      <p:tags r:id="rId1"/>
    </p:custDataLst>
    <p:extLst>
      <p:ext uri="{BB962C8B-B14F-4D97-AF65-F5344CB8AC3E}">
        <p14:creationId xmlns:p14="http://schemas.microsoft.com/office/powerpoint/2010/main" val="1582852914"/>
      </p:ext>
    </p:extLst>
  </p:cSld>
  <p:clrMapOvr>
    <a:masterClrMapping/>
  </p:clrMapOvr>
  <mc:AlternateContent xmlns:mc="http://schemas.openxmlformats.org/markup-compatibility/2006" xmlns:p14="http://schemas.microsoft.com/office/powerpoint/2010/main">
    <mc:Choice Requires="p14">
      <p:transition spd="med" p14:dur="700" advTm="74811">
        <p:fade/>
      </p:transition>
    </mc:Choice>
    <mc:Fallback xmlns="">
      <p:transition spd="med" advTm="74811">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8EC5DB-D239-4549-B63A-29CA4C83EF32}"/>
              </a:ext>
            </a:extLst>
          </p:cNvPr>
          <p:cNvSpPr>
            <a:spLocks noGrp="1"/>
          </p:cNvSpPr>
          <p:nvPr>
            <p:ph type="title"/>
          </p:nvPr>
        </p:nvSpPr>
        <p:spPr/>
        <p:txBody>
          <a:bodyPr/>
          <a:lstStyle/>
          <a:p>
            <a:r>
              <a:rPr lang="en-GB"/>
              <a:t>Why care about Power BI Adoption?</a:t>
            </a:r>
          </a:p>
        </p:txBody>
      </p:sp>
      <p:graphicFrame>
        <p:nvGraphicFramePr>
          <p:cNvPr id="8" name="Content Placeholder 2">
            <a:extLst>
              <a:ext uri="{FF2B5EF4-FFF2-40B4-BE49-F238E27FC236}">
                <a16:creationId xmlns:a16="http://schemas.microsoft.com/office/drawing/2014/main" id="{CE2D0A55-920F-4E85-979A-BD5E525A2A63}"/>
              </a:ext>
            </a:extLst>
          </p:cNvPr>
          <p:cNvGraphicFramePr>
            <a:graphicFrameLocks noGrp="1"/>
          </p:cNvGraphicFramePr>
          <p:nvPr>
            <p:ph idx="4294967295"/>
          </p:nvPr>
        </p:nvGraphicFramePr>
        <p:xfrm>
          <a:off x="0" y="1273175"/>
          <a:ext cx="11652250" cy="50498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6393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6649D4BB-9078-4A63-B98A-D261CB49B459}"/>
                                            </p:graphicEl>
                                          </p:spTgt>
                                        </p:tgtEl>
                                        <p:attrNameLst>
                                          <p:attrName>style.visibility</p:attrName>
                                        </p:attrNameLst>
                                      </p:cBhvr>
                                      <p:to>
                                        <p:strVal val="visible"/>
                                      </p:to>
                                    </p:set>
                                    <p:animEffect transition="in" filter="fade">
                                      <p:cBhvr>
                                        <p:cTn id="7" dur="500"/>
                                        <p:tgtEl>
                                          <p:spTgt spid="8">
                                            <p:graphicEl>
                                              <a:dgm id="{6649D4BB-9078-4A63-B98A-D261CB49B45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DF0FB06A-AACA-4CBE-97E4-863F4C084A33}"/>
                                            </p:graphicEl>
                                          </p:spTgt>
                                        </p:tgtEl>
                                        <p:attrNameLst>
                                          <p:attrName>style.visibility</p:attrName>
                                        </p:attrNameLst>
                                      </p:cBhvr>
                                      <p:to>
                                        <p:strVal val="visible"/>
                                      </p:to>
                                    </p:set>
                                    <p:animEffect transition="in" filter="fade">
                                      <p:cBhvr>
                                        <p:cTn id="10" dur="500"/>
                                        <p:tgtEl>
                                          <p:spTgt spid="8">
                                            <p:graphicEl>
                                              <a:dgm id="{DF0FB06A-AACA-4CBE-97E4-863F4C084A33}"/>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907D3017-1203-415E-90DD-76939E3C7734}"/>
                                            </p:graphicEl>
                                          </p:spTgt>
                                        </p:tgtEl>
                                        <p:attrNameLst>
                                          <p:attrName>style.visibility</p:attrName>
                                        </p:attrNameLst>
                                      </p:cBhvr>
                                      <p:to>
                                        <p:strVal val="visible"/>
                                      </p:to>
                                    </p:set>
                                    <p:animEffect transition="in" filter="fade">
                                      <p:cBhvr>
                                        <p:cTn id="15" dur="500"/>
                                        <p:tgtEl>
                                          <p:spTgt spid="8">
                                            <p:graphicEl>
                                              <a:dgm id="{907D3017-1203-415E-90DD-76939E3C7734}"/>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5EDE808C-7170-4DE1-83F2-2CA0020AA758}"/>
                                            </p:graphicEl>
                                          </p:spTgt>
                                        </p:tgtEl>
                                        <p:attrNameLst>
                                          <p:attrName>style.visibility</p:attrName>
                                        </p:attrNameLst>
                                      </p:cBhvr>
                                      <p:to>
                                        <p:strVal val="visible"/>
                                      </p:to>
                                    </p:set>
                                    <p:animEffect transition="in" filter="fade">
                                      <p:cBhvr>
                                        <p:cTn id="18" dur="500"/>
                                        <p:tgtEl>
                                          <p:spTgt spid="8">
                                            <p:graphicEl>
                                              <a:dgm id="{5EDE808C-7170-4DE1-83F2-2CA0020AA758}"/>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C8DC6501-2CC0-4FEB-9E6C-5EA8B9439192}"/>
                                            </p:graphicEl>
                                          </p:spTgt>
                                        </p:tgtEl>
                                        <p:attrNameLst>
                                          <p:attrName>style.visibility</p:attrName>
                                        </p:attrNameLst>
                                      </p:cBhvr>
                                      <p:to>
                                        <p:strVal val="visible"/>
                                      </p:to>
                                    </p:set>
                                    <p:animEffect transition="in" filter="fade">
                                      <p:cBhvr>
                                        <p:cTn id="23" dur="500"/>
                                        <p:tgtEl>
                                          <p:spTgt spid="8">
                                            <p:graphicEl>
                                              <a:dgm id="{C8DC6501-2CC0-4FEB-9E6C-5EA8B9439192}"/>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0DA93751-4E2F-4EFD-83B6-48672ED5E393}"/>
                                            </p:graphicEl>
                                          </p:spTgt>
                                        </p:tgtEl>
                                        <p:attrNameLst>
                                          <p:attrName>style.visibility</p:attrName>
                                        </p:attrNameLst>
                                      </p:cBhvr>
                                      <p:to>
                                        <p:strVal val="visible"/>
                                      </p:to>
                                    </p:set>
                                    <p:animEffect transition="in" filter="fade">
                                      <p:cBhvr>
                                        <p:cTn id="26" dur="500"/>
                                        <p:tgtEl>
                                          <p:spTgt spid="8">
                                            <p:graphicEl>
                                              <a:dgm id="{0DA93751-4E2F-4EFD-83B6-48672ED5E39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C86822-FA4F-4664-9042-466414D905A9}"/>
              </a:ext>
            </a:extLst>
          </p:cNvPr>
          <p:cNvSpPr>
            <a:spLocks noGrp="1"/>
          </p:cNvSpPr>
          <p:nvPr>
            <p:ph type="title"/>
          </p:nvPr>
        </p:nvSpPr>
        <p:spPr/>
        <p:txBody>
          <a:bodyPr/>
          <a:lstStyle/>
          <a:p>
            <a:r>
              <a:rPr lang="de-DE" sz="4000" err="1"/>
              <a:t>Recommendations</a:t>
            </a:r>
            <a:r>
              <a:rPr lang="de-DE" sz="4000"/>
              <a:t> on Data Culture</a:t>
            </a:r>
          </a:p>
        </p:txBody>
      </p:sp>
      <p:sp>
        <p:nvSpPr>
          <p:cNvPr id="3" name="Textplatzhalter 2">
            <a:extLst>
              <a:ext uri="{FF2B5EF4-FFF2-40B4-BE49-F238E27FC236}">
                <a16:creationId xmlns:a16="http://schemas.microsoft.com/office/drawing/2014/main" id="{9167F469-15E8-4C30-9833-ABD5CEFEB51D}"/>
              </a:ext>
            </a:extLst>
          </p:cNvPr>
          <p:cNvSpPr>
            <a:spLocks noGrp="1"/>
          </p:cNvSpPr>
          <p:nvPr>
            <p:ph type="body" sz="quarter" idx="10"/>
          </p:nvPr>
        </p:nvSpPr>
        <p:spPr>
          <a:xfrm>
            <a:off x="5767420" y="1175995"/>
            <a:ext cx="6019571" cy="4321183"/>
          </a:xfrm>
        </p:spPr>
        <p:txBody>
          <a:bodyPr/>
          <a:lstStyle/>
          <a:p>
            <a:pPr marL="285750" indent="-285750">
              <a:buFont typeface="Arial" panose="020B0604020202020204" pitchFamily="34" charset="0"/>
              <a:buChar char="•"/>
            </a:pPr>
            <a:r>
              <a:rPr lang="de-DE" sz="2400" err="1"/>
              <a:t>Define</a:t>
            </a:r>
            <a:r>
              <a:rPr lang="de-DE" sz="2400"/>
              <a:t> </a:t>
            </a:r>
            <a:r>
              <a:rPr lang="de-DE" sz="2400" err="1"/>
              <a:t>the</a:t>
            </a:r>
            <a:r>
              <a:rPr lang="de-DE" sz="2400"/>
              <a:t> type </a:t>
            </a:r>
            <a:r>
              <a:rPr lang="de-DE" sz="2400" err="1"/>
              <a:t>of</a:t>
            </a:r>
            <a:r>
              <a:rPr lang="de-DE" sz="2400"/>
              <a:t> </a:t>
            </a:r>
            <a:r>
              <a:rPr lang="de-DE" sz="2400" err="1"/>
              <a:t>data</a:t>
            </a:r>
            <a:r>
              <a:rPr lang="de-DE" sz="2400"/>
              <a:t> </a:t>
            </a:r>
            <a:r>
              <a:rPr lang="de-DE" sz="2400" err="1"/>
              <a:t>culture</a:t>
            </a:r>
            <a:r>
              <a:rPr lang="de-DE" sz="2400"/>
              <a:t> </a:t>
            </a:r>
            <a:r>
              <a:rPr lang="de-DE" sz="2400" err="1"/>
              <a:t>for</a:t>
            </a:r>
            <a:r>
              <a:rPr lang="de-DE" sz="2400"/>
              <a:t> </a:t>
            </a:r>
            <a:r>
              <a:rPr lang="de-DE" sz="2400" err="1"/>
              <a:t>your</a:t>
            </a:r>
            <a:r>
              <a:rPr lang="de-DE" sz="2400"/>
              <a:t> </a:t>
            </a:r>
            <a:r>
              <a:rPr lang="de-DE" sz="2400" err="1"/>
              <a:t>organization</a:t>
            </a:r>
            <a:endParaRPr lang="de-DE" sz="2400"/>
          </a:p>
          <a:p>
            <a:pPr marL="285750" indent="-285750">
              <a:buFont typeface="Arial" panose="020B0604020202020204" pitchFamily="34" charset="0"/>
              <a:buChar char="•"/>
            </a:pPr>
            <a:r>
              <a:rPr lang="de-DE" sz="2400"/>
              <a:t>Talk to </a:t>
            </a:r>
            <a:r>
              <a:rPr lang="de-DE" sz="2400" err="1"/>
              <a:t>stakeholders</a:t>
            </a:r>
            <a:r>
              <a:rPr lang="de-DE" sz="2400"/>
              <a:t> in </a:t>
            </a:r>
            <a:r>
              <a:rPr lang="de-DE" sz="2400" err="1"/>
              <a:t>business</a:t>
            </a:r>
            <a:r>
              <a:rPr lang="de-DE" sz="2400"/>
              <a:t> </a:t>
            </a:r>
            <a:r>
              <a:rPr lang="de-DE" sz="2400" err="1"/>
              <a:t>units</a:t>
            </a:r>
            <a:r>
              <a:rPr lang="de-DE" sz="2400"/>
              <a:t> to </a:t>
            </a:r>
            <a:r>
              <a:rPr lang="de-DE" sz="2400" err="1"/>
              <a:t>define</a:t>
            </a:r>
            <a:r>
              <a:rPr lang="de-DE" sz="2400"/>
              <a:t> </a:t>
            </a:r>
            <a:r>
              <a:rPr lang="de-DE" sz="2400" err="1"/>
              <a:t>what</a:t>
            </a:r>
            <a:r>
              <a:rPr lang="de-DE" sz="2400"/>
              <a:t> </a:t>
            </a:r>
            <a:r>
              <a:rPr lang="de-DE" sz="2400" err="1"/>
              <a:t>analytical</a:t>
            </a:r>
            <a:r>
              <a:rPr lang="de-DE" sz="2400"/>
              <a:t> </a:t>
            </a:r>
            <a:r>
              <a:rPr lang="de-DE" sz="2400" err="1"/>
              <a:t>practices</a:t>
            </a:r>
            <a:r>
              <a:rPr lang="de-DE" sz="2400"/>
              <a:t> </a:t>
            </a:r>
            <a:r>
              <a:rPr lang="de-DE" sz="2400" err="1"/>
              <a:t>for</a:t>
            </a:r>
            <a:r>
              <a:rPr lang="de-DE" sz="2400"/>
              <a:t> </a:t>
            </a:r>
            <a:r>
              <a:rPr lang="de-DE" sz="2400" err="1"/>
              <a:t>data-driven</a:t>
            </a:r>
            <a:r>
              <a:rPr lang="de-DE" sz="2400"/>
              <a:t> </a:t>
            </a:r>
            <a:r>
              <a:rPr lang="de-DE" sz="2400" err="1"/>
              <a:t>decisions</a:t>
            </a:r>
            <a:r>
              <a:rPr lang="de-DE" sz="2400"/>
              <a:t> </a:t>
            </a:r>
            <a:r>
              <a:rPr lang="de-DE" sz="2400" err="1"/>
              <a:t>are</a:t>
            </a:r>
            <a:r>
              <a:rPr lang="de-DE" sz="2400"/>
              <a:t> </a:t>
            </a:r>
            <a:r>
              <a:rPr lang="de-DE" sz="2400" err="1"/>
              <a:t>currently</a:t>
            </a:r>
            <a:r>
              <a:rPr lang="de-DE" sz="2400"/>
              <a:t> </a:t>
            </a:r>
            <a:r>
              <a:rPr lang="de-DE" sz="2400" err="1"/>
              <a:t>used</a:t>
            </a:r>
            <a:r>
              <a:rPr lang="de-DE" sz="2400"/>
              <a:t> </a:t>
            </a:r>
          </a:p>
          <a:p>
            <a:pPr marL="285750" indent="-285750">
              <a:buFont typeface="Arial" panose="020B0604020202020204" pitchFamily="34" charset="0"/>
              <a:buChar char="•"/>
            </a:pPr>
            <a:r>
              <a:rPr lang="de-DE" sz="2400"/>
              <a:t>Talk to </a:t>
            </a:r>
            <a:r>
              <a:rPr lang="de-DE" sz="2400" err="1"/>
              <a:t>stakeholders</a:t>
            </a:r>
            <a:r>
              <a:rPr lang="de-DE" sz="2400"/>
              <a:t> in IT, BI, and/</a:t>
            </a:r>
            <a:r>
              <a:rPr lang="de-DE" sz="2400" err="1"/>
              <a:t>or</a:t>
            </a:r>
            <a:r>
              <a:rPr lang="de-DE" sz="2400"/>
              <a:t> </a:t>
            </a:r>
            <a:r>
              <a:rPr lang="de-DE" sz="2400" err="1"/>
              <a:t>CoE</a:t>
            </a:r>
            <a:r>
              <a:rPr lang="de-DE" sz="2400"/>
              <a:t> to </a:t>
            </a:r>
            <a:r>
              <a:rPr lang="de-DE" sz="2400" err="1"/>
              <a:t>understand</a:t>
            </a:r>
            <a:r>
              <a:rPr lang="de-DE" sz="2400"/>
              <a:t> </a:t>
            </a:r>
            <a:r>
              <a:rPr lang="de-DE" sz="2400" err="1"/>
              <a:t>governance</a:t>
            </a:r>
            <a:r>
              <a:rPr lang="de-DE" sz="2400"/>
              <a:t> </a:t>
            </a:r>
            <a:r>
              <a:rPr lang="de-DE" sz="2400" err="1"/>
              <a:t>constraints</a:t>
            </a:r>
            <a:r>
              <a:rPr lang="de-DE" sz="2400"/>
              <a:t>.</a:t>
            </a:r>
          </a:p>
          <a:p>
            <a:pPr marL="285750" indent="-285750">
              <a:buFont typeface="Arial" panose="020B0604020202020204" pitchFamily="34" charset="0"/>
              <a:buChar char="•"/>
            </a:pPr>
            <a:r>
              <a:rPr lang="de-DE" sz="2400" err="1"/>
              <a:t>Verify</a:t>
            </a:r>
            <a:r>
              <a:rPr lang="de-DE" sz="2400"/>
              <a:t> </a:t>
            </a:r>
            <a:r>
              <a:rPr lang="de-DE" sz="2400" err="1"/>
              <a:t>the</a:t>
            </a:r>
            <a:r>
              <a:rPr lang="de-DE" sz="2400"/>
              <a:t> </a:t>
            </a:r>
            <a:r>
              <a:rPr lang="de-DE" sz="2400" err="1"/>
              <a:t>level</a:t>
            </a:r>
            <a:r>
              <a:rPr lang="de-DE" sz="2400"/>
              <a:t> </a:t>
            </a:r>
            <a:r>
              <a:rPr lang="de-DE" sz="2400" err="1"/>
              <a:t>of</a:t>
            </a:r>
            <a:r>
              <a:rPr lang="de-DE" sz="2400"/>
              <a:t> </a:t>
            </a:r>
            <a:r>
              <a:rPr lang="de-DE" sz="2400" err="1"/>
              <a:t>executive</a:t>
            </a:r>
            <a:r>
              <a:rPr lang="de-DE" sz="2400"/>
              <a:t> </a:t>
            </a:r>
            <a:r>
              <a:rPr lang="de-DE" sz="2400" err="1"/>
              <a:t>sponsorship</a:t>
            </a:r>
            <a:r>
              <a:rPr lang="de-DE" sz="2400"/>
              <a:t>.</a:t>
            </a:r>
          </a:p>
          <a:p>
            <a:pPr marL="285750" indent="-285750">
              <a:buFont typeface="Arial" panose="020B0604020202020204" pitchFamily="34" charset="0"/>
              <a:buChar char="•"/>
            </a:pPr>
            <a:r>
              <a:rPr lang="de-DE" sz="2400" err="1"/>
              <a:t>Define</a:t>
            </a:r>
            <a:r>
              <a:rPr lang="de-DE" sz="2400"/>
              <a:t> </a:t>
            </a:r>
            <a:r>
              <a:rPr lang="de-DE" sz="2400" err="1"/>
              <a:t>purposeful</a:t>
            </a:r>
            <a:r>
              <a:rPr lang="de-DE" sz="2400"/>
              <a:t> BI </a:t>
            </a:r>
            <a:r>
              <a:rPr lang="de-DE" sz="2400" err="1"/>
              <a:t>strategy</a:t>
            </a:r>
            <a:r>
              <a:rPr lang="de-DE" sz="2400"/>
              <a:t>.</a:t>
            </a:r>
          </a:p>
          <a:p>
            <a:pPr marL="285750" indent="-285750">
              <a:buFont typeface="Arial" panose="020B0604020202020204" pitchFamily="34" charset="0"/>
              <a:buChar char="•"/>
            </a:pPr>
            <a:r>
              <a:rPr lang="de-DE" sz="2400" err="1"/>
              <a:t>Develop</a:t>
            </a:r>
            <a:r>
              <a:rPr lang="de-DE" sz="2400"/>
              <a:t> an </a:t>
            </a:r>
            <a:r>
              <a:rPr lang="de-DE" sz="2400" err="1"/>
              <a:t>action</a:t>
            </a:r>
            <a:r>
              <a:rPr lang="de-DE" sz="2400"/>
              <a:t> plan </a:t>
            </a:r>
            <a:r>
              <a:rPr lang="de-DE" sz="2400" err="1"/>
              <a:t>for</a:t>
            </a:r>
            <a:r>
              <a:rPr lang="de-DE" sz="2400"/>
              <a:t> immediate, </a:t>
            </a:r>
            <a:r>
              <a:rPr lang="de-DE" sz="2400" err="1"/>
              <a:t>short</a:t>
            </a:r>
            <a:r>
              <a:rPr lang="de-DE" sz="2400"/>
              <a:t>-term, and </a:t>
            </a:r>
            <a:r>
              <a:rPr lang="de-DE" sz="2400" err="1"/>
              <a:t>long</a:t>
            </a:r>
            <a:r>
              <a:rPr lang="de-DE" sz="2400"/>
              <a:t>-term </a:t>
            </a:r>
            <a:r>
              <a:rPr lang="de-DE" sz="2400" err="1"/>
              <a:t>action</a:t>
            </a:r>
            <a:r>
              <a:rPr lang="de-DE" sz="2400"/>
              <a:t> </a:t>
            </a:r>
            <a:r>
              <a:rPr lang="de-DE" sz="2400" err="1"/>
              <a:t>items</a:t>
            </a:r>
            <a:r>
              <a:rPr lang="de-DE" sz="2400"/>
              <a:t>.</a:t>
            </a:r>
          </a:p>
        </p:txBody>
      </p:sp>
    </p:spTree>
    <p:extLst>
      <p:ext uri="{BB962C8B-B14F-4D97-AF65-F5344CB8AC3E}">
        <p14:creationId xmlns:p14="http://schemas.microsoft.com/office/powerpoint/2010/main" val="27613338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ow will you assign Power BI licenses?</a:t>
            </a:r>
          </a:p>
        </p:txBody>
      </p:sp>
      <p:sp>
        <p:nvSpPr>
          <p:cNvPr id="4" name="Text Placeholder 1">
            <a:extLst>
              <a:ext uri="{FF2B5EF4-FFF2-40B4-BE49-F238E27FC236}">
                <a16:creationId xmlns:a16="http://schemas.microsoft.com/office/drawing/2014/main" id="{C8664854-5CAC-432C-82E3-1B8048F37B21}"/>
              </a:ext>
            </a:extLst>
          </p:cNvPr>
          <p:cNvSpPr>
            <a:spLocks noGrp="1"/>
          </p:cNvSpPr>
          <p:nvPr>
            <p:ph type="body" sz="quarter" idx="10"/>
          </p:nvPr>
        </p:nvSpPr>
        <p:spPr/>
        <p:txBody>
          <a:bodyPr/>
          <a:lstStyle/>
          <a:p>
            <a:r>
              <a:rPr lang="en-GB"/>
              <a:t>Options</a:t>
            </a:r>
          </a:p>
          <a:p>
            <a:pPr lvl="2"/>
            <a:r>
              <a:rPr lang="en-GB">
                <a:solidFill>
                  <a:srgbClr val="EDC30D"/>
                </a:solidFill>
              </a:rPr>
              <a:t>Assign All users at release</a:t>
            </a:r>
          </a:p>
          <a:p>
            <a:pPr lvl="2"/>
            <a:r>
              <a:rPr lang="en-GB">
                <a:solidFill>
                  <a:srgbClr val="EDC30D"/>
                </a:solidFill>
              </a:rPr>
              <a:t>Phased rollout to All users over time</a:t>
            </a:r>
          </a:p>
          <a:p>
            <a:pPr lvl="2"/>
            <a:r>
              <a:rPr lang="en-GB">
                <a:solidFill>
                  <a:srgbClr val="EDC30D"/>
                </a:solidFill>
              </a:rPr>
              <a:t>Assignment on Request</a:t>
            </a:r>
          </a:p>
          <a:p>
            <a:pPr lvl="1"/>
            <a:r>
              <a:rPr lang="en-GB" sz="3200">
                <a:solidFill>
                  <a:srgbClr val="EDC30D"/>
                </a:solidFill>
                <a:latin typeface="+mj-lt"/>
              </a:rPr>
              <a:t>Discuss an Approval process</a:t>
            </a:r>
            <a:endParaRPr lang="en-US" sz="3200">
              <a:solidFill>
                <a:srgbClr val="EDC30D"/>
              </a:solidFill>
              <a:latin typeface="+mj-lt"/>
            </a:endParaRPr>
          </a:p>
        </p:txBody>
      </p:sp>
    </p:spTree>
    <p:custDataLst>
      <p:tags r:id="rId1"/>
    </p:custDataLst>
    <p:extLst>
      <p:ext uri="{BB962C8B-B14F-4D97-AF65-F5344CB8AC3E}">
        <p14:creationId xmlns:p14="http://schemas.microsoft.com/office/powerpoint/2010/main" val="1351562223"/>
      </p:ext>
    </p:extLst>
  </p:cSld>
  <p:clrMapOvr>
    <a:masterClrMapping/>
  </p:clrMapOvr>
  <mc:AlternateContent xmlns:mc="http://schemas.openxmlformats.org/markup-compatibility/2006" xmlns:p14="http://schemas.microsoft.com/office/powerpoint/2010/main">
    <mc:Choice Requires="p14">
      <p:transition spd="med" p14:dur="700" advTm="74811">
        <p:fade/>
      </p:transition>
    </mc:Choice>
    <mc:Fallback xmlns="">
      <p:transition spd="med" advTm="74811">
        <p:fade/>
      </p:transition>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3A43D-C524-4473-B982-52CDFFE2BD82}"/>
              </a:ext>
            </a:extLst>
          </p:cNvPr>
          <p:cNvSpPr>
            <a:spLocks noGrp="1"/>
          </p:cNvSpPr>
          <p:nvPr>
            <p:ph type="title"/>
          </p:nvPr>
        </p:nvSpPr>
        <p:spPr/>
        <p:txBody>
          <a:bodyPr/>
          <a:lstStyle/>
          <a:p>
            <a:r>
              <a:rPr lang="en-GB"/>
              <a:t>What licences are required by role?</a:t>
            </a:r>
            <a:endParaRPr lang="en-US"/>
          </a:p>
        </p:txBody>
      </p:sp>
      <p:sp>
        <p:nvSpPr>
          <p:cNvPr id="3" name="Text Placeholder 2">
            <a:extLst>
              <a:ext uri="{FF2B5EF4-FFF2-40B4-BE49-F238E27FC236}">
                <a16:creationId xmlns:a16="http://schemas.microsoft.com/office/drawing/2014/main" id="{56BC4C9C-ED5C-40FD-BBA1-810D01DEA491}"/>
              </a:ext>
            </a:extLst>
          </p:cNvPr>
          <p:cNvSpPr>
            <a:spLocks noGrp="1"/>
          </p:cNvSpPr>
          <p:nvPr>
            <p:ph type="body" sz="quarter" idx="10"/>
          </p:nvPr>
        </p:nvSpPr>
        <p:spPr/>
        <p:txBody>
          <a:bodyPr/>
          <a:lstStyle/>
          <a:p>
            <a:endParaRPr lang="en-GB"/>
          </a:p>
        </p:txBody>
      </p:sp>
      <p:graphicFrame>
        <p:nvGraphicFramePr>
          <p:cNvPr id="2" name="Table 1">
            <a:extLst>
              <a:ext uri="{FF2B5EF4-FFF2-40B4-BE49-F238E27FC236}">
                <a16:creationId xmlns:a16="http://schemas.microsoft.com/office/drawing/2014/main" id="{59B4E1F0-4605-471E-AFEE-B170212BF68D}"/>
              </a:ext>
            </a:extLst>
          </p:cNvPr>
          <p:cNvGraphicFramePr>
            <a:graphicFrameLocks noGrp="1"/>
          </p:cNvGraphicFramePr>
          <p:nvPr/>
        </p:nvGraphicFramePr>
        <p:xfrm>
          <a:off x="269238" y="1247072"/>
          <a:ext cx="11655840" cy="4366653"/>
        </p:xfrm>
        <a:graphic>
          <a:graphicData uri="http://schemas.openxmlformats.org/drawingml/2006/table">
            <a:tbl>
              <a:tblPr firstRow="1" bandRow="1">
                <a:tableStyleId>{F5AB1C69-6EDB-4FF4-983F-18BD219EF322}</a:tableStyleId>
              </a:tblPr>
              <a:tblGrid>
                <a:gridCol w="2807594">
                  <a:extLst>
                    <a:ext uri="{9D8B030D-6E8A-4147-A177-3AD203B41FA5}">
                      <a16:colId xmlns:a16="http://schemas.microsoft.com/office/drawing/2014/main" val="519669272"/>
                    </a:ext>
                  </a:extLst>
                </a:gridCol>
                <a:gridCol w="1779373">
                  <a:extLst>
                    <a:ext uri="{9D8B030D-6E8A-4147-A177-3AD203B41FA5}">
                      <a16:colId xmlns:a16="http://schemas.microsoft.com/office/drawing/2014/main" val="277234858"/>
                    </a:ext>
                  </a:extLst>
                </a:gridCol>
                <a:gridCol w="1853514">
                  <a:extLst>
                    <a:ext uri="{9D8B030D-6E8A-4147-A177-3AD203B41FA5}">
                      <a16:colId xmlns:a16="http://schemas.microsoft.com/office/drawing/2014/main" val="931492837"/>
                    </a:ext>
                  </a:extLst>
                </a:gridCol>
                <a:gridCol w="5215359">
                  <a:extLst>
                    <a:ext uri="{9D8B030D-6E8A-4147-A177-3AD203B41FA5}">
                      <a16:colId xmlns:a16="http://schemas.microsoft.com/office/drawing/2014/main" val="3973767849"/>
                    </a:ext>
                  </a:extLst>
                </a:gridCol>
              </a:tblGrid>
              <a:tr h="402341">
                <a:tc>
                  <a:txBody>
                    <a:bodyPr/>
                    <a:lstStyle/>
                    <a:p>
                      <a:r>
                        <a:rPr lang="en-GB" sz="2000"/>
                        <a:t>Role</a:t>
                      </a:r>
                      <a:endParaRPr lang="en-US" sz="2000"/>
                    </a:p>
                  </a:txBody>
                  <a:tcPr/>
                </a:tc>
                <a:tc>
                  <a:txBody>
                    <a:bodyPr/>
                    <a:lstStyle/>
                    <a:p>
                      <a:r>
                        <a:rPr lang="en-GB" sz="2000"/>
                        <a:t>License</a:t>
                      </a:r>
                      <a:endParaRPr lang="en-US" sz="2000"/>
                    </a:p>
                  </a:txBody>
                  <a:tcPr/>
                </a:tc>
                <a:tc>
                  <a:txBody>
                    <a:bodyPr/>
                    <a:lstStyle/>
                    <a:p>
                      <a:r>
                        <a:rPr lang="en-GB" sz="2000"/>
                        <a:t>Desktop</a:t>
                      </a:r>
                      <a:endParaRPr lang="en-US" sz="2000"/>
                    </a:p>
                  </a:txBody>
                  <a:tcPr/>
                </a:tc>
                <a:tc>
                  <a:txBody>
                    <a:bodyPr/>
                    <a:lstStyle/>
                    <a:p>
                      <a:r>
                        <a:rPr lang="en-GB" sz="2000"/>
                        <a:t>Information</a:t>
                      </a:r>
                      <a:endParaRPr lang="en-US" sz="2000"/>
                    </a:p>
                  </a:txBody>
                  <a:tcPr/>
                </a:tc>
                <a:extLst>
                  <a:ext uri="{0D108BD9-81ED-4DB2-BD59-A6C34878D82A}">
                    <a16:rowId xmlns:a16="http://schemas.microsoft.com/office/drawing/2014/main" val="168812664"/>
                  </a:ext>
                </a:extLst>
              </a:tr>
              <a:tr h="649936">
                <a:tc>
                  <a:txBody>
                    <a:bodyPr/>
                    <a:lstStyle/>
                    <a:p>
                      <a:pPr marL="0" indent="0">
                        <a:buFont typeface="Arial" panose="020B0604020202020204" pitchFamily="34" charset="0"/>
                        <a:buNone/>
                      </a:pPr>
                      <a:r>
                        <a:rPr lang="en-GB" sz="1600">
                          <a:latin typeface="+mj-lt"/>
                        </a:rPr>
                        <a:t>Consumer (with Premium)</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Free</a:t>
                      </a:r>
                      <a:endParaRPr lang="en-US" sz="1600" b="1">
                        <a:latin typeface="+mj-lt"/>
                      </a:endParaRPr>
                    </a:p>
                  </a:txBody>
                  <a:tcPr/>
                </a:tc>
                <a:tc>
                  <a:txBody>
                    <a:bodyPr/>
                    <a:lstStyle/>
                    <a:p>
                      <a:pPr marL="0" indent="0">
                        <a:buFont typeface="Arial" panose="020B0604020202020204" pitchFamily="34" charset="0"/>
                        <a:buNone/>
                      </a:pPr>
                      <a:r>
                        <a:rPr lang="en-GB" sz="1600" b="0">
                          <a:latin typeface="+mj-lt"/>
                        </a:rPr>
                        <a:t>No</a:t>
                      </a:r>
                      <a:endParaRPr lang="en-US" sz="1600" b="0">
                        <a:latin typeface="+mj-lt"/>
                      </a:endParaRPr>
                    </a:p>
                  </a:txBody>
                  <a:tcPr/>
                </a:tc>
                <a:tc>
                  <a:txBody>
                    <a:bodyPr/>
                    <a:lstStyle/>
                    <a:p>
                      <a:pPr marL="285750" lvl="0" indent="-285750">
                        <a:buFont typeface="Arial" panose="020B0604020202020204" pitchFamily="34" charset="0"/>
                        <a:buChar char="•"/>
                      </a:pPr>
                      <a:r>
                        <a:rPr lang="en-GB" sz="1600" kern="1200">
                          <a:solidFill>
                            <a:schemeClr val="dk1"/>
                          </a:solidFill>
                          <a:effectLst/>
                          <a:latin typeface="+mj-lt"/>
                          <a:ea typeface="+mn-ea"/>
                          <a:cs typeface="+mn-cs"/>
                        </a:rPr>
                        <a:t>Uses Power BI Service</a:t>
                      </a:r>
                    </a:p>
                    <a:p>
                      <a:pPr marL="285750" lvl="0" indent="-285750">
                        <a:buFont typeface="Arial" panose="020B0604020202020204" pitchFamily="34" charset="0"/>
                        <a:buChar char="•"/>
                      </a:pPr>
                      <a:r>
                        <a:rPr lang="en-GB" sz="1600" kern="1200">
                          <a:solidFill>
                            <a:schemeClr val="dk1"/>
                          </a:solidFill>
                          <a:effectLst/>
                          <a:latin typeface="+mj-lt"/>
                          <a:ea typeface="+mn-ea"/>
                          <a:cs typeface="+mn-cs"/>
                        </a:rPr>
                        <a:t>Only consumes content created by others</a:t>
                      </a:r>
                      <a:endParaRPr lang="en-US" sz="1600" kern="1200">
                        <a:solidFill>
                          <a:schemeClr val="dk1"/>
                        </a:solidFill>
                        <a:effectLst/>
                        <a:latin typeface="+mj-lt"/>
                        <a:ea typeface="+mn-ea"/>
                        <a:cs typeface="+mn-cs"/>
                      </a:endParaRPr>
                    </a:p>
                  </a:txBody>
                  <a:tcPr/>
                </a:tc>
                <a:extLst>
                  <a:ext uri="{0D108BD9-81ED-4DB2-BD59-A6C34878D82A}">
                    <a16:rowId xmlns:a16="http://schemas.microsoft.com/office/drawing/2014/main" val="2464792612"/>
                  </a:ext>
                </a:extLst>
              </a:tr>
              <a:tr h="649936">
                <a:tc>
                  <a:txBody>
                    <a:bodyPr/>
                    <a:lstStyle/>
                    <a:p>
                      <a:pPr marL="0" indent="0">
                        <a:buFont typeface="Arial" panose="020B0604020202020204" pitchFamily="34" charset="0"/>
                        <a:buNone/>
                      </a:pPr>
                      <a:r>
                        <a:rPr lang="en-GB" sz="1600">
                          <a:latin typeface="+mj-lt"/>
                        </a:rPr>
                        <a:t>Consumer</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b="1">
                        <a:latin typeface="+mj-lt"/>
                      </a:endParaRPr>
                    </a:p>
                  </a:txBody>
                  <a:tcPr/>
                </a:tc>
                <a:tc>
                  <a:txBody>
                    <a:bodyPr/>
                    <a:lstStyle/>
                    <a:p>
                      <a:pPr marL="0" indent="0">
                        <a:buFont typeface="Arial" panose="020B0604020202020204" pitchFamily="34" charset="0"/>
                        <a:buNone/>
                      </a:pPr>
                      <a:r>
                        <a:rPr lang="en-GB" sz="1600" b="0">
                          <a:latin typeface="+mj-lt"/>
                        </a:rPr>
                        <a:t>No</a:t>
                      </a:r>
                      <a:endParaRPr lang="en-US" sz="1600" b="0">
                        <a:latin typeface="+mj-lt"/>
                      </a:endParaRPr>
                    </a:p>
                  </a:txBody>
                  <a:tcPr/>
                </a:tc>
                <a:tc>
                  <a:txBody>
                    <a:bodyPr/>
                    <a:lstStyle/>
                    <a:p>
                      <a:pPr marL="285750" lvl="0" indent="-285750">
                        <a:buFont typeface="Arial" panose="020B0604020202020204" pitchFamily="34" charset="0"/>
                        <a:buChar char="•"/>
                      </a:pPr>
                      <a:r>
                        <a:rPr lang="en-GB" sz="1600" kern="1200">
                          <a:solidFill>
                            <a:schemeClr val="dk1"/>
                          </a:solidFill>
                          <a:effectLst/>
                          <a:latin typeface="+mj-lt"/>
                          <a:ea typeface="+mn-ea"/>
                          <a:cs typeface="+mn-cs"/>
                        </a:rPr>
                        <a:t>Uses Power BI Service</a:t>
                      </a:r>
                    </a:p>
                    <a:p>
                      <a:pPr marL="285750" lvl="0" indent="-285750">
                        <a:buFont typeface="Arial" panose="020B0604020202020204" pitchFamily="34" charset="0"/>
                        <a:buChar char="•"/>
                      </a:pPr>
                      <a:r>
                        <a:rPr lang="en-GB" sz="1600" kern="1200">
                          <a:solidFill>
                            <a:schemeClr val="dk1"/>
                          </a:solidFill>
                          <a:effectLst/>
                          <a:latin typeface="+mj-lt"/>
                          <a:ea typeface="+mn-ea"/>
                          <a:cs typeface="+mn-cs"/>
                        </a:rPr>
                        <a:t>Only consumes content created by others</a:t>
                      </a:r>
                      <a:endParaRPr lang="en-US" sz="1600" kern="1200">
                        <a:solidFill>
                          <a:schemeClr val="dk1"/>
                        </a:solidFill>
                        <a:effectLst/>
                        <a:latin typeface="+mj-lt"/>
                        <a:ea typeface="+mn-ea"/>
                        <a:cs typeface="+mn-cs"/>
                      </a:endParaRPr>
                    </a:p>
                  </a:txBody>
                  <a:tcPr/>
                </a:tc>
                <a:extLst>
                  <a:ext uri="{0D108BD9-81ED-4DB2-BD59-A6C34878D82A}">
                    <a16:rowId xmlns:a16="http://schemas.microsoft.com/office/drawing/2014/main" val="1022461766"/>
                  </a:ext>
                </a:extLst>
              </a:tr>
              <a:tr h="376550">
                <a:tc>
                  <a:txBody>
                    <a:bodyPr/>
                    <a:lstStyle/>
                    <a:p>
                      <a:pPr marL="0" indent="0">
                        <a:buFont typeface="Arial" panose="020B0604020202020204" pitchFamily="34" charset="0"/>
                        <a:buNone/>
                      </a:pPr>
                      <a:r>
                        <a:rPr lang="en-GB" sz="1600">
                          <a:latin typeface="+mj-lt"/>
                        </a:rPr>
                        <a:t>Analyst</a:t>
                      </a:r>
                      <a:endParaRPr lang="en-US" sz="160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lvl="0" indent="-285750">
                        <a:buFont typeface="Arial" panose="020B0604020202020204" pitchFamily="34" charset="0"/>
                        <a:buChar char="•"/>
                      </a:pPr>
                      <a:r>
                        <a:rPr lang="en-GB" sz="1600">
                          <a:latin typeface="+mj-lt"/>
                        </a:rPr>
                        <a:t>Creates and shares content</a:t>
                      </a:r>
                      <a:endParaRPr lang="en-US" sz="1600">
                        <a:latin typeface="+mj-lt"/>
                      </a:endParaRPr>
                    </a:p>
                  </a:txBody>
                  <a:tcPr/>
                </a:tc>
                <a:extLst>
                  <a:ext uri="{0D108BD9-81ED-4DB2-BD59-A6C34878D82A}">
                    <a16:rowId xmlns:a16="http://schemas.microsoft.com/office/drawing/2014/main" val="2363728252"/>
                  </a:ext>
                </a:extLst>
              </a:tr>
              <a:tr h="376550">
                <a:tc>
                  <a:txBody>
                    <a:bodyPr/>
                    <a:lstStyle/>
                    <a:p>
                      <a:pPr marL="0" indent="0">
                        <a:buFont typeface="Arial" panose="020B0604020202020204" pitchFamily="34" charset="0"/>
                        <a:buNone/>
                      </a:pPr>
                      <a:r>
                        <a:rPr lang="en-GB" sz="1600" b="0">
                          <a:latin typeface="+mj-lt"/>
                        </a:rPr>
                        <a:t>Power User</a:t>
                      </a:r>
                      <a:endParaRPr lang="en-US" sz="1600" b="0">
                        <a:latin typeface="+mj-lt"/>
                      </a:endParaRP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Creates and shares content</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88434173"/>
                  </a:ext>
                </a:extLst>
              </a:tr>
              <a:tr h="376550">
                <a:tc>
                  <a:txBody>
                    <a:bodyPr/>
                    <a:lstStyle/>
                    <a:p>
                      <a:pPr marL="0" indent="0">
                        <a:buFont typeface="Arial" panose="020B0604020202020204" pitchFamily="34" charset="0"/>
                        <a:buNone/>
                      </a:pPr>
                      <a:r>
                        <a:rPr lang="en-GB" sz="1600" b="0">
                          <a:latin typeface="+mj-lt"/>
                        </a:rPr>
                        <a:t>BI Develop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Creates and shares content</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3836562004"/>
                  </a:ext>
                </a:extLst>
              </a:tr>
              <a:tr h="376550">
                <a:tc>
                  <a:txBody>
                    <a:bodyPr/>
                    <a:lstStyle/>
                    <a:p>
                      <a:pPr marL="0" indent="0">
                        <a:buFont typeface="Arial" panose="020B0604020202020204" pitchFamily="34" charset="0"/>
                        <a:buNone/>
                      </a:pPr>
                      <a:r>
                        <a:rPr lang="en-GB" sz="1600" b="0">
                          <a:latin typeface="+mj-lt"/>
                        </a:rPr>
                        <a:t>Web / App Develop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Free</a:t>
                      </a:r>
                      <a:endParaRPr lang="en-US" sz="1600">
                        <a:latin typeface="+mj-lt"/>
                      </a:endParaRPr>
                    </a:p>
                  </a:txBody>
                  <a:tcPr/>
                </a:tc>
                <a:tc>
                  <a:txBody>
                    <a:bodyPr/>
                    <a:lstStyle/>
                    <a:p>
                      <a:pPr marL="0" indent="0">
                        <a:buFont typeface="Arial" panose="020B0604020202020204" pitchFamily="34" charset="0"/>
                        <a:buNone/>
                      </a:pPr>
                      <a:r>
                        <a:rPr lang="en-GB" sz="1600">
                          <a:latin typeface="+mj-lt"/>
                        </a:rPr>
                        <a:t>No</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Embeds content in apps created by oth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Generally uses a single user for all embedded solutions</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2795466053"/>
                  </a:ext>
                </a:extLst>
              </a:tr>
              <a:tr h="376550">
                <a:tc>
                  <a:txBody>
                    <a:bodyPr/>
                    <a:lstStyle/>
                    <a:p>
                      <a:pPr marL="0" indent="0">
                        <a:buFont typeface="Arial" panose="020B0604020202020204" pitchFamily="34" charset="0"/>
                        <a:buNone/>
                      </a:pPr>
                      <a:r>
                        <a:rPr lang="en-GB" sz="1600" b="0">
                          <a:latin typeface="+mj-lt"/>
                        </a:rPr>
                        <a:t>IT Operations User</a:t>
                      </a:r>
                    </a:p>
                  </a:txBody>
                  <a:tcPr/>
                </a:tc>
                <a:tc>
                  <a:txBody>
                    <a:bodyPr/>
                    <a:lstStyle/>
                    <a:p>
                      <a:pPr marL="0" indent="0">
                        <a:buFont typeface="Arial" panose="020B0604020202020204" pitchFamily="34" charset="0"/>
                        <a:buNone/>
                      </a:pPr>
                      <a:r>
                        <a:rPr lang="en-GB" sz="1600">
                          <a:latin typeface="+mj-lt"/>
                        </a:rPr>
                        <a:t>Power BI </a:t>
                      </a:r>
                      <a:r>
                        <a:rPr lang="en-GB" sz="1600" b="1" kern="1200">
                          <a:solidFill>
                            <a:schemeClr val="dk1"/>
                          </a:solidFill>
                          <a:latin typeface="+mj-lt"/>
                          <a:ea typeface="+mn-ea"/>
                          <a:cs typeface="+mn-cs"/>
                        </a:rPr>
                        <a:t>Pro</a:t>
                      </a:r>
                      <a:endParaRPr lang="en-US" sz="1600" b="1" kern="1200">
                        <a:solidFill>
                          <a:schemeClr val="dk1"/>
                        </a:solidFill>
                        <a:latin typeface="+mj-lt"/>
                        <a:ea typeface="+mn-ea"/>
                        <a:cs typeface="+mn-cs"/>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Requires Power BI Administrator role in Office 365</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3745824313"/>
                  </a:ext>
                </a:extLst>
              </a:tr>
              <a:tr h="376550">
                <a:tc>
                  <a:txBody>
                    <a:bodyPr/>
                    <a:lstStyle/>
                    <a:p>
                      <a:pPr marL="0" indent="0">
                        <a:buFont typeface="Arial" panose="020B0604020202020204" pitchFamily="34" charset="0"/>
                        <a:buNone/>
                      </a:pPr>
                      <a:r>
                        <a:rPr lang="en-GB" sz="1600" b="0">
                          <a:latin typeface="+mj-lt"/>
                        </a:rPr>
                        <a:t>IT Support User</a:t>
                      </a:r>
                    </a:p>
                  </a:txBody>
                  <a:tcPr/>
                </a:tc>
                <a:tc>
                  <a:txBody>
                    <a:bodyPr/>
                    <a:lstStyle/>
                    <a:p>
                      <a:pPr marL="0" indent="0">
                        <a:buFont typeface="Arial" panose="020B0604020202020204" pitchFamily="34" charset="0"/>
                        <a:buNone/>
                      </a:pPr>
                      <a:r>
                        <a:rPr lang="en-GB" sz="1600">
                          <a:latin typeface="+mj-lt"/>
                        </a:rPr>
                        <a:t>Power BI </a:t>
                      </a:r>
                      <a:r>
                        <a:rPr lang="en-GB" sz="1600" b="1">
                          <a:latin typeface="+mj-lt"/>
                        </a:rPr>
                        <a:t>Pro</a:t>
                      </a:r>
                      <a:endParaRPr lang="en-US" sz="1600">
                        <a:latin typeface="+mj-lt"/>
                      </a:endParaRPr>
                    </a:p>
                  </a:txBody>
                  <a:tcPr/>
                </a:tc>
                <a:tc>
                  <a:txBody>
                    <a:bodyPr/>
                    <a:lstStyle/>
                    <a:p>
                      <a:pPr marL="0" indent="0">
                        <a:buFont typeface="Arial" panose="020B0604020202020204" pitchFamily="34" charset="0"/>
                        <a:buNone/>
                      </a:pPr>
                      <a:r>
                        <a:rPr lang="en-GB" sz="1600">
                          <a:latin typeface="+mj-lt"/>
                        </a:rPr>
                        <a:t>Yes</a:t>
                      </a:r>
                    </a:p>
                  </a:txBody>
                  <a:tcPr/>
                </a:tc>
                <a:tc>
                  <a:txBody>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Light"/>
                          <a:ea typeface="+mn-ea"/>
                          <a:cs typeface="+mn-cs"/>
                        </a:rPr>
                        <a:t>Will look at existing solutions and likely debug in Desktop</a:t>
                      </a:r>
                      <a:endParaRPr kumimoji="0" lang="en-US" sz="1600" b="0" i="0" u="none" strike="noStrike" kern="1200" cap="none" spc="0" normalizeH="0" baseline="0" noProof="0">
                        <a:ln>
                          <a:noFill/>
                        </a:ln>
                        <a:solidFill>
                          <a:prstClr val="black"/>
                        </a:solidFill>
                        <a:effectLst/>
                        <a:uLnTx/>
                        <a:uFillTx/>
                        <a:latin typeface="Segoe UI Light"/>
                        <a:ea typeface="+mn-ea"/>
                        <a:cs typeface="+mn-cs"/>
                      </a:endParaRPr>
                    </a:p>
                  </a:txBody>
                  <a:tcPr/>
                </a:tc>
                <a:extLst>
                  <a:ext uri="{0D108BD9-81ED-4DB2-BD59-A6C34878D82A}">
                    <a16:rowId xmlns:a16="http://schemas.microsoft.com/office/drawing/2014/main" val="148475659"/>
                  </a:ext>
                </a:extLst>
              </a:tr>
            </a:tbl>
          </a:graphicData>
        </a:graphic>
      </p:graphicFrame>
    </p:spTree>
    <p:extLst>
      <p:ext uri="{BB962C8B-B14F-4D97-AF65-F5344CB8AC3E}">
        <p14:creationId xmlns:p14="http://schemas.microsoft.com/office/powerpoint/2010/main" val="574834776"/>
      </p:ext>
    </p:extLst>
  </p:cSld>
  <p:clrMapOvr>
    <a:masterClrMapping/>
  </p:clrMapOvr>
  <mc:AlternateContent xmlns:mc="http://schemas.openxmlformats.org/markup-compatibility/2006" xmlns:p14="http://schemas.microsoft.com/office/powerpoint/2010/main">
    <mc:Choice Requires="p14">
      <p:transition spd="med" p14:dur="700" advTm="15197">
        <p:fade/>
      </p:transition>
    </mc:Choice>
    <mc:Fallback xmlns="">
      <p:transition spd="med" advTm="15197">
        <p:fade/>
      </p:transition>
    </mc:Fallback>
  </mc:AlternateContent>
</p:sld>
</file>

<file path=ppt/slides/slide302.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9FE3A0-2E0B-4358-AB01-06FF91621228}"/>
              </a:ext>
            </a:extLst>
          </p:cNvPr>
          <p:cNvSpPr>
            <a:spLocks noGrp="1"/>
          </p:cNvSpPr>
          <p:nvPr>
            <p:ph type="ctrTitle"/>
          </p:nvPr>
        </p:nvSpPr>
        <p:spPr/>
        <p:txBody>
          <a:bodyPr/>
          <a:lstStyle/>
          <a:p>
            <a:r>
              <a:rPr lang="de-DE" err="1"/>
              <a:t>PowerBI</a:t>
            </a:r>
            <a:r>
              <a:rPr lang="de-DE"/>
              <a:t> Rollout</a:t>
            </a:r>
          </a:p>
        </p:txBody>
      </p:sp>
      <p:sp>
        <p:nvSpPr>
          <p:cNvPr id="3" name="Textplatzhalter 2">
            <a:extLst>
              <a:ext uri="{FF2B5EF4-FFF2-40B4-BE49-F238E27FC236}">
                <a16:creationId xmlns:a16="http://schemas.microsoft.com/office/drawing/2014/main" id="{8FCF91E1-E8FA-4A88-929D-535EAD9B228B}"/>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56333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513730" y="1422389"/>
            <a:ext cx="10408581" cy="1655108"/>
          </a:xfrm>
        </p:spPr>
        <p:txBody>
          <a:bodyPr/>
          <a:lstStyle/>
          <a:p>
            <a:r>
              <a:rPr lang="de-DE" sz="16000"/>
              <a:t> </a:t>
            </a:r>
            <a:r>
              <a:rPr lang="de-DE"/>
              <a:t> </a:t>
            </a:r>
            <a:r>
              <a:rPr lang="de-DE" sz="6600"/>
              <a:t>Power BI Roll-Out</a:t>
            </a:r>
            <a:endParaRPr lang="de-DE"/>
          </a:p>
        </p:txBody>
      </p:sp>
    </p:spTree>
    <p:extLst>
      <p:ext uri="{BB962C8B-B14F-4D97-AF65-F5344CB8AC3E}">
        <p14:creationId xmlns:p14="http://schemas.microsoft.com/office/powerpoint/2010/main" val="131703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eed for a Roll-out Strategy</a:t>
            </a:r>
          </a:p>
        </p:txBody>
      </p:sp>
      <p:graphicFrame>
        <p:nvGraphicFramePr>
          <p:cNvPr id="4" name="Diagram 3"/>
          <p:cNvGraphicFramePr/>
          <p:nvPr/>
        </p:nvGraphicFramePr>
        <p:xfrm>
          <a:off x="4651607" y="440437"/>
          <a:ext cx="6799175" cy="61993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48496048"/>
      </p:ext>
    </p:extLst>
  </p:cSld>
  <p:clrMapOvr>
    <a:masterClrMapping/>
  </p:clrMapOvr>
  <mc:AlternateContent xmlns:mc="http://schemas.openxmlformats.org/markup-compatibility/2006" xmlns:p14="http://schemas.microsoft.com/office/powerpoint/2010/main">
    <mc:Choice Requires="p14">
      <p:transition spd="med" p14:dur="700" advTm="107212">
        <p:fade/>
      </p:transition>
    </mc:Choice>
    <mc:Fallback xmlns="">
      <p:transition spd="med" advTm="10721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7B3AFAB1-3D0B-41CE-8084-792C150D3A90}"/>
                                            </p:graphicEl>
                                          </p:spTgt>
                                        </p:tgtEl>
                                        <p:attrNameLst>
                                          <p:attrName>style.visibility</p:attrName>
                                        </p:attrNameLst>
                                      </p:cBhvr>
                                      <p:to>
                                        <p:strVal val="visible"/>
                                      </p:to>
                                    </p:set>
                                    <p:animEffect transition="in" filter="fade">
                                      <p:cBhvr>
                                        <p:cTn id="7" dur="500"/>
                                        <p:tgtEl>
                                          <p:spTgt spid="4">
                                            <p:graphicEl>
                                              <a:dgm id="{7B3AFAB1-3D0B-41CE-8084-792C150D3A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EE92C3F-5928-45C2-AFAF-03A82F740A80}"/>
                                            </p:graphicEl>
                                          </p:spTgt>
                                        </p:tgtEl>
                                        <p:attrNameLst>
                                          <p:attrName>style.visibility</p:attrName>
                                        </p:attrNameLst>
                                      </p:cBhvr>
                                      <p:to>
                                        <p:strVal val="visible"/>
                                      </p:to>
                                    </p:set>
                                    <p:animEffect transition="in" filter="fade">
                                      <p:cBhvr>
                                        <p:cTn id="12" dur="500"/>
                                        <p:tgtEl>
                                          <p:spTgt spid="4">
                                            <p:graphicEl>
                                              <a:dgm id="{BEE92C3F-5928-45C2-AFAF-03A82F740A80}"/>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7E860E76-4F9E-4821-8118-182994921227}"/>
                                            </p:graphicEl>
                                          </p:spTgt>
                                        </p:tgtEl>
                                        <p:attrNameLst>
                                          <p:attrName>style.visibility</p:attrName>
                                        </p:attrNameLst>
                                      </p:cBhvr>
                                      <p:to>
                                        <p:strVal val="visible"/>
                                      </p:to>
                                    </p:set>
                                    <p:animEffect transition="in" filter="fade">
                                      <p:cBhvr>
                                        <p:cTn id="15" dur="500"/>
                                        <p:tgtEl>
                                          <p:spTgt spid="4">
                                            <p:graphicEl>
                                              <a:dgm id="{7E860E76-4F9E-4821-8118-182994921227}"/>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3D75CFDE-5DAB-4A9F-A066-D1C8A836DAB7}"/>
                                            </p:graphicEl>
                                          </p:spTgt>
                                        </p:tgtEl>
                                        <p:attrNameLst>
                                          <p:attrName>style.visibility</p:attrName>
                                        </p:attrNameLst>
                                      </p:cBhvr>
                                      <p:to>
                                        <p:strVal val="visible"/>
                                      </p:to>
                                    </p:set>
                                    <p:animEffect transition="in" filter="fade">
                                      <p:cBhvr>
                                        <p:cTn id="20" dur="500"/>
                                        <p:tgtEl>
                                          <p:spTgt spid="4">
                                            <p:graphicEl>
                                              <a:dgm id="{3D75CFDE-5DAB-4A9F-A066-D1C8A836DAB7}"/>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14C257C8-9A5A-4199-8400-B8F1BA216CDD}"/>
                                            </p:graphicEl>
                                          </p:spTgt>
                                        </p:tgtEl>
                                        <p:attrNameLst>
                                          <p:attrName>style.visibility</p:attrName>
                                        </p:attrNameLst>
                                      </p:cBhvr>
                                      <p:to>
                                        <p:strVal val="visible"/>
                                      </p:to>
                                    </p:set>
                                    <p:animEffect transition="in" filter="fade">
                                      <p:cBhvr>
                                        <p:cTn id="23" dur="500"/>
                                        <p:tgtEl>
                                          <p:spTgt spid="4">
                                            <p:graphicEl>
                                              <a:dgm id="{14C257C8-9A5A-4199-8400-B8F1BA216CDD}"/>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9F2187BD-A438-45F7-B04E-F9CF460E4C0F}"/>
                                            </p:graphicEl>
                                          </p:spTgt>
                                        </p:tgtEl>
                                        <p:attrNameLst>
                                          <p:attrName>style.visibility</p:attrName>
                                        </p:attrNameLst>
                                      </p:cBhvr>
                                      <p:to>
                                        <p:strVal val="visible"/>
                                      </p:to>
                                    </p:set>
                                    <p:animEffect transition="in" filter="fade">
                                      <p:cBhvr>
                                        <p:cTn id="28" dur="500"/>
                                        <p:tgtEl>
                                          <p:spTgt spid="4">
                                            <p:graphicEl>
                                              <a:dgm id="{9F2187BD-A438-45F7-B04E-F9CF460E4C0F}"/>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A0367830-297B-46FD-B40E-58BCFDB09A4C}"/>
                                            </p:graphicEl>
                                          </p:spTgt>
                                        </p:tgtEl>
                                        <p:attrNameLst>
                                          <p:attrName>style.visibility</p:attrName>
                                        </p:attrNameLst>
                                      </p:cBhvr>
                                      <p:to>
                                        <p:strVal val="visible"/>
                                      </p:to>
                                    </p:set>
                                    <p:animEffect transition="in" filter="fade">
                                      <p:cBhvr>
                                        <p:cTn id="31" dur="500"/>
                                        <p:tgtEl>
                                          <p:spTgt spid="4">
                                            <p:graphicEl>
                                              <a:dgm id="{A0367830-297B-46FD-B40E-58BCFDB09A4C}"/>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D54CD301-8086-46BB-86E9-AA4F9A74A139}"/>
                                            </p:graphicEl>
                                          </p:spTgt>
                                        </p:tgtEl>
                                        <p:attrNameLst>
                                          <p:attrName>style.visibility</p:attrName>
                                        </p:attrNameLst>
                                      </p:cBhvr>
                                      <p:to>
                                        <p:strVal val="visible"/>
                                      </p:to>
                                    </p:set>
                                    <p:animEffect transition="in" filter="fade">
                                      <p:cBhvr>
                                        <p:cTn id="36" dur="500"/>
                                        <p:tgtEl>
                                          <p:spTgt spid="4">
                                            <p:graphicEl>
                                              <a:dgm id="{D54CD301-8086-46BB-86E9-AA4F9A74A139}"/>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graphicEl>
                                              <a:dgm id="{E57B647A-4E85-476E-B0F2-05C7E9498437}"/>
                                            </p:graphicEl>
                                          </p:spTgt>
                                        </p:tgtEl>
                                        <p:attrNameLst>
                                          <p:attrName>style.visibility</p:attrName>
                                        </p:attrNameLst>
                                      </p:cBhvr>
                                      <p:to>
                                        <p:strVal val="visible"/>
                                      </p:to>
                                    </p:set>
                                    <p:animEffect transition="in" filter="fade">
                                      <p:cBhvr>
                                        <p:cTn id="41" dur="500"/>
                                        <p:tgtEl>
                                          <p:spTgt spid="4">
                                            <p:graphicEl>
                                              <a:dgm id="{E57B647A-4E85-476E-B0F2-05C7E9498437}"/>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graphicEl>
                                              <a:dgm id="{B7813D52-6C17-4B5A-8155-AA52F2827680}"/>
                                            </p:graphicEl>
                                          </p:spTgt>
                                        </p:tgtEl>
                                        <p:attrNameLst>
                                          <p:attrName>style.visibility</p:attrName>
                                        </p:attrNameLst>
                                      </p:cBhvr>
                                      <p:to>
                                        <p:strVal val="visible"/>
                                      </p:to>
                                    </p:set>
                                    <p:animEffect transition="in" filter="fade">
                                      <p:cBhvr>
                                        <p:cTn id="44" dur="500"/>
                                        <p:tgtEl>
                                          <p:spTgt spid="4">
                                            <p:graphicEl>
                                              <a:dgm id="{B7813D52-6C17-4B5A-8155-AA52F2827680}"/>
                                            </p:graphic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graphicEl>
                                              <a:dgm id="{08CF8413-0EEB-43DB-8CFA-C41D58448CE6}"/>
                                            </p:graphicEl>
                                          </p:spTgt>
                                        </p:tgtEl>
                                        <p:attrNameLst>
                                          <p:attrName>style.visibility</p:attrName>
                                        </p:attrNameLst>
                                      </p:cBhvr>
                                      <p:to>
                                        <p:strVal val="visible"/>
                                      </p:to>
                                    </p:set>
                                    <p:animEffect transition="in" filter="fade">
                                      <p:cBhvr>
                                        <p:cTn id="49" dur="500"/>
                                        <p:tgtEl>
                                          <p:spTgt spid="4">
                                            <p:graphicEl>
                                              <a:dgm id="{08CF8413-0EEB-43DB-8CFA-C41D58448CE6}"/>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graphicEl>
                                              <a:dgm id="{FF0999A2-A371-438B-9636-8BC14C9A22B5}"/>
                                            </p:graphicEl>
                                          </p:spTgt>
                                        </p:tgtEl>
                                        <p:attrNameLst>
                                          <p:attrName>style.visibility</p:attrName>
                                        </p:attrNameLst>
                                      </p:cBhvr>
                                      <p:to>
                                        <p:strVal val="visible"/>
                                      </p:to>
                                    </p:set>
                                    <p:animEffect transition="in" filter="fade">
                                      <p:cBhvr>
                                        <p:cTn id="52" dur="500"/>
                                        <p:tgtEl>
                                          <p:spTgt spid="4">
                                            <p:graphicEl>
                                              <a:dgm id="{FF0999A2-A371-438B-9636-8BC14C9A22B5}"/>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
                                            <p:graphicEl>
                                              <a:dgm id="{FC194065-8BB9-40A4-8875-C19BF6770BD1}"/>
                                            </p:graphicEl>
                                          </p:spTgt>
                                        </p:tgtEl>
                                        <p:attrNameLst>
                                          <p:attrName>style.visibility</p:attrName>
                                        </p:attrNameLst>
                                      </p:cBhvr>
                                      <p:to>
                                        <p:strVal val="visible"/>
                                      </p:to>
                                    </p:set>
                                    <p:animEffect transition="in" filter="fade">
                                      <p:cBhvr>
                                        <p:cTn id="57" dur="500"/>
                                        <p:tgtEl>
                                          <p:spTgt spid="4">
                                            <p:graphicEl>
                                              <a:dgm id="{FC194065-8BB9-40A4-8875-C19BF6770BD1}"/>
                                            </p:graphic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
                                            <p:graphicEl>
                                              <a:dgm id="{C8A9065A-A7A5-43B2-B96A-0D8660C0C64A}"/>
                                            </p:graphicEl>
                                          </p:spTgt>
                                        </p:tgtEl>
                                        <p:attrNameLst>
                                          <p:attrName>style.visibility</p:attrName>
                                        </p:attrNameLst>
                                      </p:cBhvr>
                                      <p:to>
                                        <p:strVal val="visible"/>
                                      </p:to>
                                    </p:set>
                                    <p:animEffect transition="in" filter="fade">
                                      <p:cBhvr>
                                        <p:cTn id="60" dur="500"/>
                                        <p:tgtEl>
                                          <p:spTgt spid="4">
                                            <p:graphicEl>
                                              <a:dgm id="{C8A9065A-A7A5-43B2-B96A-0D8660C0C64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4000"/>
              <a:t>Roll-Out Considerations</a:t>
            </a:r>
          </a:p>
        </p:txBody>
      </p:sp>
      <p:sp>
        <p:nvSpPr>
          <p:cNvPr id="3" name="Rectangle 2">
            <a:extLst>
              <a:ext uri="{FF2B5EF4-FFF2-40B4-BE49-F238E27FC236}">
                <a16:creationId xmlns:a16="http://schemas.microsoft.com/office/drawing/2014/main" id="{9C39A657-A30C-4753-8B78-67AEF0F52FAC}"/>
              </a:ext>
            </a:extLst>
          </p:cNvPr>
          <p:cNvSpPr/>
          <p:nvPr/>
        </p:nvSpPr>
        <p:spPr>
          <a:xfrm>
            <a:off x="5946840" y="490532"/>
            <a:ext cx="5881745" cy="579270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hased vs Organisation wide roll-o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License assignment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Roll-out of Power BI Deskto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roject se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hange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ommun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pic>
        <p:nvPicPr>
          <p:cNvPr id="6" name="Graphic 5" descr="Team">
            <a:extLst>
              <a:ext uri="{FF2B5EF4-FFF2-40B4-BE49-F238E27FC236}">
                <a16:creationId xmlns:a16="http://schemas.microsoft.com/office/drawing/2014/main" id="{04F96D4D-04EE-4974-BE7D-040D568B47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31816" y="3315549"/>
            <a:ext cx="629469" cy="629469"/>
          </a:xfrm>
          <a:prstGeom prst="rect">
            <a:avLst/>
          </a:prstGeom>
        </p:spPr>
      </p:pic>
      <p:pic>
        <p:nvPicPr>
          <p:cNvPr id="8" name="Graphic 7" descr="Checklist">
            <a:extLst>
              <a:ext uri="{FF2B5EF4-FFF2-40B4-BE49-F238E27FC236}">
                <a16:creationId xmlns:a16="http://schemas.microsoft.com/office/drawing/2014/main" id="{4DCBA9B1-EF3F-42C8-A708-AC01E617A9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31816" y="2598244"/>
            <a:ext cx="629469" cy="629469"/>
          </a:xfrm>
          <a:prstGeom prst="rect">
            <a:avLst/>
          </a:prstGeom>
        </p:spPr>
      </p:pic>
      <p:pic>
        <p:nvPicPr>
          <p:cNvPr id="10" name="Graphic 9" descr="Bar chart">
            <a:extLst>
              <a:ext uri="{FF2B5EF4-FFF2-40B4-BE49-F238E27FC236}">
                <a16:creationId xmlns:a16="http://schemas.microsoft.com/office/drawing/2014/main" id="{E27173B4-54E2-4C45-A8CB-C7F37B0830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31816" y="1880939"/>
            <a:ext cx="629469" cy="629469"/>
          </a:xfrm>
          <a:prstGeom prst="rect">
            <a:avLst/>
          </a:prstGeom>
        </p:spPr>
      </p:pic>
      <p:pic>
        <p:nvPicPr>
          <p:cNvPr id="18" name="Graphic 17" descr="Scales of Justice">
            <a:extLst>
              <a:ext uri="{FF2B5EF4-FFF2-40B4-BE49-F238E27FC236}">
                <a16:creationId xmlns:a16="http://schemas.microsoft.com/office/drawing/2014/main" id="{84E9F257-5365-476A-B64B-E5BD560523C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31816" y="446329"/>
            <a:ext cx="629469" cy="629469"/>
          </a:xfrm>
          <a:prstGeom prst="rect">
            <a:avLst/>
          </a:prstGeom>
        </p:spPr>
      </p:pic>
      <p:pic>
        <p:nvPicPr>
          <p:cNvPr id="22" name="Graphic 21" descr="Drum">
            <a:extLst>
              <a:ext uri="{FF2B5EF4-FFF2-40B4-BE49-F238E27FC236}">
                <a16:creationId xmlns:a16="http://schemas.microsoft.com/office/drawing/2014/main" id="{6836F56B-FE83-4FF9-BE27-04ADC7221D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31816" y="4018820"/>
            <a:ext cx="629469" cy="629469"/>
          </a:xfrm>
          <a:prstGeom prst="rect">
            <a:avLst/>
          </a:prstGeom>
        </p:spPr>
      </p:pic>
      <p:pic>
        <p:nvPicPr>
          <p:cNvPr id="26" name="Graphic 25" descr="Teacher">
            <a:extLst>
              <a:ext uri="{FF2B5EF4-FFF2-40B4-BE49-F238E27FC236}">
                <a16:creationId xmlns:a16="http://schemas.microsoft.com/office/drawing/2014/main" id="{D6D0476A-03E8-42FF-8EC4-56FB03981E8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31816" y="4787065"/>
            <a:ext cx="629469" cy="629469"/>
          </a:xfrm>
          <a:prstGeom prst="rect">
            <a:avLst/>
          </a:prstGeom>
        </p:spPr>
      </p:pic>
      <p:pic>
        <p:nvPicPr>
          <p:cNvPr id="28" name="Graphic 27" descr="List">
            <a:extLst>
              <a:ext uri="{FF2B5EF4-FFF2-40B4-BE49-F238E27FC236}">
                <a16:creationId xmlns:a16="http://schemas.microsoft.com/office/drawing/2014/main" id="{6270F9A9-22ED-4048-A94B-11BC934B558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31816" y="1163634"/>
            <a:ext cx="629469" cy="629469"/>
          </a:xfrm>
          <a:prstGeom prst="rect">
            <a:avLst/>
          </a:prstGeom>
        </p:spPr>
      </p:pic>
    </p:spTree>
    <p:extLst>
      <p:ext uri="{BB962C8B-B14F-4D97-AF65-F5344CB8AC3E}">
        <p14:creationId xmlns:p14="http://schemas.microsoft.com/office/powerpoint/2010/main" val="1418220419"/>
      </p:ext>
    </p:extLst>
  </p:cSld>
  <p:clrMapOvr>
    <a:masterClrMapping/>
  </p:clrMapOvr>
  <mc:AlternateContent xmlns:mc="http://schemas.openxmlformats.org/markup-compatibility/2006" xmlns:p14="http://schemas.microsoft.com/office/powerpoint/2010/main">
    <mc:Choice Requires="p14">
      <p:transition spd="med" p14:dur="700" advTm="78301">
        <p:fade/>
      </p:transition>
    </mc:Choice>
    <mc:Fallback xmlns="">
      <p:transition spd="med" advTm="78301">
        <p:fade/>
      </p:transition>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Phased Roll-out</a:t>
            </a:r>
          </a:p>
        </p:txBody>
      </p:sp>
      <p:graphicFrame>
        <p:nvGraphicFramePr>
          <p:cNvPr id="3" name="Diagram 2"/>
          <p:cNvGraphicFramePr/>
          <p:nvPr/>
        </p:nvGraphicFramePr>
        <p:xfrm>
          <a:off x="274638" y="1212850"/>
          <a:ext cx="11542224" cy="56451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Arrow: Right 5"/>
          <p:cNvSpPr/>
          <p:nvPr/>
        </p:nvSpPr>
        <p:spPr bwMode="auto">
          <a:xfrm>
            <a:off x="5861111" y="3507886"/>
            <a:ext cx="369277" cy="37807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812291717"/>
      </p:ext>
    </p:extLst>
  </p:cSld>
  <p:clrMapOvr>
    <a:masterClrMapping/>
  </p:clrMapOvr>
  <mc:AlternateContent xmlns:mc="http://schemas.openxmlformats.org/markup-compatibility/2006" xmlns:p14="http://schemas.microsoft.com/office/powerpoint/2010/main">
    <mc:Choice Requires="p14">
      <p:transition spd="med" p14:dur="700" advTm="165832">
        <p:fade/>
      </p:transition>
    </mc:Choice>
    <mc:Fallback xmlns="">
      <p:transition spd="med" advTm="16583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197480A1-BFDC-4298-B195-411692E751F5}"/>
                                            </p:graphicEl>
                                          </p:spTgt>
                                        </p:tgtEl>
                                        <p:attrNameLst>
                                          <p:attrName>style.visibility</p:attrName>
                                        </p:attrNameLst>
                                      </p:cBhvr>
                                      <p:to>
                                        <p:strVal val="visible"/>
                                      </p:to>
                                    </p:set>
                                    <p:animEffect transition="in" filter="fade">
                                      <p:cBhvr>
                                        <p:cTn id="7" dur="500"/>
                                        <p:tgtEl>
                                          <p:spTgt spid="3">
                                            <p:graphicEl>
                                              <a:dgm id="{197480A1-BFDC-4298-B195-411692E751F5}"/>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9C0711DF-9261-4564-AFC3-163E9BED3EB0}"/>
                                            </p:graphicEl>
                                          </p:spTgt>
                                        </p:tgtEl>
                                        <p:attrNameLst>
                                          <p:attrName>style.visibility</p:attrName>
                                        </p:attrNameLst>
                                      </p:cBhvr>
                                      <p:to>
                                        <p:strVal val="visible"/>
                                      </p:to>
                                    </p:set>
                                    <p:animEffect transition="in" filter="fade">
                                      <p:cBhvr>
                                        <p:cTn id="12" dur="500"/>
                                        <p:tgtEl>
                                          <p:spTgt spid="3">
                                            <p:graphicEl>
                                              <a:dgm id="{9C0711DF-9261-4564-AFC3-163E9BED3EB0}"/>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P spid="6" grpId="0" animBg="1"/>
    </p:bld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Enterprise-wide Roll-out</a:t>
            </a:r>
          </a:p>
        </p:txBody>
      </p:sp>
      <p:graphicFrame>
        <p:nvGraphicFramePr>
          <p:cNvPr id="3" name="Diagram 2"/>
          <p:cNvGraphicFramePr/>
          <p:nvPr/>
        </p:nvGraphicFramePr>
        <p:xfrm>
          <a:off x="274638" y="1212850"/>
          <a:ext cx="11542224" cy="5645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Plus Sign 4">
            <a:extLst>
              <a:ext uri="{FF2B5EF4-FFF2-40B4-BE49-F238E27FC236}">
                <a16:creationId xmlns:a16="http://schemas.microsoft.com/office/drawing/2014/main" id="{E94A2D92-359B-4EDF-A4DF-4FD67549CFF7}"/>
              </a:ext>
            </a:extLst>
          </p:cNvPr>
          <p:cNvSpPr/>
          <p:nvPr/>
        </p:nvSpPr>
        <p:spPr bwMode="auto">
          <a:xfrm>
            <a:off x="5811954" y="3631379"/>
            <a:ext cx="467591" cy="509154"/>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14200958"/>
      </p:ext>
    </p:extLst>
  </p:cSld>
  <p:clrMapOvr>
    <a:masterClrMapping/>
  </p:clrMapOvr>
  <mc:AlternateContent xmlns:mc="http://schemas.openxmlformats.org/markup-compatibility/2006" xmlns:p14="http://schemas.microsoft.com/office/powerpoint/2010/main">
    <mc:Choice Requires="p14">
      <p:transition spd="med" p14:dur="700" advTm="205573">
        <p:fade/>
      </p:transition>
    </mc:Choice>
    <mc:Fallback xmlns="">
      <p:transition spd="med" advTm="205573">
        <p:fade/>
      </p:transition>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ower BI Desktop Roll-out</a:t>
            </a:r>
            <a:endParaRPr lang="en-US"/>
          </a:p>
        </p:txBody>
      </p:sp>
      <p:sp>
        <p:nvSpPr>
          <p:cNvPr id="31" name="Content Placeholder 2"/>
          <p:cNvSpPr txBox="1">
            <a:spLocks/>
          </p:cNvSpPr>
          <p:nvPr/>
        </p:nvSpPr>
        <p:spPr>
          <a:xfrm>
            <a:off x="1435704" y="2194893"/>
            <a:ext cx="3867816"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uthoring requires some governance</a:t>
            </a:r>
          </a:p>
        </p:txBody>
      </p:sp>
      <p:sp>
        <p:nvSpPr>
          <p:cNvPr id="29" name="Content Placeholder 2"/>
          <p:cNvSpPr txBox="1">
            <a:spLocks/>
          </p:cNvSpPr>
          <p:nvPr/>
        </p:nvSpPr>
        <p:spPr>
          <a:xfrm>
            <a:off x="1435704" y="4044233"/>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Update frequency</a:t>
            </a:r>
          </a:p>
        </p:txBody>
      </p:sp>
      <p:sp>
        <p:nvSpPr>
          <p:cNvPr id="55" name="Content Placeholder 2"/>
          <p:cNvSpPr txBox="1">
            <a:spLocks/>
          </p:cNvSpPr>
          <p:nvPr/>
        </p:nvSpPr>
        <p:spPr>
          <a:xfrm>
            <a:off x="1435703" y="3127172"/>
            <a:ext cx="2281793" cy="435376"/>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pacity to support</a:t>
            </a:r>
          </a:p>
        </p:txBody>
      </p:sp>
      <p:sp>
        <p:nvSpPr>
          <p:cNvPr id="20" name="Content Placeholder 2"/>
          <p:cNvSpPr txBox="1">
            <a:spLocks/>
          </p:cNvSpPr>
          <p:nvPr/>
        </p:nvSpPr>
        <p:spPr>
          <a:xfrm>
            <a:off x="7798635" y="2167952"/>
            <a:ext cx="264381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onsider Phased roll-out</a:t>
            </a:r>
          </a:p>
        </p:txBody>
      </p:sp>
      <p:sp>
        <p:nvSpPr>
          <p:cNvPr id="21" name="Rectangle 20"/>
          <p:cNvSpPr/>
          <p:nvPr/>
        </p:nvSpPr>
        <p:spPr>
          <a:xfrm>
            <a:off x="7660971"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93699" y="3128571"/>
            <a:ext cx="194385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pacity planning</a:t>
            </a:r>
          </a:p>
        </p:txBody>
      </p:sp>
      <p:sp>
        <p:nvSpPr>
          <p:cNvPr id="30" name="Rectangle 29"/>
          <p:cNvSpPr/>
          <p:nvPr/>
        </p:nvSpPr>
        <p:spPr>
          <a:xfrm>
            <a:off x="7660971"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296737"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296737"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93697" y="4054112"/>
            <a:ext cx="2643813" cy="437065"/>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lignment with training</a:t>
            </a:r>
          </a:p>
        </p:txBody>
      </p:sp>
      <p:sp>
        <p:nvSpPr>
          <p:cNvPr id="22" name="Rectangle 21"/>
          <p:cNvSpPr/>
          <p:nvPr/>
        </p:nvSpPr>
        <p:spPr>
          <a:xfrm>
            <a:off x="7660971"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93698" y="4998699"/>
            <a:ext cx="295683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udit and security readiness</a:t>
            </a:r>
          </a:p>
        </p:txBody>
      </p:sp>
      <p:sp>
        <p:nvSpPr>
          <p:cNvPr id="25" name="Rectangle 24"/>
          <p:cNvSpPr/>
          <p:nvPr/>
        </p:nvSpPr>
        <p:spPr>
          <a:xfrm>
            <a:off x="7660971"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296737"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F46BD642-8003-4B47-AE22-902BE249F812}"/>
              </a:ext>
            </a:extLst>
          </p:cNvPr>
          <p:cNvSpPr/>
          <p:nvPr/>
        </p:nvSpPr>
        <p:spPr bwMode="auto">
          <a:xfrm>
            <a:off x="49320" y="1257196"/>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22893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35081">
        <p159:morph option="byObject"/>
      </p:transition>
    </mc:Choice>
    <mc:Fallback xmlns="">
      <p:transition spd="slow" advTm="13508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bg/>
                                          </p:spTgt>
                                        </p:tgtEl>
                                        <p:attrNameLst>
                                          <p:attrName>style.visibility</p:attrName>
                                        </p:attrNameLst>
                                      </p:cBhvr>
                                      <p:to>
                                        <p:strVal val="visible"/>
                                      </p:to>
                                    </p:set>
                                    <p:animEffect transition="in" filter="wipe(down)">
                                      <p:cBhvr>
                                        <p:cTn id="15" dur="500"/>
                                        <p:tgtEl>
                                          <p:spTgt spid="31">
                                            <p:bg/>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1">
                                            <p:txEl>
                                              <p:pRg st="0" end="0"/>
                                            </p:txEl>
                                          </p:spTgt>
                                        </p:tgtEl>
                                        <p:attrNameLst>
                                          <p:attrName>style.visibility</p:attrName>
                                        </p:attrNameLst>
                                      </p:cBhvr>
                                      <p:to>
                                        <p:strVal val="visible"/>
                                      </p:to>
                                    </p:set>
                                    <p:animEffect transition="in" filter="wipe(down)">
                                      <p:cBhvr>
                                        <p:cTn id="18" dur="500"/>
                                        <p:tgtEl>
                                          <p:spTgt spid="31">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3" presetClass="entr" presetSubtype="16" fill="hold" grpId="0" nodeType="click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p:cTn id="23" dur="500" fill="hold"/>
                                        <p:tgtEl>
                                          <p:spTgt spid="56"/>
                                        </p:tgtEl>
                                        <p:attrNameLst>
                                          <p:attrName>ppt_w</p:attrName>
                                        </p:attrNameLst>
                                      </p:cBhvr>
                                      <p:tavLst>
                                        <p:tav tm="0">
                                          <p:val>
                                            <p:fltVal val="0"/>
                                          </p:val>
                                        </p:tav>
                                        <p:tav tm="100000">
                                          <p:val>
                                            <p:strVal val="#ppt_w"/>
                                          </p:val>
                                        </p:tav>
                                      </p:tavLst>
                                    </p:anim>
                                    <p:anim calcmode="lin" valueType="num">
                                      <p:cBhvr>
                                        <p:cTn id="24" dur="500" fill="hold"/>
                                        <p:tgtEl>
                                          <p:spTgt spid="56"/>
                                        </p:tgtEl>
                                        <p:attrNameLst>
                                          <p:attrName>ppt_h</p:attrName>
                                        </p:attrNameLst>
                                      </p:cBhvr>
                                      <p:tavLst>
                                        <p:tav tm="0">
                                          <p:val>
                                            <p:fltVal val="0"/>
                                          </p:val>
                                        </p:tav>
                                        <p:tav tm="100000">
                                          <p:val>
                                            <p:strVal val="#ppt_h"/>
                                          </p:val>
                                        </p:tav>
                                      </p:tavLst>
                                    </p:anim>
                                  </p:childTnLst>
                                </p:cTn>
                              </p:par>
                              <p:par>
                                <p:cTn id="25" presetID="22" presetClass="entr" presetSubtype="4" fill="hold" grpId="0" nodeType="withEffect">
                                  <p:stCondLst>
                                    <p:cond delay="0"/>
                                  </p:stCondLst>
                                  <p:childTnLst>
                                    <p:set>
                                      <p:cBhvr>
                                        <p:cTn id="26" dur="1" fill="hold">
                                          <p:stCondLst>
                                            <p:cond delay="0"/>
                                          </p:stCondLst>
                                        </p:cTn>
                                        <p:tgtEl>
                                          <p:spTgt spid="55">
                                            <p:bg/>
                                          </p:spTgt>
                                        </p:tgtEl>
                                        <p:attrNameLst>
                                          <p:attrName>style.visibility</p:attrName>
                                        </p:attrNameLst>
                                      </p:cBhvr>
                                      <p:to>
                                        <p:strVal val="visible"/>
                                      </p:to>
                                    </p:set>
                                    <p:animEffect transition="in" filter="wipe(down)">
                                      <p:cBhvr>
                                        <p:cTn id="27" dur="500"/>
                                        <p:tgtEl>
                                          <p:spTgt spid="55">
                                            <p:bg/>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5">
                                            <p:txEl>
                                              <p:pRg st="0" end="0"/>
                                            </p:txEl>
                                          </p:spTgt>
                                        </p:tgtEl>
                                        <p:attrNameLst>
                                          <p:attrName>style.visibility</p:attrName>
                                        </p:attrNameLst>
                                      </p:cBhvr>
                                      <p:to>
                                        <p:strVal val="visible"/>
                                      </p:to>
                                    </p:set>
                                    <p:animEffect transition="in" filter="wipe(down)">
                                      <p:cBhvr>
                                        <p:cTn id="30" dur="500"/>
                                        <p:tgtEl>
                                          <p:spTgt spid="55">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3" presetClass="entr" presetSubtype="16"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anim calcmode="lin" valueType="num">
                                      <p:cBhvr>
                                        <p:cTn id="35" dur="500" fill="hold"/>
                                        <p:tgtEl>
                                          <p:spTgt spid="45"/>
                                        </p:tgtEl>
                                        <p:attrNameLst>
                                          <p:attrName>ppt_w</p:attrName>
                                        </p:attrNameLst>
                                      </p:cBhvr>
                                      <p:tavLst>
                                        <p:tav tm="0">
                                          <p:val>
                                            <p:fltVal val="0"/>
                                          </p:val>
                                        </p:tav>
                                        <p:tav tm="100000">
                                          <p:val>
                                            <p:strVal val="#ppt_w"/>
                                          </p:val>
                                        </p:tav>
                                      </p:tavLst>
                                    </p:anim>
                                    <p:anim calcmode="lin" valueType="num">
                                      <p:cBhvr>
                                        <p:cTn id="36" dur="500" fill="hold"/>
                                        <p:tgtEl>
                                          <p:spTgt spid="45"/>
                                        </p:tgtEl>
                                        <p:attrNameLst>
                                          <p:attrName>ppt_h</p:attrName>
                                        </p:attrNameLst>
                                      </p:cBhvr>
                                      <p:tavLst>
                                        <p:tav tm="0">
                                          <p:val>
                                            <p:fltVal val="0"/>
                                          </p:val>
                                        </p:tav>
                                        <p:tav tm="100000">
                                          <p:val>
                                            <p:strVal val="#ppt_h"/>
                                          </p:val>
                                        </p:tav>
                                      </p:tavLst>
                                    </p:anim>
                                  </p:childTnLst>
                                </p:cTn>
                              </p:par>
                              <p:par>
                                <p:cTn id="37" presetID="22" presetClass="entr" presetSubtype="4" fill="hold" grpId="0" nodeType="withEffect">
                                  <p:stCondLst>
                                    <p:cond delay="0"/>
                                  </p:stCondLst>
                                  <p:childTnLst>
                                    <p:set>
                                      <p:cBhvr>
                                        <p:cTn id="38" dur="1" fill="hold">
                                          <p:stCondLst>
                                            <p:cond delay="0"/>
                                          </p:stCondLst>
                                        </p:cTn>
                                        <p:tgtEl>
                                          <p:spTgt spid="29">
                                            <p:bg/>
                                          </p:spTgt>
                                        </p:tgtEl>
                                        <p:attrNameLst>
                                          <p:attrName>style.visibility</p:attrName>
                                        </p:attrNameLst>
                                      </p:cBhvr>
                                      <p:to>
                                        <p:strVal val="visible"/>
                                      </p:to>
                                    </p:set>
                                    <p:animEffect transition="in" filter="wipe(down)">
                                      <p:cBhvr>
                                        <p:cTn id="39" dur="500"/>
                                        <p:tgtEl>
                                          <p:spTgt spid="29">
                                            <p:bg/>
                                          </p:spTgt>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29">
                                            <p:txEl>
                                              <p:pRg st="0" end="0"/>
                                            </p:txEl>
                                          </p:spTgt>
                                        </p:tgtEl>
                                        <p:attrNameLst>
                                          <p:attrName>style.visibility</p:attrName>
                                        </p:attrNameLst>
                                      </p:cBhvr>
                                      <p:to>
                                        <p:strVal val="visible"/>
                                      </p:to>
                                    </p:set>
                                    <p:animEffect transition="in" filter="wipe(down)">
                                      <p:cBhvr>
                                        <p:cTn id="42" dur="500"/>
                                        <p:tgtEl>
                                          <p:spTgt spid="29">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500"/>
                                        <p:tgtEl>
                                          <p:spTgt spid="23"/>
                                        </p:tgtEl>
                                      </p:cBhvr>
                                    </p:animEffect>
                                  </p:childTnLst>
                                </p:cTn>
                              </p:par>
                              <p:par>
                                <p:cTn id="51" presetID="23" presetClass="entr" presetSubtype="16"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500" fill="hold"/>
                                        <p:tgtEl>
                                          <p:spTgt spid="21"/>
                                        </p:tgtEl>
                                        <p:attrNameLst>
                                          <p:attrName>ppt_w</p:attrName>
                                        </p:attrNameLst>
                                      </p:cBhvr>
                                      <p:tavLst>
                                        <p:tav tm="0">
                                          <p:val>
                                            <p:fltVal val="0"/>
                                          </p:val>
                                        </p:tav>
                                        <p:tav tm="100000">
                                          <p:val>
                                            <p:strVal val="#ppt_w"/>
                                          </p:val>
                                        </p:tav>
                                      </p:tavLst>
                                    </p:anim>
                                    <p:anim calcmode="lin" valueType="num">
                                      <p:cBhvr>
                                        <p:cTn id="54" dur="500" fill="hold"/>
                                        <p:tgtEl>
                                          <p:spTgt spid="21"/>
                                        </p:tgtEl>
                                        <p:attrNameLst>
                                          <p:attrName>ppt_h</p:attrName>
                                        </p:attrNameLst>
                                      </p:cBhvr>
                                      <p:tavLst>
                                        <p:tav tm="0">
                                          <p:val>
                                            <p:fltVal val="0"/>
                                          </p:val>
                                        </p:tav>
                                        <p:tav tm="100000">
                                          <p:val>
                                            <p:strVal val="#ppt_h"/>
                                          </p:val>
                                        </p:tav>
                                      </p:tavLst>
                                    </p:anim>
                                  </p:childTnLst>
                                </p:cTn>
                              </p:par>
                              <p:par>
                                <p:cTn id="55" presetID="22" presetClass="entr" presetSubtype="4" fill="hold" grpId="0" nodeType="with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wipe(down)">
                                      <p:cBhvr>
                                        <p:cTn id="57" dur="500"/>
                                        <p:tgtEl>
                                          <p:spTgt spid="20"/>
                                        </p:tgtEl>
                                      </p:cBhvr>
                                    </p:animEffect>
                                  </p:childTnLst>
                                </p:cTn>
                              </p:par>
                              <p:par>
                                <p:cTn id="58" presetID="23" presetClass="entr" presetSubtype="16" fill="hold" grpId="0" nodeType="withEffect">
                                  <p:stCondLst>
                                    <p:cond delay="0"/>
                                  </p:stCondLst>
                                  <p:childTnLst>
                                    <p:set>
                                      <p:cBhvr>
                                        <p:cTn id="59" dur="1" fill="hold">
                                          <p:stCondLst>
                                            <p:cond delay="0"/>
                                          </p:stCondLst>
                                        </p:cTn>
                                        <p:tgtEl>
                                          <p:spTgt spid="30"/>
                                        </p:tgtEl>
                                        <p:attrNameLst>
                                          <p:attrName>style.visibility</p:attrName>
                                        </p:attrNameLst>
                                      </p:cBhvr>
                                      <p:to>
                                        <p:strVal val="visible"/>
                                      </p:to>
                                    </p:set>
                                    <p:anim calcmode="lin" valueType="num">
                                      <p:cBhvr>
                                        <p:cTn id="60" dur="500" fill="hold"/>
                                        <p:tgtEl>
                                          <p:spTgt spid="30"/>
                                        </p:tgtEl>
                                        <p:attrNameLst>
                                          <p:attrName>ppt_w</p:attrName>
                                        </p:attrNameLst>
                                      </p:cBhvr>
                                      <p:tavLst>
                                        <p:tav tm="0">
                                          <p:val>
                                            <p:fltVal val="0"/>
                                          </p:val>
                                        </p:tav>
                                        <p:tav tm="100000">
                                          <p:val>
                                            <p:strVal val="#ppt_w"/>
                                          </p:val>
                                        </p:tav>
                                      </p:tavLst>
                                    </p:anim>
                                    <p:anim calcmode="lin" valueType="num">
                                      <p:cBhvr>
                                        <p:cTn id="61" dur="500" fill="hold"/>
                                        <p:tgtEl>
                                          <p:spTgt spid="30"/>
                                        </p:tgtEl>
                                        <p:attrNameLst>
                                          <p:attrName>ppt_h</p:attrName>
                                        </p:attrNameLst>
                                      </p:cBhvr>
                                      <p:tavLst>
                                        <p:tav tm="0">
                                          <p:val>
                                            <p:fltVal val="0"/>
                                          </p:val>
                                        </p:tav>
                                        <p:tav tm="100000">
                                          <p:val>
                                            <p:strVal val="#ppt_h"/>
                                          </p:val>
                                        </p:tav>
                                      </p:tavLst>
                                    </p:anim>
                                  </p:childTnLst>
                                </p:cTn>
                              </p:par>
                              <p:par>
                                <p:cTn id="62" presetID="22" presetClass="entr" presetSubtype="4" fill="hold" grpId="0"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wipe(down)">
                                      <p:cBhvr>
                                        <p:cTn id="64" dur="500"/>
                                        <p:tgtEl>
                                          <p:spTgt spid="27"/>
                                        </p:tgtEl>
                                      </p:cBhvr>
                                    </p:animEffect>
                                  </p:childTnLst>
                                </p:cTn>
                              </p:par>
                            </p:childTnLst>
                          </p:cTn>
                        </p:par>
                      </p:childTnLst>
                    </p:cTn>
                  </p:par>
                  <p:par>
                    <p:cTn id="65" fill="hold">
                      <p:stCondLst>
                        <p:cond delay="indefinite"/>
                      </p:stCondLst>
                      <p:childTnLst>
                        <p:par>
                          <p:cTn id="66" fill="hold">
                            <p:stCondLst>
                              <p:cond delay="0"/>
                            </p:stCondLst>
                            <p:childTnLst>
                              <p:par>
                                <p:cTn id="67" presetID="23" presetClass="entr" presetSubtype="16" fill="hold" grpId="0" nodeType="clickEffect">
                                  <p:stCondLst>
                                    <p:cond delay="0"/>
                                  </p:stCondLst>
                                  <p:childTnLst>
                                    <p:set>
                                      <p:cBhvr>
                                        <p:cTn id="68" dur="1" fill="hold">
                                          <p:stCondLst>
                                            <p:cond delay="0"/>
                                          </p:stCondLst>
                                        </p:cTn>
                                        <p:tgtEl>
                                          <p:spTgt spid="22"/>
                                        </p:tgtEl>
                                        <p:attrNameLst>
                                          <p:attrName>style.visibility</p:attrName>
                                        </p:attrNameLst>
                                      </p:cBhvr>
                                      <p:to>
                                        <p:strVal val="visible"/>
                                      </p:to>
                                    </p:set>
                                    <p:anim calcmode="lin" valueType="num">
                                      <p:cBhvr>
                                        <p:cTn id="69" dur="500" fill="hold"/>
                                        <p:tgtEl>
                                          <p:spTgt spid="22"/>
                                        </p:tgtEl>
                                        <p:attrNameLst>
                                          <p:attrName>ppt_w</p:attrName>
                                        </p:attrNameLst>
                                      </p:cBhvr>
                                      <p:tavLst>
                                        <p:tav tm="0">
                                          <p:val>
                                            <p:fltVal val="0"/>
                                          </p:val>
                                        </p:tav>
                                        <p:tav tm="100000">
                                          <p:val>
                                            <p:strVal val="#ppt_w"/>
                                          </p:val>
                                        </p:tav>
                                      </p:tavLst>
                                    </p:anim>
                                    <p:anim calcmode="lin" valueType="num">
                                      <p:cBhvr>
                                        <p:cTn id="70" dur="500" fill="hold"/>
                                        <p:tgtEl>
                                          <p:spTgt spid="22"/>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wipe(down)">
                                      <p:cBhvr>
                                        <p:cTn id="73" dur="500"/>
                                        <p:tgtEl>
                                          <p:spTgt spid="19"/>
                                        </p:tgtEl>
                                      </p:cBhvr>
                                    </p:animEffect>
                                  </p:childTnLst>
                                </p:cTn>
                              </p:par>
                            </p:childTnLst>
                          </p:cTn>
                        </p:par>
                      </p:childTnLst>
                    </p:cTn>
                  </p:par>
                  <p:par>
                    <p:cTn id="74" fill="hold">
                      <p:stCondLst>
                        <p:cond delay="indefinite"/>
                      </p:stCondLst>
                      <p:childTnLst>
                        <p:par>
                          <p:cTn id="75" fill="hold">
                            <p:stCondLst>
                              <p:cond delay="0"/>
                            </p:stCondLst>
                            <p:childTnLst>
                              <p:par>
                                <p:cTn id="76" presetID="23" presetClass="entr" presetSubtype="16" fill="hold" grpId="0" nodeType="clickEffect">
                                  <p:stCondLst>
                                    <p:cond delay="0"/>
                                  </p:stCondLst>
                                  <p:childTnLst>
                                    <p:set>
                                      <p:cBhvr>
                                        <p:cTn id="77" dur="1" fill="hold">
                                          <p:stCondLst>
                                            <p:cond delay="0"/>
                                          </p:stCondLst>
                                        </p:cTn>
                                        <p:tgtEl>
                                          <p:spTgt spid="25"/>
                                        </p:tgtEl>
                                        <p:attrNameLst>
                                          <p:attrName>style.visibility</p:attrName>
                                        </p:attrNameLst>
                                      </p:cBhvr>
                                      <p:to>
                                        <p:strVal val="visible"/>
                                      </p:to>
                                    </p:set>
                                    <p:anim calcmode="lin" valueType="num">
                                      <p:cBhvr>
                                        <p:cTn id="78" dur="500" fill="hold"/>
                                        <p:tgtEl>
                                          <p:spTgt spid="25"/>
                                        </p:tgtEl>
                                        <p:attrNameLst>
                                          <p:attrName>ppt_w</p:attrName>
                                        </p:attrNameLst>
                                      </p:cBhvr>
                                      <p:tavLst>
                                        <p:tav tm="0">
                                          <p:val>
                                            <p:fltVal val="0"/>
                                          </p:val>
                                        </p:tav>
                                        <p:tav tm="100000">
                                          <p:val>
                                            <p:strVal val="#ppt_w"/>
                                          </p:val>
                                        </p:tav>
                                      </p:tavLst>
                                    </p:anim>
                                    <p:anim calcmode="lin" valueType="num">
                                      <p:cBhvr>
                                        <p:cTn id="79" dur="500" fill="hold"/>
                                        <p:tgtEl>
                                          <p:spTgt spid="25"/>
                                        </p:tgtEl>
                                        <p:attrNameLst>
                                          <p:attrName>ppt_h</p:attrName>
                                        </p:attrNameLst>
                                      </p:cBhvr>
                                      <p:tavLst>
                                        <p:tav tm="0">
                                          <p:val>
                                            <p:fltVal val="0"/>
                                          </p:val>
                                        </p:tav>
                                        <p:tav tm="100000">
                                          <p:val>
                                            <p:strVal val="#ppt_h"/>
                                          </p:val>
                                        </p:tav>
                                      </p:tavLst>
                                    </p:anim>
                                  </p:childTnLst>
                                </p:cTn>
                              </p:par>
                              <p:par>
                                <p:cTn id="80" presetID="22" presetClass="entr" presetSubtype="4" fill="hold" grpId="0" nodeType="withEffect">
                                  <p:stCondLst>
                                    <p:cond delay="0"/>
                                  </p:stCondLst>
                                  <p:childTnLst>
                                    <p:set>
                                      <p:cBhvr>
                                        <p:cTn id="81" dur="1" fill="hold">
                                          <p:stCondLst>
                                            <p:cond delay="0"/>
                                          </p:stCondLst>
                                        </p:cTn>
                                        <p:tgtEl>
                                          <p:spTgt spid="24"/>
                                        </p:tgtEl>
                                        <p:attrNameLst>
                                          <p:attrName>style.visibility</p:attrName>
                                        </p:attrNameLst>
                                      </p:cBhvr>
                                      <p:to>
                                        <p:strVal val="visible"/>
                                      </p:to>
                                    </p:set>
                                    <p:animEffect transition="in" filter="wipe(down)">
                                      <p:cBhvr>
                                        <p:cTn id="8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build="p" animBg="1"/>
      <p:bldP spid="29" grpId="0" uiExpand="1" build="p" animBg="1"/>
      <p:bldP spid="55" grpId="0" uiExpand="1" build="p" animBg="1"/>
      <p:bldP spid="20" grpId="0" animBg="1"/>
      <p:bldP spid="21" grpId="0" animBg="1"/>
      <p:bldP spid="27" grpId="0" animBg="1"/>
      <p:bldP spid="30" grpId="0" animBg="1"/>
      <p:bldP spid="18" grpId="0"/>
      <p:bldP spid="45" grpId="0" animBg="1"/>
      <p:bldP spid="56" grpId="0" animBg="1"/>
      <p:bldP spid="19" grpId="0" animBg="1"/>
      <p:bldP spid="22" grpId="0" animBg="1"/>
      <p:bldP spid="24" grpId="0" animBg="1"/>
      <p:bldP spid="25" grpId="0" animBg="1"/>
      <p:bldP spid="43" grpId="0" animBg="1"/>
      <p:bldP spid="35" grpId="0"/>
      <p:bldP spid="23" grpId="0" animBg="1"/>
    </p:bld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roject Selection</a:t>
            </a:r>
            <a:endParaRPr lang="en-US"/>
          </a:p>
        </p:txBody>
      </p:sp>
      <p:sp>
        <p:nvSpPr>
          <p:cNvPr id="31" name="Content Placeholder 2"/>
          <p:cNvSpPr txBox="1">
            <a:spLocks/>
          </p:cNvSpPr>
          <p:nvPr/>
        </p:nvSpPr>
        <p:spPr>
          <a:xfrm>
            <a:off x="1911192" y="2204229"/>
            <a:ext cx="2412616"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Quicker Development</a:t>
            </a:r>
          </a:p>
        </p:txBody>
      </p:sp>
      <p:sp>
        <p:nvSpPr>
          <p:cNvPr id="29" name="Content Placeholder 2"/>
          <p:cNvSpPr txBox="1">
            <a:spLocks/>
          </p:cNvSpPr>
          <p:nvPr/>
        </p:nvSpPr>
        <p:spPr>
          <a:xfrm>
            <a:off x="1911192" y="4044234"/>
            <a:ext cx="2660810"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reater Business Impact</a:t>
            </a:r>
          </a:p>
        </p:txBody>
      </p:sp>
      <p:sp>
        <p:nvSpPr>
          <p:cNvPr id="51" name="Content Placeholder 2"/>
          <p:cNvSpPr txBox="1">
            <a:spLocks/>
          </p:cNvSpPr>
          <p:nvPr/>
        </p:nvSpPr>
        <p:spPr>
          <a:xfrm>
            <a:off x="1911191" y="4983362"/>
            <a:ext cx="220361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al disruption</a:t>
            </a:r>
          </a:p>
        </p:txBody>
      </p:sp>
      <p:sp>
        <p:nvSpPr>
          <p:cNvPr id="55" name="Content Placeholder 2"/>
          <p:cNvSpPr txBox="1">
            <a:spLocks/>
          </p:cNvSpPr>
          <p:nvPr/>
        </p:nvSpPr>
        <p:spPr>
          <a:xfrm>
            <a:off x="1911192" y="3127172"/>
            <a:ext cx="160272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Wider Reach</a:t>
            </a:r>
          </a:p>
        </p:txBody>
      </p:sp>
      <p:sp>
        <p:nvSpPr>
          <p:cNvPr id="20" name="Content Placeholder 2"/>
          <p:cNvSpPr txBox="1">
            <a:spLocks/>
          </p:cNvSpPr>
          <p:nvPr/>
        </p:nvSpPr>
        <p:spPr>
          <a:xfrm>
            <a:off x="7762059" y="2195610"/>
            <a:ext cx="2335873"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isting SSAS Cubes</a:t>
            </a:r>
          </a:p>
        </p:txBody>
      </p:sp>
      <p:sp>
        <p:nvSpPr>
          <p:cNvPr id="21" name="Rectangle 20"/>
          <p:cNvSpPr/>
          <p:nvPr/>
        </p:nvSpPr>
        <p:spPr>
          <a:xfrm>
            <a:off x="7624395"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57122" y="3125483"/>
            <a:ext cx="282046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isting Data Warehouses</a:t>
            </a:r>
          </a:p>
        </p:txBody>
      </p:sp>
      <p:sp>
        <p:nvSpPr>
          <p:cNvPr id="30" name="Rectangle 29"/>
          <p:cNvSpPr/>
          <p:nvPr/>
        </p:nvSpPr>
        <p:spPr>
          <a:xfrm>
            <a:off x="7624395"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772225"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Rectangle 51"/>
          <p:cNvSpPr/>
          <p:nvPr/>
        </p:nvSpPr>
        <p:spPr>
          <a:xfrm>
            <a:off x="1772225" y="541185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772225"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57122" y="4054112"/>
            <a:ext cx="282046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igh level aggregate data </a:t>
            </a:r>
          </a:p>
        </p:txBody>
      </p:sp>
      <p:sp>
        <p:nvSpPr>
          <p:cNvPr id="22" name="Rectangle 21"/>
          <p:cNvSpPr/>
          <p:nvPr/>
        </p:nvSpPr>
        <p:spPr>
          <a:xfrm>
            <a:off x="7624395"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57122" y="4985229"/>
            <a:ext cx="3059267"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xcel/Access based solutions</a:t>
            </a:r>
          </a:p>
        </p:txBody>
      </p:sp>
      <p:sp>
        <p:nvSpPr>
          <p:cNvPr id="25" name="Rectangle 24"/>
          <p:cNvSpPr/>
          <p:nvPr/>
        </p:nvSpPr>
        <p:spPr>
          <a:xfrm>
            <a:off x="7624395"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757123" y="5915103"/>
            <a:ext cx="200083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ototyping stage</a:t>
            </a:r>
          </a:p>
        </p:txBody>
      </p:sp>
      <p:sp>
        <p:nvSpPr>
          <p:cNvPr id="33" name="Rectangle 32"/>
          <p:cNvSpPr/>
          <p:nvPr/>
        </p:nvSpPr>
        <p:spPr>
          <a:xfrm>
            <a:off x="7624395" y="6343179"/>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772225"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6" name="Rectangle 25">
            <a:extLst>
              <a:ext uri="{FF2B5EF4-FFF2-40B4-BE49-F238E27FC236}">
                <a16:creationId xmlns:a16="http://schemas.microsoft.com/office/drawing/2014/main" id="{FB4F96FC-9FB8-48B7-81D3-937410235B44}"/>
              </a:ext>
            </a:extLst>
          </p:cNvPr>
          <p:cNvSpPr/>
          <p:nvPr/>
        </p:nvSpPr>
        <p:spPr bwMode="auto">
          <a:xfrm>
            <a:off x="0" y="1257196"/>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36738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43551">
        <p159:morph option="byObject"/>
      </p:transition>
    </mc:Choice>
    <mc:Fallback xmlns="">
      <p:transition spd="slow" advTm="1435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fltVal val="0"/>
                                          </p:val>
                                        </p:tav>
                                        <p:tav tm="100000">
                                          <p:val>
                                            <p:strVal val="#ppt_w"/>
                                          </p:val>
                                        </p:tav>
                                      </p:tavLst>
                                    </p:anim>
                                    <p:anim calcmode="lin" valueType="num">
                                      <p:cBhvr>
                                        <p:cTn id="28" dur="500" fill="hold"/>
                                        <p:tgtEl>
                                          <p:spTgt spid="45"/>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00"/>
                                        <p:tgtEl>
                                          <p:spTgt spid="29"/>
                                        </p:tgtEl>
                                      </p:cBhvr>
                                    </p:animEffect>
                                  </p:childTnLst>
                                </p:cTn>
                              </p:par>
                            </p:childTnLst>
                          </p:cTn>
                        </p:par>
                        <p:par>
                          <p:cTn id="32" fill="hold">
                            <p:stCondLst>
                              <p:cond delay="2000"/>
                            </p:stCondLst>
                            <p:childTnLst>
                              <p:par>
                                <p:cTn id="33" presetID="23" presetClass="entr" presetSubtype="16"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p:cTn id="35" dur="500" fill="hold"/>
                                        <p:tgtEl>
                                          <p:spTgt spid="52"/>
                                        </p:tgtEl>
                                        <p:attrNameLst>
                                          <p:attrName>ppt_w</p:attrName>
                                        </p:attrNameLst>
                                      </p:cBhvr>
                                      <p:tavLst>
                                        <p:tav tm="0">
                                          <p:val>
                                            <p:fltVal val="0"/>
                                          </p:val>
                                        </p:tav>
                                        <p:tav tm="100000">
                                          <p:val>
                                            <p:strVal val="#ppt_w"/>
                                          </p:val>
                                        </p:tav>
                                      </p:tavLst>
                                    </p:anim>
                                    <p:anim calcmode="lin" valueType="num">
                                      <p:cBhvr>
                                        <p:cTn id="36" dur="500" fill="hold"/>
                                        <p:tgtEl>
                                          <p:spTgt spid="52"/>
                                        </p:tgtEl>
                                        <p:attrNameLst>
                                          <p:attrName>ppt_h</p:attrName>
                                        </p:attrNameLst>
                                      </p:cBhvr>
                                      <p:tavLst>
                                        <p:tav tm="0">
                                          <p:val>
                                            <p:fltVal val="0"/>
                                          </p:val>
                                        </p:tav>
                                        <p:tav tm="100000">
                                          <p:val>
                                            <p:strVal val="#ppt_h"/>
                                          </p:val>
                                        </p:tav>
                                      </p:tavLst>
                                    </p:anim>
                                  </p:childTnLst>
                                </p:cTn>
                              </p:par>
                              <p:par>
                                <p:cTn id="37" presetID="22" presetClass="entr" presetSubtype="4"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down)">
                                      <p:cBhvr>
                                        <p:cTn id="39" dur="500"/>
                                        <p:tgtEl>
                                          <p:spTgt spid="5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500"/>
                                        <p:tgtEl>
                                          <p:spTgt spid="3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23" presetClass="entr" presetSubtype="16"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wipe(down)">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30"/>
                                        </p:tgtEl>
                                        <p:attrNameLst>
                                          <p:attrName>style.visibility</p:attrName>
                                        </p:attrNameLst>
                                      </p:cBhvr>
                                      <p:to>
                                        <p:strVal val="visible"/>
                                      </p:to>
                                    </p:set>
                                    <p:anim calcmode="lin" valueType="num">
                                      <p:cBhvr>
                                        <p:cTn id="61" dur="500" fill="hold"/>
                                        <p:tgtEl>
                                          <p:spTgt spid="30"/>
                                        </p:tgtEl>
                                        <p:attrNameLst>
                                          <p:attrName>ppt_w</p:attrName>
                                        </p:attrNameLst>
                                      </p:cBhvr>
                                      <p:tavLst>
                                        <p:tav tm="0">
                                          <p:val>
                                            <p:fltVal val="0"/>
                                          </p:val>
                                        </p:tav>
                                        <p:tav tm="100000">
                                          <p:val>
                                            <p:strVal val="#ppt_w"/>
                                          </p:val>
                                        </p:tav>
                                      </p:tavLst>
                                    </p:anim>
                                    <p:anim calcmode="lin" valueType="num">
                                      <p:cBhvr>
                                        <p:cTn id="62" dur="500" fill="hold"/>
                                        <p:tgtEl>
                                          <p:spTgt spid="30"/>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wipe(down)">
                                      <p:cBhvr>
                                        <p:cTn id="65" dur="500"/>
                                        <p:tgtEl>
                                          <p:spTgt spid="27"/>
                                        </p:tgtEl>
                                      </p:cBhvr>
                                    </p:animEffect>
                                  </p:childTnLst>
                                </p:cTn>
                              </p:par>
                            </p:childTnLst>
                          </p:cTn>
                        </p:par>
                      </p:childTnLst>
                    </p:cTn>
                  </p:par>
                  <p:par>
                    <p:cTn id="66" fill="hold">
                      <p:stCondLst>
                        <p:cond delay="indefinite"/>
                      </p:stCondLst>
                      <p:childTnLst>
                        <p:par>
                          <p:cTn id="67" fill="hold">
                            <p:stCondLst>
                              <p:cond delay="0"/>
                            </p:stCondLst>
                            <p:childTnLst>
                              <p:par>
                                <p:cTn id="68" presetID="23" presetClass="entr" presetSubtype="16" fill="hold" grpId="0" nodeType="clickEffect">
                                  <p:stCondLst>
                                    <p:cond delay="0"/>
                                  </p:stCondLst>
                                  <p:childTnLst>
                                    <p:set>
                                      <p:cBhvr>
                                        <p:cTn id="69" dur="1" fill="hold">
                                          <p:stCondLst>
                                            <p:cond delay="0"/>
                                          </p:stCondLst>
                                        </p:cTn>
                                        <p:tgtEl>
                                          <p:spTgt spid="22"/>
                                        </p:tgtEl>
                                        <p:attrNameLst>
                                          <p:attrName>style.visibility</p:attrName>
                                        </p:attrNameLst>
                                      </p:cBhvr>
                                      <p:to>
                                        <p:strVal val="visible"/>
                                      </p:to>
                                    </p:set>
                                    <p:anim calcmode="lin" valueType="num">
                                      <p:cBhvr>
                                        <p:cTn id="70" dur="500" fill="hold"/>
                                        <p:tgtEl>
                                          <p:spTgt spid="22"/>
                                        </p:tgtEl>
                                        <p:attrNameLst>
                                          <p:attrName>ppt_w</p:attrName>
                                        </p:attrNameLst>
                                      </p:cBhvr>
                                      <p:tavLst>
                                        <p:tav tm="0">
                                          <p:val>
                                            <p:fltVal val="0"/>
                                          </p:val>
                                        </p:tav>
                                        <p:tav tm="100000">
                                          <p:val>
                                            <p:strVal val="#ppt_w"/>
                                          </p:val>
                                        </p:tav>
                                      </p:tavLst>
                                    </p:anim>
                                    <p:anim calcmode="lin" valueType="num">
                                      <p:cBhvr>
                                        <p:cTn id="71" dur="500" fill="hold"/>
                                        <p:tgtEl>
                                          <p:spTgt spid="22"/>
                                        </p:tgtEl>
                                        <p:attrNameLst>
                                          <p:attrName>ppt_h</p:attrName>
                                        </p:attrNameLst>
                                      </p:cBhvr>
                                      <p:tavLst>
                                        <p:tav tm="0">
                                          <p:val>
                                            <p:fltVal val="0"/>
                                          </p:val>
                                        </p:tav>
                                        <p:tav tm="100000">
                                          <p:val>
                                            <p:strVal val="#ppt_h"/>
                                          </p:val>
                                        </p:tav>
                                      </p:tavLst>
                                    </p:anim>
                                  </p:childTnLst>
                                </p:cTn>
                              </p:par>
                              <p:par>
                                <p:cTn id="72" presetID="22" presetClass="entr" presetSubtype="4"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wipe(down)">
                                      <p:cBhvr>
                                        <p:cTn id="74" dur="500"/>
                                        <p:tgtEl>
                                          <p:spTgt spid="19"/>
                                        </p:tgtEl>
                                      </p:cBhvr>
                                    </p:animEffect>
                                  </p:childTnLst>
                                </p:cTn>
                              </p:par>
                            </p:childTnLst>
                          </p:cTn>
                        </p:par>
                      </p:childTnLst>
                    </p:cTn>
                  </p:par>
                  <p:par>
                    <p:cTn id="75" fill="hold">
                      <p:stCondLst>
                        <p:cond delay="indefinite"/>
                      </p:stCondLst>
                      <p:childTnLst>
                        <p:par>
                          <p:cTn id="76" fill="hold">
                            <p:stCondLst>
                              <p:cond delay="0"/>
                            </p:stCondLst>
                            <p:childTnLst>
                              <p:par>
                                <p:cTn id="77" presetID="23" presetClass="entr" presetSubtype="16" fill="hold" grpId="0" nodeType="clickEffect">
                                  <p:stCondLst>
                                    <p:cond delay="0"/>
                                  </p:stCondLst>
                                  <p:childTnLst>
                                    <p:set>
                                      <p:cBhvr>
                                        <p:cTn id="78" dur="1" fill="hold">
                                          <p:stCondLst>
                                            <p:cond delay="0"/>
                                          </p:stCondLst>
                                        </p:cTn>
                                        <p:tgtEl>
                                          <p:spTgt spid="25"/>
                                        </p:tgtEl>
                                        <p:attrNameLst>
                                          <p:attrName>style.visibility</p:attrName>
                                        </p:attrNameLst>
                                      </p:cBhvr>
                                      <p:to>
                                        <p:strVal val="visible"/>
                                      </p:to>
                                    </p:set>
                                    <p:anim calcmode="lin" valueType="num">
                                      <p:cBhvr>
                                        <p:cTn id="79" dur="500" fill="hold"/>
                                        <p:tgtEl>
                                          <p:spTgt spid="25"/>
                                        </p:tgtEl>
                                        <p:attrNameLst>
                                          <p:attrName>ppt_w</p:attrName>
                                        </p:attrNameLst>
                                      </p:cBhvr>
                                      <p:tavLst>
                                        <p:tav tm="0">
                                          <p:val>
                                            <p:fltVal val="0"/>
                                          </p:val>
                                        </p:tav>
                                        <p:tav tm="100000">
                                          <p:val>
                                            <p:strVal val="#ppt_w"/>
                                          </p:val>
                                        </p:tav>
                                      </p:tavLst>
                                    </p:anim>
                                    <p:anim calcmode="lin" valueType="num">
                                      <p:cBhvr>
                                        <p:cTn id="80" dur="500" fill="hold"/>
                                        <p:tgtEl>
                                          <p:spTgt spid="25"/>
                                        </p:tgtEl>
                                        <p:attrNameLst>
                                          <p:attrName>ppt_h</p:attrName>
                                        </p:attrNameLst>
                                      </p:cBhvr>
                                      <p:tavLst>
                                        <p:tav tm="0">
                                          <p:val>
                                            <p:fltVal val="0"/>
                                          </p:val>
                                        </p:tav>
                                        <p:tav tm="100000">
                                          <p:val>
                                            <p:strVal val="#ppt_h"/>
                                          </p:val>
                                        </p:tav>
                                      </p:tavLst>
                                    </p:anim>
                                  </p:childTnLst>
                                </p:cTn>
                              </p:par>
                              <p:par>
                                <p:cTn id="81" presetID="22" presetClass="entr" presetSubtype="4" fill="hold" grpId="0" nodeType="with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wipe(down)">
                                      <p:cBhvr>
                                        <p:cTn id="83" dur="500"/>
                                        <p:tgtEl>
                                          <p:spTgt spid="24"/>
                                        </p:tgtEl>
                                      </p:cBhvr>
                                    </p:animEffect>
                                  </p:childTnLst>
                                </p:cTn>
                              </p:par>
                            </p:childTnLst>
                          </p:cTn>
                        </p:par>
                      </p:childTnLst>
                    </p:cTn>
                  </p:par>
                  <p:par>
                    <p:cTn id="84" fill="hold">
                      <p:stCondLst>
                        <p:cond delay="indefinite"/>
                      </p:stCondLst>
                      <p:childTnLst>
                        <p:par>
                          <p:cTn id="85" fill="hold">
                            <p:stCondLst>
                              <p:cond delay="0"/>
                            </p:stCondLst>
                            <p:childTnLst>
                              <p:par>
                                <p:cTn id="86" presetID="23" presetClass="entr" presetSubtype="16" fill="hold" grpId="0" nodeType="click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p:cTn id="88" dur="500" fill="hold"/>
                                        <p:tgtEl>
                                          <p:spTgt spid="33"/>
                                        </p:tgtEl>
                                        <p:attrNameLst>
                                          <p:attrName>ppt_w</p:attrName>
                                        </p:attrNameLst>
                                      </p:cBhvr>
                                      <p:tavLst>
                                        <p:tav tm="0">
                                          <p:val>
                                            <p:fltVal val="0"/>
                                          </p:val>
                                        </p:tav>
                                        <p:tav tm="100000">
                                          <p:val>
                                            <p:strVal val="#ppt_w"/>
                                          </p:val>
                                        </p:tav>
                                      </p:tavLst>
                                    </p:anim>
                                    <p:anim calcmode="lin" valueType="num">
                                      <p:cBhvr>
                                        <p:cTn id="89" dur="500" fill="hold"/>
                                        <p:tgtEl>
                                          <p:spTgt spid="33"/>
                                        </p:tgtEl>
                                        <p:attrNameLst>
                                          <p:attrName>ppt_h</p:attrName>
                                        </p:attrNameLst>
                                      </p:cBhvr>
                                      <p:tavLst>
                                        <p:tav tm="0">
                                          <p:val>
                                            <p:fltVal val="0"/>
                                          </p:val>
                                        </p:tav>
                                        <p:tav tm="100000">
                                          <p:val>
                                            <p:strVal val="#ppt_h"/>
                                          </p:val>
                                        </p:tav>
                                      </p:tavLst>
                                    </p:anim>
                                  </p:childTnLst>
                                </p:cTn>
                              </p:par>
                              <p:par>
                                <p:cTn id="90" presetID="22" presetClass="entr" presetSubtype="4" fill="hold" grpId="0" nodeType="withEffect">
                                  <p:stCondLst>
                                    <p:cond delay="0"/>
                                  </p:stCondLst>
                                  <p:childTnLst>
                                    <p:set>
                                      <p:cBhvr>
                                        <p:cTn id="91" dur="1" fill="hold">
                                          <p:stCondLst>
                                            <p:cond delay="0"/>
                                          </p:stCondLst>
                                        </p:cTn>
                                        <p:tgtEl>
                                          <p:spTgt spid="32"/>
                                        </p:tgtEl>
                                        <p:attrNameLst>
                                          <p:attrName>style.visibility</p:attrName>
                                        </p:attrNameLst>
                                      </p:cBhvr>
                                      <p:to>
                                        <p:strVal val="visible"/>
                                      </p:to>
                                    </p:set>
                                    <p:animEffect transition="in" filter="wipe(down)">
                                      <p:cBhvr>
                                        <p:cTn id="9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animBg="1"/>
      <p:bldP spid="51" grpId="0" animBg="1"/>
      <p:bldP spid="55" grpId="0" animBg="1"/>
      <p:bldP spid="20" grpId="0" animBg="1"/>
      <p:bldP spid="21" grpId="0" animBg="1"/>
      <p:bldP spid="27" grpId="0" animBg="1"/>
      <p:bldP spid="30" grpId="0" animBg="1"/>
      <p:bldP spid="18" grpId="0"/>
      <p:bldP spid="45" grpId="0" animBg="1"/>
      <p:bldP spid="52" grpId="0" animBg="1"/>
      <p:bldP spid="56" grpId="0" animBg="1"/>
      <p:bldP spid="19" grpId="0" animBg="1"/>
      <p:bldP spid="22" grpId="0" animBg="1"/>
      <p:bldP spid="24" grpId="0" animBg="1"/>
      <p:bldP spid="25" grpId="0" animBg="1"/>
      <p:bldP spid="32" grpId="0" animBg="1"/>
      <p:bldP spid="33" grpId="0" animBg="1"/>
      <p:bldP spid="43" grpId="0" animBg="1"/>
      <p:bldP spid="35" grpId="0"/>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Data Culture</a:t>
            </a:r>
            <a:endParaRPr lang="en-US"/>
          </a:p>
        </p:txBody>
      </p:sp>
      <p:graphicFrame>
        <p:nvGraphicFramePr>
          <p:cNvPr id="4" name="Tabelle 3">
            <a:extLst>
              <a:ext uri="{FF2B5EF4-FFF2-40B4-BE49-F238E27FC236}">
                <a16:creationId xmlns:a16="http://schemas.microsoft.com/office/drawing/2014/main" id="{36C7588C-7F0A-4C47-ACA7-1FF1CDFC8136}"/>
              </a:ext>
            </a:extLst>
          </p:cNvPr>
          <p:cNvGraphicFramePr/>
          <p:nvPr/>
        </p:nvGraphicFramePr>
        <p:xfrm>
          <a:off x="635977" y="1210284"/>
          <a:ext cx="10920046" cy="5645282"/>
        </p:xfrm>
        <a:graphic>
          <a:graphicData uri="http://schemas.openxmlformats.org/drawingml/2006/table">
            <a:tbl>
              <a:tblPr>
                <a:tableStyleId>{5C22544A-7EE6-4342-B048-85BDC9FD1C3A}</a:tableStyleId>
              </a:tblPr>
              <a:tblGrid>
                <a:gridCol w="1406769">
                  <a:extLst>
                    <a:ext uri="{9D8B030D-6E8A-4147-A177-3AD203B41FA5}">
                      <a16:colId xmlns:a16="http://schemas.microsoft.com/office/drawing/2014/main" val="67946499"/>
                    </a:ext>
                  </a:extLst>
                </a:gridCol>
                <a:gridCol w="9513277">
                  <a:extLst>
                    <a:ext uri="{9D8B030D-6E8A-4147-A177-3AD203B41FA5}">
                      <a16:colId xmlns:a16="http://schemas.microsoft.com/office/drawing/2014/main" val="581666520"/>
                    </a:ext>
                  </a:extLst>
                </a:gridCol>
              </a:tblGrid>
              <a:tr h="433622">
                <a:tc>
                  <a:txBody>
                    <a:bodyPr/>
                    <a:lstStyle/>
                    <a:p>
                      <a:pPr algn="l" fontAlgn="t">
                        <a:spcBef>
                          <a:spcPts val="0"/>
                        </a:spcBef>
                        <a:spcAft>
                          <a:spcPts val="0"/>
                        </a:spcAft>
                      </a:pPr>
                      <a:r>
                        <a:rPr lang="en-US" sz="1400" b="1" u="none" strike="noStrike">
                          <a:effectLst/>
                        </a:rPr>
                        <a:t>Level</a:t>
                      </a:r>
                      <a:endParaRPr lang="en-US" sz="1400" b="1"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b="1" u="none" strike="noStrike">
                          <a:effectLst/>
                        </a:rPr>
                        <a:t>State of data culture</a:t>
                      </a:r>
                    </a:p>
                    <a:p>
                      <a:pPr algn="l" fontAlgn="t">
                        <a:spcBef>
                          <a:spcPts val="0"/>
                        </a:spcBef>
                        <a:spcAft>
                          <a:spcPts val="0"/>
                        </a:spcAft>
                      </a:pPr>
                      <a:endParaRPr lang="en-US" sz="1400" b="1"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3739384948"/>
                  </a:ext>
                </a:extLst>
              </a:tr>
              <a:tr h="1316532">
                <a:tc>
                  <a:txBody>
                    <a:bodyPr/>
                    <a:lstStyle/>
                    <a:p>
                      <a:pPr algn="l" fontAlgn="t">
                        <a:spcBef>
                          <a:spcPts val="0"/>
                        </a:spcBef>
                        <a:spcAft>
                          <a:spcPts val="0"/>
                        </a:spcAft>
                      </a:pPr>
                      <a:r>
                        <a:rPr lang="en-US" sz="1400" u="none" strike="noStrike">
                          <a:effectLst/>
                        </a:rPr>
                        <a:t>100: Initial</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There are business intelligence (BI) initiatives taking place—with some successes—in various areas of the organization. These activities are occurring in a somewhat chaotic manner, with few formal processes, and without a strategic plan.</a:t>
                      </a:r>
                      <a:br>
                        <a:rPr lang="en-US" sz="1400" u="none" strike="noStrike">
                          <a:effectLst/>
                        </a:rPr>
                      </a:br>
                      <a:r>
                        <a:rPr lang="en-US" sz="1400" u="none" strike="noStrike">
                          <a:effectLst/>
                        </a:rPr>
                        <a:t>A significant backlog of requests may exist for the enterprise BI team.</a:t>
                      </a:r>
                      <a:br>
                        <a:rPr lang="en-US" sz="1400" u="none" strike="noStrike">
                          <a:effectLst/>
                        </a:rPr>
                      </a:br>
                      <a:r>
                        <a:rPr lang="en-US" sz="1400" u="none" strike="noStrike">
                          <a:effectLst/>
                        </a:rPr>
                        <a:t>There is a lack of oversight and visibility into self-service BI operations. The successes or failures of BI solutions are not well-understood.</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3420456584"/>
                  </a:ext>
                </a:extLst>
              </a:tr>
              <a:tr h="667396">
                <a:tc>
                  <a:txBody>
                    <a:bodyPr/>
                    <a:lstStyle/>
                    <a:p>
                      <a:pPr algn="l" fontAlgn="t">
                        <a:spcBef>
                          <a:spcPts val="0"/>
                        </a:spcBef>
                        <a:spcAft>
                          <a:spcPts val="0"/>
                        </a:spcAft>
                      </a:pPr>
                      <a:r>
                        <a:rPr lang="en-US" sz="1400" u="none" strike="noStrike">
                          <a:effectLst/>
                        </a:rPr>
                        <a:t>200: Repeatable</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Multiple teams have had measurable successes with self-service BI solutions.</a:t>
                      </a:r>
                      <a:br>
                        <a:rPr lang="en-US" sz="1400" u="none" strike="noStrike">
                          <a:effectLst/>
                        </a:rPr>
                      </a:br>
                      <a:r>
                        <a:rPr lang="en-US" sz="1400" u="none" strike="noStrike">
                          <a:effectLst/>
                        </a:rPr>
                        <a:t>Investments are made to identify the ideal balance of enterprise BI and self-service BI.</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1288026614"/>
                  </a:ext>
                </a:extLst>
              </a:tr>
              <a:tr h="834026">
                <a:tc>
                  <a:txBody>
                    <a:bodyPr/>
                    <a:lstStyle/>
                    <a:p>
                      <a:pPr algn="l" fontAlgn="t">
                        <a:spcBef>
                          <a:spcPts val="0"/>
                        </a:spcBef>
                        <a:spcAft>
                          <a:spcPts val="0"/>
                        </a:spcAft>
                      </a:pPr>
                      <a:r>
                        <a:rPr lang="en-US" sz="1400" u="none" strike="noStrike">
                          <a:effectLst/>
                        </a:rPr>
                        <a:t>300: Defined</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Specific goals are established for advancing the data culture, and these goals are implemented incrementally.</a:t>
                      </a:r>
                      <a:br>
                        <a:rPr lang="en-US" sz="1400" u="none" strike="noStrike">
                          <a:effectLst/>
                        </a:rPr>
                      </a:br>
                      <a:r>
                        <a:rPr lang="en-US" sz="1400" u="none" strike="noStrike">
                          <a:effectLst/>
                        </a:rPr>
                        <a:t>Effective self-service BI practices are incrementally—and purposely—replicated throughout more areas of the organization.</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2205278168"/>
                  </a:ext>
                </a:extLst>
              </a:tr>
              <a:tr h="1083733">
                <a:tc>
                  <a:txBody>
                    <a:bodyPr/>
                    <a:lstStyle/>
                    <a:p>
                      <a:pPr algn="l" fontAlgn="t">
                        <a:spcBef>
                          <a:spcPts val="0"/>
                        </a:spcBef>
                        <a:spcAft>
                          <a:spcPts val="0"/>
                        </a:spcAft>
                      </a:pPr>
                      <a:r>
                        <a:rPr lang="en-US" sz="1400" u="none" strike="noStrike">
                          <a:effectLst/>
                        </a:rPr>
                        <a:t>400: Capable</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The data culture goals to employ informed decision-making are aligned with organizational objectives, actively supported by the executive sponsor, and directly impact on the adoption strategies put into place.</a:t>
                      </a:r>
                      <a:br>
                        <a:rPr lang="en-US" sz="1400" u="none" strike="noStrike">
                          <a:effectLst/>
                        </a:rPr>
                      </a:br>
                      <a:r>
                        <a:rPr lang="en-US" sz="1400" u="none" strike="noStrike">
                          <a:effectLst/>
                        </a:rPr>
                        <a:t>A healthy and productive partnership exists between the COE, business units, and IT.</a:t>
                      </a:r>
                      <a:br>
                        <a:rPr lang="en-US" sz="1400" u="none" strike="noStrike">
                          <a:effectLst/>
                        </a:rPr>
                      </a:br>
                      <a:r>
                        <a:rPr lang="en-US" sz="1400" u="none" strike="noStrike">
                          <a:effectLst/>
                        </a:rPr>
                        <a:t>It's common that individuals who take initiative in building valuable BI solutions are recognized and rewarded.</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1245517669"/>
                  </a:ext>
                </a:extLst>
              </a:tr>
              <a:tr h="1301433">
                <a:tc>
                  <a:txBody>
                    <a:bodyPr/>
                    <a:lstStyle/>
                    <a:p>
                      <a:pPr algn="l" fontAlgn="t">
                        <a:spcBef>
                          <a:spcPts val="0"/>
                        </a:spcBef>
                        <a:spcAft>
                          <a:spcPts val="0"/>
                        </a:spcAft>
                      </a:pPr>
                      <a:r>
                        <a:rPr lang="en-US" sz="1400" u="none" strike="noStrike">
                          <a:effectLst/>
                        </a:rPr>
                        <a:t>500: Efficient</a:t>
                      </a:r>
                      <a:endParaRPr lang="en-US" sz="1400" b="0" i="0" u="none" strike="noStrike">
                        <a:effectLst/>
                        <a:latin typeface="Arial" panose="020B0604020202020204" pitchFamily="34" charset="0"/>
                      </a:endParaRPr>
                    </a:p>
                  </a:txBody>
                  <a:tcPr marL="15443" marR="15443" marT="7721" marB="7721"/>
                </a:tc>
                <a:tc>
                  <a:txBody>
                    <a:bodyPr/>
                    <a:lstStyle/>
                    <a:p>
                      <a:pPr algn="l" fontAlgn="t">
                        <a:spcBef>
                          <a:spcPts val="0"/>
                        </a:spcBef>
                        <a:spcAft>
                          <a:spcPts val="0"/>
                        </a:spcAft>
                      </a:pPr>
                      <a:r>
                        <a:rPr lang="en-US" sz="1400" u="none" strike="noStrike">
                          <a:effectLst/>
                        </a:rPr>
                        <a:t>Regular review of key performance indicators validate that data culture results are aligned with intentions.</a:t>
                      </a:r>
                      <a:br>
                        <a:rPr lang="en-US" sz="1400" u="none" strike="noStrike">
                          <a:effectLst/>
                        </a:rPr>
                      </a:br>
                      <a:r>
                        <a:rPr lang="en-US" sz="1400" u="none" strike="noStrike">
                          <a:effectLst/>
                        </a:rPr>
                        <a:t>The business value of BI solutions is regularly evaluated and measured; feedback loops encourage ongoing improvements.</a:t>
                      </a:r>
                      <a:br>
                        <a:rPr lang="en-US" sz="1400" u="none" strike="noStrike">
                          <a:effectLst/>
                        </a:rPr>
                      </a:br>
                      <a:r>
                        <a:rPr lang="en-US" sz="1400" u="none" strike="noStrike">
                          <a:effectLst/>
                        </a:rPr>
                        <a:t>Continual improvement of organizational adoption, user adoption, and solution adoption are top priorities. Learnings are incrementally adapted throughout the organization on an ongoing basis.</a:t>
                      </a:r>
                      <a:endParaRPr lang="en-US" sz="1400" b="0" i="0" u="none" strike="noStrike">
                        <a:effectLst/>
                        <a:latin typeface="Arial" panose="020B0604020202020204" pitchFamily="34" charset="0"/>
                      </a:endParaRPr>
                    </a:p>
                  </a:txBody>
                  <a:tcPr marL="15443" marR="15443" marT="7721" marB="7721"/>
                </a:tc>
                <a:extLst>
                  <a:ext uri="{0D108BD9-81ED-4DB2-BD59-A6C34878D82A}">
                    <a16:rowId xmlns:a16="http://schemas.microsoft.com/office/drawing/2014/main" val="411268165"/>
                  </a:ext>
                </a:extLst>
              </a:tr>
            </a:tbl>
          </a:graphicData>
        </a:graphic>
      </p:graphicFrame>
    </p:spTree>
    <p:extLst>
      <p:ext uri="{BB962C8B-B14F-4D97-AF65-F5344CB8AC3E}">
        <p14:creationId xmlns:p14="http://schemas.microsoft.com/office/powerpoint/2010/main" val="3712019576"/>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Have you identified initial projects to work on?</a:t>
            </a:r>
          </a:p>
        </p:txBody>
      </p:sp>
    </p:spTree>
    <p:custDataLst>
      <p:tags r:id="rId1"/>
    </p:custDataLst>
    <p:extLst>
      <p:ext uri="{BB962C8B-B14F-4D97-AF65-F5344CB8AC3E}">
        <p14:creationId xmlns:p14="http://schemas.microsoft.com/office/powerpoint/2010/main" val="819374775"/>
      </p:ext>
    </p:extLst>
  </p:cSld>
  <p:clrMapOvr>
    <a:masterClrMapping/>
  </p:clrMapOvr>
  <mc:AlternateContent xmlns:mc="http://schemas.openxmlformats.org/markup-compatibility/2006" xmlns:p14="http://schemas.microsoft.com/office/powerpoint/2010/main">
    <mc:Choice Requires="p14">
      <p:transition spd="med" p14:dur="700" advTm="12800">
        <p:fade/>
      </p:transition>
    </mc:Choice>
    <mc:Fallback xmlns="">
      <p:transition spd="med" advTm="12800">
        <p:fade/>
      </p:transition>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Change Management</a:t>
            </a:r>
            <a:endParaRPr lang="en-US"/>
          </a:p>
        </p:txBody>
      </p:sp>
      <p:sp>
        <p:nvSpPr>
          <p:cNvPr id="31" name="Content Placeholder 2"/>
          <p:cNvSpPr txBox="1">
            <a:spLocks/>
          </p:cNvSpPr>
          <p:nvPr/>
        </p:nvSpPr>
        <p:spPr>
          <a:xfrm>
            <a:off x="2164900" y="2204229"/>
            <a:ext cx="183590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ase for change</a:t>
            </a:r>
          </a:p>
        </p:txBody>
      </p:sp>
      <p:sp>
        <p:nvSpPr>
          <p:cNvPr id="55" name="Content Placeholder 2"/>
          <p:cNvSpPr txBox="1">
            <a:spLocks/>
          </p:cNvSpPr>
          <p:nvPr/>
        </p:nvSpPr>
        <p:spPr>
          <a:xfrm>
            <a:off x="2164899" y="3127172"/>
            <a:ext cx="207298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mooth transition</a:t>
            </a:r>
          </a:p>
        </p:txBody>
      </p:sp>
      <p:sp>
        <p:nvSpPr>
          <p:cNvPr id="20" name="Content Placeholder 2"/>
          <p:cNvSpPr txBox="1">
            <a:spLocks/>
          </p:cNvSpPr>
          <p:nvPr/>
        </p:nvSpPr>
        <p:spPr>
          <a:xfrm>
            <a:off x="7186951" y="2204229"/>
            <a:ext cx="343185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hange Management specialists</a:t>
            </a:r>
          </a:p>
        </p:txBody>
      </p:sp>
      <p:sp>
        <p:nvSpPr>
          <p:cNvPr id="21" name="Rectangle 20"/>
          <p:cNvSpPr/>
          <p:nvPr/>
        </p:nvSpPr>
        <p:spPr>
          <a:xfrm>
            <a:off x="7049286"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182013" y="3134102"/>
            <a:ext cx="343185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hange Management platforms</a:t>
            </a:r>
          </a:p>
        </p:txBody>
      </p:sp>
      <p:sp>
        <p:nvSpPr>
          <p:cNvPr id="30" name="Rectangle 29"/>
          <p:cNvSpPr/>
          <p:nvPr/>
        </p:nvSpPr>
        <p:spPr>
          <a:xfrm>
            <a:off x="7049286"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202593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182012" y="4063975"/>
            <a:ext cx="224937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ocess of transition</a:t>
            </a:r>
          </a:p>
        </p:txBody>
      </p:sp>
      <p:sp>
        <p:nvSpPr>
          <p:cNvPr id="22" name="Rectangle 21"/>
          <p:cNvSpPr/>
          <p:nvPr/>
        </p:nvSpPr>
        <p:spPr>
          <a:xfrm>
            <a:off x="7049286"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182013" y="4993848"/>
            <a:ext cx="2144867"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Clarity on timelines</a:t>
            </a:r>
          </a:p>
        </p:txBody>
      </p:sp>
      <p:sp>
        <p:nvSpPr>
          <p:cNvPr id="25" name="Rectangle 24"/>
          <p:cNvSpPr/>
          <p:nvPr/>
        </p:nvSpPr>
        <p:spPr>
          <a:xfrm>
            <a:off x="7049286"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182014" y="5923722"/>
            <a:ext cx="2549815"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witchover/ Parallel run </a:t>
            </a:r>
          </a:p>
        </p:txBody>
      </p:sp>
      <p:sp>
        <p:nvSpPr>
          <p:cNvPr id="33" name="Rectangle 32"/>
          <p:cNvSpPr/>
          <p:nvPr/>
        </p:nvSpPr>
        <p:spPr>
          <a:xfrm>
            <a:off x="7049286" y="635179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202593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8" name="Rectangle 27">
            <a:extLst>
              <a:ext uri="{FF2B5EF4-FFF2-40B4-BE49-F238E27FC236}">
                <a16:creationId xmlns:a16="http://schemas.microsoft.com/office/drawing/2014/main" id="{436D0221-BE08-4D28-AAA7-8346E2A41620}"/>
              </a:ext>
            </a:extLst>
          </p:cNvPr>
          <p:cNvSpPr/>
          <p:nvPr/>
        </p:nvSpPr>
        <p:spPr bwMode="auto">
          <a:xfrm>
            <a:off x="-18235"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721987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4731">
        <p159:morph option="byObject"/>
      </p:transition>
    </mc:Choice>
    <mc:Fallback xmlns="">
      <p:transition spd="slow" advTm="1047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23" presetClass="entr" presetSubtype="16"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childTnLst>
                                </p:cTn>
                              </p:par>
                              <p:par>
                                <p:cTn id="36" presetID="22" presetClass="entr" presetSubtype="4"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p:cTn id="43" dur="500" fill="hold"/>
                                        <p:tgtEl>
                                          <p:spTgt spid="30"/>
                                        </p:tgtEl>
                                        <p:attrNameLst>
                                          <p:attrName>ppt_w</p:attrName>
                                        </p:attrNameLst>
                                      </p:cBhvr>
                                      <p:tavLst>
                                        <p:tav tm="0">
                                          <p:val>
                                            <p:fltVal val="0"/>
                                          </p:val>
                                        </p:tav>
                                        <p:tav tm="100000">
                                          <p:val>
                                            <p:strVal val="#ppt_w"/>
                                          </p:val>
                                        </p:tav>
                                      </p:tavLst>
                                    </p:anim>
                                    <p:anim calcmode="lin" valueType="num">
                                      <p:cBhvr>
                                        <p:cTn id="44" dur="500" fill="hold"/>
                                        <p:tgtEl>
                                          <p:spTgt spid="30"/>
                                        </p:tgtEl>
                                        <p:attrNameLst>
                                          <p:attrName>ppt_h</p:attrName>
                                        </p:attrNameLst>
                                      </p:cBhvr>
                                      <p:tavLst>
                                        <p:tav tm="0">
                                          <p:val>
                                            <p:fltVal val="0"/>
                                          </p:val>
                                        </p:tav>
                                        <p:tav tm="100000">
                                          <p:val>
                                            <p:strVal val="#ppt_h"/>
                                          </p:val>
                                        </p:tav>
                                      </p:tavLst>
                                    </p:anim>
                                  </p:childTnLst>
                                </p:cTn>
                              </p:par>
                              <p:par>
                                <p:cTn id="45" presetID="22" presetClass="entr" presetSubtype="4"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3" presetClass="entr" presetSubtype="16"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p:cTn id="52" dur="500" fill="hold"/>
                                        <p:tgtEl>
                                          <p:spTgt spid="22"/>
                                        </p:tgtEl>
                                        <p:attrNameLst>
                                          <p:attrName>ppt_w</p:attrName>
                                        </p:attrNameLst>
                                      </p:cBhvr>
                                      <p:tavLst>
                                        <p:tav tm="0">
                                          <p:val>
                                            <p:fltVal val="0"/>
                                          </p:val>
                                        </p:tav>
                                        <p:tav tm="100000">
                                          <p:val>
                                            <p:strVal val="#ppt_w"/>
                                          </p:val>
                                        </p:tav>
                                      </p:tavLst>
                                    </p:anim>
                                    <p:anim calcmode="lin" valueType="num">
                                      <p:cBhvr>
                                        <p:cTn id="53" dur="500" fill="hold"/>
                                        <p:tgtEl>
                                          <p:spTgt spid="22"/>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down)">
                                      <p:cBhvr>
                                        <p:cTn id="56" dur="500"/>
                                        <p:tgtEl>
                                          <p:spTgt spid="19"/>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p:cTn id="61" dur="500" fill="hold"/>
                                        <p:tgtEl>
                                          <p:spTgt spid="25"/>
                                        </p:tgtEl>
                                        <p:attrNameLst>
                                          <p:attrName>ppt_w</p:attrName>
                                        </p:attrNameLst>
                                      </p:cBhvr>
                                      <p:tavLst>
                                        <p:tav tm="0">
                                          <p:val>
                                            <p:fltVal val="0"/>
                                          </p:val>
                                        </p:tav>
                                        <p:tav tm="100000">
                                          <p:val>
                                            <p:strVal val="#ppt_w"/>
                                          </p:val>
                                        </p:tav>
                                      </p:tavLst>
                                    </p:anim>
                                    <p:anim calcmode="lin" valueType="num">
                                      <p:cBhvr>
                                        <p:cTn id="62" dur="500" fill="hold"/>
                                        <p:tgtEl>
                                          <p:spTgt spid="25"/>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wipe(down)">
                                      <p:cBhvr>
                                        <p:cTn id="65" dur="500"/>
                                        <p:tgtEl>
                                          <p:spTgt spid="24"/>
                                        </p:tgtEl>
                                      </p:cBhvr>
                                    </p:animEffect>
                                  </p:childTnLst>
                                </p:cTn>
                              </p:par>
                            </p:childTnLst>
                          </p:cTn>
                        </p:par>
                        <p:par>
                          <p:cTn id="66" fill="hold">
                            <p:stCondLst>
                              <p:cond delay="500"/>
                            </p:stCondLst>
                            <p:childTnLst>
                              <p:par>
                                <p:cTn id="67" presetID="23" presetClass="entr" presetSubtype="16"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p:cTn id="69" dur="500" fill="hold"/>
                                        <p:tgtEl>
                                          <p:spTgt spid="33"/>
                                        </p:tgtEl>
                                        <p:attrNameLst>
                                          <p:attrName>ppt_w</p:attrName>
                                        </p:attrNameLst>
                                      </p:cBhvr>
                                      <p:tavLst>
                                        <p:tav tm="0">
                                          <p:val>
                                            <p:fltVal val="0"/>
                                          </p:val>
                                        </p:tav>
                                        <p:tav tm="100000">
                                          <p:val>
                                            <p:strVal val="#ppt_w"/>
                                          </p:val>
                                        </p:tav>
                                      </p:tavLst>
                                    </p:anim>
                                    <p:anim calcmode="lin" valueType="num">
                                      <p:cBhvr>
                                        <p:cTn id="70" dur="500" fill="hold"/>
                                        <p:tgtEl>
                                          <p:spTgt spid="33"/>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wipe(down)">
                                      <p:cBhvr>
                                        <p:cTn id="7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32" grpId="0" animBg="1"/>
      <p:bldP spid="33" grpId="0" animBg="1"/>
      <p:bldP spid="43" grpId="0" animBg="1"/>
      <p:bldP spid="35" grpId="0"/>
      <p:bldP spid="28" grpId="0" animBg="1"/>
    </p:bld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Project Videos</a:t>
            </a:r>
            <a:endParaRPr lang="en-US"/>
          </a:p>
        </p:txBody>
      </p:sp>
      <p:sp>
        <p:nvSpPr>
          <p:cNvPr id="31" name="Content Placeholder 2"/>
          <p:cNvSpPr txBox="1">
            <a:spLocks/>
          </p:cNvSpPr>
          <p:nvPr/>
        </p:nvSpPr>
        <p:spPr>
          <a:xfrm>
            <a:off x="2002632" y="2194893"/>
            <a:ext cx="220361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reat starting point</a:t>
            </a:r>
          </a:p>
        </p:txBody>
      </p:sp>
      <p:sp>
        <p:nvSpPr>
          <p:cNvPr id="29" name="Content Placeholder 2"/>
          <p:cNvSpPr txBox="1">
            <a:spLocks/>
          </p:cNvSpPr>
          <p:nvPr/>
        </p:nvSpPr>
        <p:spPr>
          <a:xfrm>
            <a:off x="2002632" y="4044233"/>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referred format</a:t>
            </a:r>
          </a:p>
        </p:txBody>
      </p:sp>
      <p:sp>
        <p:nvSpPr>
          <p:cNvPr id="55" name="Content Placeholder 2"/>
          <p:cNvSpPr txBox="1">
            <a:spLocks/>
          </p:cNvSpPr>
          <p:nvPr/>
        </p:nvSpPr>
        <p:spPr>
          <a:xfrm>
            <a:off x="2002631" y="3127172"/>
            <a:ext cx="2281793" cy="435376"/>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vailable on demand</a:t>
            </a:r>
          </a:p>
        </p:txBody>
      </p:sp>
      <p:sp>
        <p:nvSpPr>
          <p:cNvPr id="20" name="Content Placeholder 2"/>
          <p:cNvSpPr txBox="1">
            <a:spLocks/>
          </p:cNvSpPr>
          <p:nvPr/>
        </p:nvSpPr>
        <p:spPr>
          <a:xfrm>
            <a:off x="7762059" y="2194366"/>
            <a:ext cx="281552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Introduction to the project</a:t>
            </a:r>
          </a:p>
        </p:txBody>
      </p:sp>
      <p:sp>
        <p:nvSpPr>
          <p:cNvPr id="21" name="Rectangle 20"/>
          <p:cNvSpPr/>
          <p:nvPr/>
        </p:nvSpPr>
        <p:spPr>
          <a:xfrm>
            <a:off x="7624395" y="262932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757123" y="3125483"/>
            <a:ext cx="2684702"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Highlight key capabilities</a:t>
            </a:r>
          </a:p>
        </p:txBody>
      </p:sp>
      <p:sp>
        <p:nvSpPr>
          <p:cNvPr id="30" name="Rectangle 29"/>
          <p:cNvSpPr/>
          <p:nvPr/>
        </p:nvSpPr>
        <p:spPr>
          <a:xfrm>
            <a:off x="7624395" y="355496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45" name="Rectangle 44"/>
          <p:cNvSpPr/>
          <p:nvPr/>
        </p:nvSpPr>
        <p:spPr>
          <a:xfrm>
            <a:off x="1863665" y="447310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Rectangle 55"/>
          <p:cNvSpPr/>
          <p:nvPr/>
        </p:nvSpPr>
        <p:spPr>
          <a:xfrm>
            <a:off x="1863665"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757122" y="4054112"/>
            <a:ext cx="170523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Usage scenarios</a:t>
            </a:r>
          </a:p>
        </p:txBody>
      </p:sp>
      <p:sp>
        <p:nvSpPr>
          <p:cNvPr id="22" name="Rectangle 21"/>
          <p:cNvSpPr/>
          <p:nvPr/>
        </p:nvSpPr>
        <p:spPr>
          <a:xfrm>
            <a:off x="7624395" y="4480592"/>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757122" y="4983985"/>
            <a:ext cx="2172941"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Next steps/Go-Dos</a:t>
            </a:r>
          </a:p>
        </p:txBody>
      </p:sp>
      <p:sp>
        <p:nvSpPr>
          <p:cNvPr id="25" name="Rectangle 24"/>
          <p:cNvSpPr/>
          <p:nvPr/>
        </p:nvSpPr>
        <p:spPr>
          <a:xfrm>
            <a:off x="7624395" y="5412476"/>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863665"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F0AA8A24-C5A6-4D7F-85A5-2870B5B27E22}"/>
              </a:ext>
            </a:extLst>
          </p:cNvPr>
          <p:cNvSpPr/>
          <p:nvPr/>
        </p:nvSpPr>
        <p:spPr bwMode="auto">
          <a:xfrm>
            <a:off x="0"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639976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3268">
        <p159:morph option="byObject"/>
      </p:transition>
    </mc:Choice>
    <mc:Fallback xmlns="">
      <p:transition spd="slow" advTm="632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fltVal val="0"/>
                                          </p:val>
                                        </p:tav>
                                        <p:tav tm="100000">
                                          <p:val>
                                            <p:strVal val="#ppt_w"/>
                                          </p:val>
                                        </p:tav>
                                      </p:tavLst>
                                    </p:anim>
                                    <p:anim calcmode="lin" valueType="num">
                                      <p:cBhvr>
                                        <p:cTn id="28" dur="500" fill="hold"/>
                                        <p:tgtEl>
                                          <p:spTgt spid="45"/>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00"/>
                                        <p:tgtEl>
                                          <p:spTgt spid="2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23" presetClass="entr" presetSubtype="16"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 calcmode="lin" valueType="num">
                                      <p:cBhvr>
                                        <p:cTn id="42" dur="500" fill="hold"/>
                                        <p:tgtEl>
                                          <p:spTgt spid="21"/>
                                        </p:tgtEl>
                                        <p:attrNameLst>
                                          <p:attrName>ppt_w</p:attrName>
                                        </p:attrNameLst>
                                      </p:cBhvr>
                                      <p:tavLst>
                                        <p:tav tm="0">
                                          <p:val>
                                            <p:fltVal val="0"/>
                                          </p:val>
                                        </p:tav>
                                        <p:tav tm="100000">
                                          <p:val>
                                            <p:strVal val="#ppt_w"/>
                                          </p:val>
                                        </p:tav>
                                      </p:tavLst>
                                    </p:anim>
                                    <p:anim calcmode="lin" valueType="num">
                                      <p:cBhvr>
                                        <p:cTn id="43" dur="500" fill="hold"/>
                                        <p:tgtEl>
                                          <p:spTgt spid="21"/>
                                        </p:tgtEl>
                                        <p:attrNameLst>
                                          <p:attrName>ppt_h</p:attrName>
                                        </p:attrNameLst>
                                      </p:cBhvr>
                                      <p:tavLst>
                                        <p:tav tm="0">
                                          <p:val>
                                            <p:fltVal val="0"/>
                                          </p:val>
                                        </p:tav>
                                        <p:tav tm="100000">
                                          <p:val>
                                            <p:strVal val="#ppt_h"/>
                                          </p:val>
                                        </p:tav>
                                      </p:tavLst>
                                    </p:anim>
                                  </p:childTnLst>
                                </p:cTn>
                              </p:par>
                              <p:par>
                                <p:cTn id="44" presetID="22" presetClass="entr" presetSubtype="4"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down)">
                                      <p:cBhvr>
                                        <p:cTn id="46" dur="500"/>
                                        <p:tgtEl>
                                          <p:spTgt spid="20"/>
                                        </p:tgtEl>
                                      </p:cBhvr>
                                    </p:animEffect>
                                  </p:childTnLst>
                                </p:cTn>
                              </p:par>
                            </p:childTnLst>
                          </p:cTn>
                        </p:par>
                      </p:childTnLst>
                    </p:cTn>
                  </p:par>
                  <p:par>
                    <p:cTn id="47" fill="hold">
                      <p:stCondLst>
                        <p:cond delay="indefinite"/>
                      </p:stCondLst>
                      <p:childTnLst>
                        <p:par>
                          <p:cTn id="48" fill="hold">
                            <p:stCondLst>
                              <p:cond delay="0"/>
                            </p:stCondLst>
                            <p:childTnLst>
                              <p:par>
                                <p:cTn id="49" presetID="23" presetClass="entr" presetSubtype="16" fill="hold" grpId="0" nodeType="click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p:cTn id="51" dur="500" fill="hold"/>
                                        <p:tgtEl>
                                          <p:spTgt spid="30"/>
                                        </p:tgtEl>
                                        <p:attrNameLst>
                                          <p:attrName>ppt_w</p:attrName>
                                        </p:attrNameLst>
                                      </p:cBhvr>
                                      <p:tavLst>
                                        <p:tav tm="0">
                                          <p:val>
                                            <p:fltVal val="0"/>
                                          </p:val>
                                        </p:tav>
                                        <p:tav tm="100000">
                                          <p:val>
                                            <p:strVal val="#ppt_w"/>
                                          </p:val>
                                        </p:tav>
                                      </p:tavLst>
                                    </p:anim>
                                    <p:anim calcmode="lin" valueType="num">
                                      <p:cBhvr>
                                        <p:cTn id="52" dur="500" fill="hold"/>
                                        <p:tgtEl>
                                          <p:spTgt spid="30"/>
                                        </p:tgtEl>
                                        <p:attrNameLst>
                                          <p:attrName>ppt_h</p:attrName>
                                        </p:attrNameLst>
                                      </p:cBhvr>
                                      <p:tavLst>
                                        <p:tav tm="0">
                                          <p:val>
                                            <p:fltVal val="0"/>
                                          </p:val>
                                        </p:tav>
                                        <p:tav tm="100000">
                                          <p:val>
                                            <p:strVal val="#ppt_h"/>
                                          </p:val>
                                        </p:tav>
                                      </p:tavLst>
                                    </p:anim>
                                  </p:childTnLst>
                                </p:cTn>
                              </p:par>
                              <p:par>
                                <p:cTn id="53" presetID="22" presetClass="entr" presetSubtype="4"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wipe(down)">
                                      <p:cBhvr>
                                        <p:cTn id="55" dur="500"/>
                                        <p:tgtEl>
                                          <p:spTgt spid="27"/>
                                        </p:tgtEl>
                                      </p:cBhvr>
                                    </p:animEffect>
                                  </p:childTnLst>
                                </p:cTn>
                              </p:par>
                            </p:childTnLst>
                          </p:cTn>
                        </p:par>
                      </p:childTnLst>
                    </p:cTn>
                  </p:par>
                  <p:par>
                    <p:cTn id="56" fill="hold">
                      <p:stCondLst>
                        <p:cond delay="indefinite"/>
                      </p:stCondLst>
                      <p:childTnLst>
                        <p:par>
                          <p:cTn id="57" fill="hold">
                            <p:stCondLst>
                              <p:cond delay="0"/>
                            </p:stCondLst>
                            <p:childTnLst>
                              <p:par>
                                <p:cTn id="58" presetID="23" presetClass="entr" presetSubtype="16" fill="hold" grpId="0" nodeType="clickEffect">
                                  <p:stCondLst>
                                    <p:cond delay="0"/>
                                  </p:stCondLst>
                                  <p:childTnLst>
                                    <p:set>
                                      <p:cBhvr>
                                        <p:cTn id="59" dur="1" fill="hold">
                                          <p:stCondLst>
                                            <p:cond delay="0"/>
                                          </p:stCondLst>
                                        </p:cTn>
                                        <p:tgtEl>
                                          <p:spTgt spid="22"/>
                                        </p:tgtEl>
                                        <p:attrNameLst>
                                          <p:attrName>style.visibility</p:attrName>
                                        </p:attrNameLst>
                                      </p:cBhvr>
                                      <p:to>
                                        <p:strVal val="visible"/>
                                      </p:to>
                                    </p:set>
                                    <p:anim calcmode="lin" valueType="num">
                                      <p:cBhvr>
                                        <p:cTn id="60" dur="500" fill="hold"/>
                                        <p:tgtEl>
                                          <p:spTgt spid="22"/>
                                        </p:tgtEl>
                                        <p:attrNameLst>
                                          <p:attrName>ppt_w</p:attrName>
                                        </p:attrNameLst>
                                      </p:cBhvr>
                                      <p:tavLst>
                                        <p:tav tm="0">
                                          <p:val>
                                            <p:fltVal val="0"/>
                                          </p:val>
                                        </p:tav>
                                        <p:tav tm="100000">
                                          <p:val>
                                            <p:strVal val="#ppt_w"/>
                                          </p:val>
                                        </p:tav>
                                      </p:tavLst>
                                    </p:anim>
                                    <p:anim calcmode="lin" valueType="num">
                                      <p:cBhvr>
                                        <p:cTn id="61" dur="500" fill="hold"/>
                                        <p:tgtEl>
                                          <p:spTgt spid="22"/>
                                        </p:tgtEl>
                                        <p:attrNameLst>
                                          <p:attrName>ppt_h</p:attrName>
                                        </p:attrNameLst>
                                      </p:cBhvr>
                                      <p:tavLst>
                                        <p:tav tm="0">
                                          <p:val>
                                            <p:fltVal val="0"/>
                                          </p:val>
                                        </p:tav>
                                        <p:tav tm="100000">
                                          <p:val>
                                            <p:strVal val="#ppt_h"/>
                                          </p:val>
                                        </p:tav>
                                      </p:tavLst>
                                    </p:anim>
                                  </p:childTnLst>
                                </p:cTn>
                              </p:par>
                              <p:par>
                                <p:cTn id="62" presetID="22" presetClass="entr" presetSubtype="4"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wipe(down)">
                                      <p:cBhvr>
                                        <p:cTn id="64" dur="500"/>
                                        <p:tgtEl>
                                          <p:spTgt spid="19"/>
                                        </p:tgtEl>
                                      </p:cBhvr>
                                    </p:animEffect>
                                  </p:childTnLst>
                                </p:cTn>
                              </p:par>
                            </p:childTnLst>
                          </p:cTn>
                        </p:par>
                      </p:childTnLst>
                    </p:cTn>
                  </p:par>
                  <p:par>
                    <p:cTn id="65" fill="hold">
                      <p:stCondLst>
                        <p:cond delay="indefinite"/>
                      </p:stCondLst>
                      <p:childTnLst>
                        <p:par>
                          <p:cTn id="66" fill="hold">
                            <p:stCondLst>
                              <p:cond delay="0"/>
                            </p:stCondLst>
                            <p:childTnLst>
                              <p:par>
                                <p:cTn id="67" presetID="23" presetClass="entr" presetSubtype="16" fill="hold" grpId="0" nodeType="clickEffect">
                                  <p:stCondLst>
                                    <p:cond delay="0"/>
                                  </p:stCondLst>
                                  <p:childTnLst>
                                    <p:set>
                                      <p:cBhvr>
                                        <p:cTn id="68" dur="1" fill="hold">
                                          <p:stCondLst>
                                            <p:cond delay="0"/>
                                          </p:stCondLst>
                                        </p:cTn>
                                        <p:tgtEl>
                                          <p:spTgt spid="25"/>
                                        </p:tgtEl>
                                        <p:attrNameLst>
                                          <p:attrName>style.visibility</p:attrName>
                                        </p:attrNameLst>
                                      </p:cBhvr>
                                      <p:to>
                                        <p:strVal val="visible"/>
                                      </p:to>
                                    </p:set>
                                    <p:anim calcmode="lin" valueType="num">
                                      <p:cBhvr>
                                        <p:cTn id="69" dur="500" fill="hold"/>
                                        <p:tgtEl>
                                          <p:spTgt spid="25"/>
                                        </p:tgtEl>
                                        <p:attrNameLst>
                                          <p:attrName>ppt_w</p:attrName>
                                        </p:attrNameLst>
                                      </p:cBhvr>
                                      <p:tavLst>
                                        <p:tav tm="0">
                                          <p:val>
                                            <p:fltVal val="0"/>
                                          </p:val>
                                        </p:tav>
                                        <p:tav tm="100000">
                                          <p:val>
                                            <p:strVal val="#ppt_w"/>
                                          </p:val>
                                        </p:tav>
                                      </p:tavLst>
                                    </p:anim>
                                    <p:anim calcmode="lin" valueType="num">
                                      <p:cBhvr>
                                        <p:cTn id="70" dur="500" fill="hold"/>
                                        <p:tgtEl>
                                          <p:spTgt spid="25"/>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wipe(down)">
                                      <p:cBhvr>
                                        <p:cTn id="7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9" grpId="0" animBg="1"/>
      <p:bldP spid="55" grpId="0" animBg="1"/>
      <p:bldP spid="20" grpId="0" animBg="1"/>
      <p:bldP spid="21" grpId="0" animBg="1"/>
      <p:bldP spid="27" grpId="0" animBg="1"/>
      <p:bldP spid="30" grpId="0" animBg="1"/>
      <p:bldP spid="18" grpId="0"/>
      <p:bldP spid="45" grpId="0" animBg="1"/>
      <p:bldP spid="56" grpId="0" animBg="1"/>
      <p:bldP spid="19" grpId="0" animBg="1"/>
      <p:bldP spid="22" grpId="0" animBg="1"/>
      <p:bldP spid="24" grpId="0" animBg="1"/>
      <p:bldP spid="25" grpId="0" animBg="1"/>
      <p:bldP spid="43" grpId="0" animBg="1"/>
      <p:bldP spid="35" grpId="0"/>
      <p:bldP spid="23" grpId="0" animBg="1"/>
    </p:bld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Communications</a:t>
            </a:r>
            <a:endParaRPr lang="en-US"/>
          </a:p>
        </p:txBody>
      </p:sp>
      <p:sp>
        <p:nvSpPr>
          <p:cNvPr id="31" name="Content Placeholder 2"/>
          <p:cNvSpPr txBox="1">
            <a:spLocks/>
          </p:cNvSpPr>
          <p:nvPr/>
        </p:nvSpPr>
        <p:spPr>
          <a:xfrm>
            <a:off x="1616259" y="2137574"/>
            <a:ext cx="3431852"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Avoid confusion and uncertainty</a:t>
            </a:r>
          </a:p>
        </p:txBody>
      </p:sp>
      <p:sp>
        <p:nvSpPr>
          <p:cNvPr id="55" name="Content Placeholder 2"/>
          <p:cNvSpPr txBox="1">
            <a:spLocks/>
          </p:cNvSpPr>
          <p:nvPr/>
        </p:nvSpPr>
        <p:spPr>
          <a:xfrm>
            <a:off x="1616259" y="3117508"/>
            <a:ext cx="151098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Signposting</a:t>
            </a:r>
          </a:p>
        </p:txBody>
      </p:sp>
      <p:sp>
        <p:nvSpPr>
          <p:cNvPr id="20" name="Content Placeholder 2"/>
          <p:cNvSpPr txBox="1">
            <a:spLocks/>
          </p:cNvSpPr>
          <p:nvPr/>
        </p:nvSpPr>
        <p:spPr>
          <a:xfrm>
            <a:off x="7936759" y="2204229"/>
            <a:ext cx="2139929" cy="428399"/>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urpose alignment</a:t>
            </a:r>
          </a:p>
        </p:txBody>
      </p:sp>
      <p:sp>
        <p:nvSpPr>
          <p:cNvPr id="21" name="Rectangle 20"/>
          <p:cNvSpPr/>
          <p:nvPr/>
        </p:nvSpPr>
        <p:spPr>
          <a:xfrm>
            <a:off x="7799094"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931821" y="3134101"/>
            <a:ext cx="2139929" cy="434545"/>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License assignment</a:t>
            </a:r>
          </a:p>
        </p:txBody>
      </p:sp>
      <p:sp>
        <p:nvSpPr>
          <p:cNvPr id="30" name="Rectangle 29"/>
          <p:cNvSpPr/>
          <p:nvPr/>
        </p:nvSpPr>
        <p:spPr>
          <a:xfrm>
            <a:off x="7799094"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147729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931820" y="4063975"/>
            <a:ext cx="2249371" cy="428400"/>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overnance overview</a:t>
            </a:r>
          </a:p>
        </p:txBody>
      </p:sp>
      <p:sp>
        <p:nvSpPr>
          <p:cNvPr id="22" name="Rectangle 21"/>
          <p:cNvSpPr/>
          <p:nvPr/>
        </p:nvSpPr>
        <p:spPr>
          <a:xfrm>
            <a:off x="7799094"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931821" y="5017365"/>
            <a:ext cx="1449923"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Key contacts</a:t>
            </a:r>
          </a:p>
        </p:txBody>
      </p:sp>
      <p:sp>
        <p:nvSpPr>
          <p:cNvPr id="25" name="Rectangle 24"/>
          <p:cNvSpPr/>
          <p:nvPr/>
        </p:nvSpPr>
        <p:spPr>
          <a:xfrm>
            <a:off x="7799094"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Content Placeholder 2"/>
          <p:cNvSpPr txBox="1">
            <a:spLocks/>
          </p:cNvSpPr>
          <p:nvPr/>
        </p:nvSpPr>
        <p:spPr>
          <a:xfrm>
            <a:off x="7931823" y="5920897"/>
            <a:ext cx="1797394"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Getting started</a:t>
            </a:r>
          </a:p>
        </p:txBody>
      </p:sp>
      <p:sp>
        <p:nvSpPr>
          <p:cNvPr id="33" name="Rectangle 32"/>
          <p:cNvSpPr/>
          <p:nvPr/>
        </p:nvSpPr>
        <p:spPr>
          <a:xfrm>
            <a:off x="7799094" y="635179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47729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3" name="Rectangle 22">
            <a:extLst>
              <a:ext uri="{FF2B5EF4-FFF2-40B4-BE49-F238E27FC236}">
                <a16:creationId xmlns:a16="http://schemas.microsoft.com/office/drawing/2014/main" id="{67915F8F-7F0B-423A-BC5B-A710083DDA18}"/>
              </a:ext>
            </a:extLst>
          </p:cNvPr>
          <p:cNvSpPr/>
          <p:nvPr/>
        </p:nvSpPr>
        <p:spPr bwMode="auto">
          <a:xfrm>
            <a:off x="4343"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202128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66768">
        <p159:morph option="byObject"/>
      </p:transition>
    </mc:Choice>
    <mc:Fallback xmlns="">
      <p:transition spd="slow" advTm="667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23" presetClass="entr" presetSubtype="16"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childTnLst>
                                </p:cTn>
                              </p:par>
                              <p:par>
                                <p:cTn id="36" presetID="22" presetClass="entr" presetSubtype="4"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p:cTn id="43" dur="500" fill="hold"/>
                                        <p:tgtEl>
                                          <p:spTgt spid="30"/>
                                        </p:tgtEl>
                                        <p:attrNameLst>
                                          <p:attrName>ppt_w</p:attrName>
                                        </p:attrNameLst>
                                      </p:cBhvr>
                                      <p:tavLst>
                                        <p:tav tm="0">
                                          <p:val>
                                            <p:fltVal val="0"/>
                                          </p:val>
                                        </p:tav>
                                        <p:tav tm="100000">
                                          <p:val>
                                            <p:strVal val="#ppt_w"/>
                                          </p:val>
                                        </p:tav>
                                      </p:tavLst>
                                    </p:anim>
                                    <p:anim calcmode="lin" valueType="num">
                                      <p:cBhvr>
                                        <p:cTn id="44" dur="500" fill="hold"/>
                                        <p:tgtEl>
                                          <p:spTgt spid="30"/>
                                        </p:tgtEl>
                                        <p:attrNameLst>
                                          <p:attrName>ppt_h</p:attrName>
                                        </p:attrNameLst>
                                      </p:cBhvr>
                                      <p:tavLst>
                                        <p:tav tm="0">
                                          <p:val>
                                            <p:fltVal val="0"/>
                                          </p:val>
                                        </p:tav>
                                        <p:tav tm="100000">
                                          <p:val>
                                            <p:strVal val="#ppt_h"/>
                                          </p:val>
                                        </p:tav>
                                      </p:tavLst>
                                    </p:anim>
                                  </p:childTnLst>
                                </p:cTn>
                              </p:par>
                              <p:par>
                                <p:cTn id="45" presetID="22" presetClass="entr" presetSubtype="4"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down)">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23" presetClass="entr" presetSubtype="16"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p:cTn id="52" dur="500" fill="hold"/>
                                        <p:tgtEl>
                                          <p:spTgt spid="22"/>
                                        </p:tgtEl>
                                        <p:attrNameLst>
                                          <p:attrName>ppt_w</p:attrName>
                                        </p:attrNameLst>
                                      </p:cBhvr>
                                      <p:tavLst>
                                        <p:tav tm="0">
                                          <p:val>
                                            <p:fltVal val="0"/>
                                          </p:val>
                                        </p:tav>
                                        <p:tav tm="100000">
                                          <p:val>
                                            <p:strVal val="#ppt_w"/>
                                          </p:val>
                                        </p:tav>
                                      </p:tavLst>
                                    </p:anim>
                                    <p:anim calcmode="lin" valueType="num">
                                      <p:cBhvr>
                                        <p:cTn id="53" dur="500" fill="hold"/>
                                        <p:tgtEl>
                                          <p:spTgt spid="22"/>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down)">
                                      <p:cBhvr>
                                        <p:cTn id="56" dur="500"/>
                                        <p:tgtEl>
                                          <p:spTgt spid="19"/>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p:cTn id="61" dur="500" fill="hold"/>
                                        <p:tgtEl>
                                          <p:spTgt spid="25"/>
                                        </p:tgtEl>
                                        <p:attrNameLst>
                                          <p:attrName>ppt_w</p:attrName>
                                        </p:attrNameLst>
                                      </p:cBhvr>
                                      <p:tavLst>
                                        <p:tav tm="0">
                                          <p:val>
                                            <p:fltVal val="0"/>
                                          </p:val>
                                        </p:tav>
                                        <p:tav tm="100000">
                                          <p:val>
                                            <p:strVal val="#ppt_w"/>
                                          </p:val>
                                        </p:tav>
                                      </p:tavLst>
                                    </p:anim>
                                    <p:anim calcmode="lin" valueType="num">
                                      <p:cBhvr>
                                        <p:cTn id="62" dur="500" fill="hold"/>
                                        <p:tgtEl>
                                          <p:spTgt spid="25"/>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wipe(down)">
                                      <p:cBhvr>
                                        <p:cTn id="65" dur="500"/>
                                        <p:tgtEl>
                                          <p:spTgt spid="24"/>
                                        </p:tgtEl>
                                      </p:cBhvr>
                                    </p:animEffect>
                                  </p:childTnLst>
                                </p:cTn>
                              </p:par>
                            </p:childTnLst>
                          </p:cTn>
                        </p:par>
                        <p:par>
                          <p:cTn id="66" fill="hold">
                            <p:stCondLst>
                              <p:cond delay="500"/>
                            </p:stCondLst>
                            <p:childTnLst>
                              <p:par>
                                <p:cTn id="67" presetID="23" presetClass="entr" presetSubtype="16"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p:cTn id="69" dur="500" fill="hold"/>
                                        <p:tgtEl>
                                          <p:spTgt spid="33"/>
                                        </p:tgtEl>
                                        <p:attrNameLst>
                                          <p:attrName>ppt_w</p:attrName>
                                        </p:attrNameLst>
                                      </p:cBhvr>
                                      <p:tavLst>
                                        <p:tav tm="0">
                                          <p:val>
                                            <p:fltVal val="0"/>
                                          </p:val>
                                        </p:tav>
                                        <p:tav tm="100000">
                                          <p:val>
                                            <p:strVal val="#ppt_w"/>
                                          </p:val>
                                        </p:tav>
                                      </p:tavLst>
                                    </p:anim>
                                    <p:anim calcmode="lin" valueType="num">
                                      <p:cBhvr>
                                        <p:cTn id="70" dur="500" fill="hold"/>
                                        <p:tgtEl>
                                          <p:spTgt spid="33"/>
                                        </p:tgtEl>
                                        <p:attrNameLst>
                                          <p:attrName>ppt_h</p:attrName>
                                        </p:attrNameLst>
                                      </p:cBhvr>
                                      <p:tavLst>
                                        <p:tav tm="0">
                                          <p:val>
                                            <p:fltVal val="0"/>
                                          </p:val>
                                        </p:tav>
                                        <p:tav tm="100000">
                                          <p:val>
                                            <p:strVal val="#ppt_h"/>
                                          </p:val>
                                        </p:tav>
                                      </p:tavLst>
                                    </p:anim>
                                  </p:childTnLst>
                                </p:cTn>
                              </p:par>
                              <p:par>
                                <p:cTn id="71" presetID="22" presetClass="entr" presetSubtype="4" fill="hold" grpId="0" nodeType="with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wipe(down)">
                                      <p:cBhvr>
                                        <p:cTn id="7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32" grpId="0" animBg="1"/>
      <p:bldP spid="33" grpId="0" animBg="1"/>
      <p:bldP spid="43" grpId="0" animBg="1"/>
      <p:bldP spid="35" grpId="0"/>
      <p:bldP spid="23" grpId="0" animBg="1"/>
    </p:bld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a:t>Training</a:t>
            </a:r>
            <a:endParaRPr lang="en-US"/>
          </a:p>
        </p:txBody>
      </p:sp>
      <p:sp>
        <p:nvSpPr>
          <p:cNvPr id="31" name="Content Placeholder 2"/>
          <p:cNvSpPr txBox="1">
            <a:spLocks/>
          </p:cNvSpPr>
          <p:nvPr/>
        </p:nvSpPr>
        <p:spPr>
          <a:xfrm>
            <a:off x="1616259" y="2169657"/>
            <a:ext cx="327183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nable employees appropriately</a:t>
            </a:r>
          </a:p>
        </p:txBody>
      </p:sp>
      <p:sp>
        <p:nvSpPr>
          <p:cNvPr id="55" name="Content Placeholder 2"/>
          <p:cNvSpPr txBox="1">
            <a:spLocks/>
          </p:cNvSpPr>
          <p:nvPr/>
        </p:nvSpPr>
        <p:spPr>
          <a:xfrm>
            <a:off x="1616259" y="3117508"/>
            <a:ext cx="3156909"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ize fear and resistance</a:t>
            </a:r>
          </a:p>
        </p:txBody>
      </p:sp>
      <p:sp>
        <p:nvSpPr>
          <p:cNvPr id="20" name="Content Placeholder 2"/>
          <p:cNvSpPr txBox="1">
            <a:spLocks/>
          </p:cNvSpPr>
          <p:nvPr/>
        </p:nvSpPr>
        <p:spPr>
          <a:xfrm>
            <a:off x="7863607" y="2207057"/>
            <a:ext cx="283487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Training needs assessment</a:t>
            </a:r>
          </a:p>
        </p:txBody>
      </p:sp>
      <p:sp>
        <p:nvSpPr>
          <p:cNvPr id="21" name="Rectangle 20"/>
          <p:cNvSpPr/>
          <p:nvPr/>
        </p:nvSpPr>
        <p:spPr>
          <a:xfrm>
            <a:off x="7725942"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Content Placeholder 2"/>
          <p:cNvSpPr txBox="1">
            <a:spLocks/>
          </p:cNvSpPr>
          <p:nvPr/>
        </p:nvSpPr>
        <p:spPr>
          <a:xfrm>
            <a:off x="7858668" y="3138381"/>
            <a:ext cx="2839811"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Establish training programs</a:t>
            </a:r>
          </a:p>
        </p:txBody>
      </p:sp>
      <p:sp>
        <p:nvSpPr>
          <p:cNvPr id="30" name="Rectangle 29"/>
          <p:cNvSpPr/>
          <p:nvPr/>
        </p:nvSpPr>
        <p:spPr>
          <a:xfrm>
            <a:off x="7725942" y="3563580"/>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Title 1"/>
          <p:cNvSpPr txBox="1">
            <a:spLocks/>
          </p:cNvSpPr>
          <p:nvPr/>
        </p:nvSpPr>
        <p:spPr>
          <a:xfrm>
            <a:off x="756644" y="1257196"/>
            <a:ext cx="4586260" cy="1568698"/>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a:ln w="3175">
                  <a:noFill/>
                </a:ln>
                <a:solidFill>
                  <a:prstClr val="black"/>
                </a:solidFill>
                <a:effectLst/>
                <a:uLnTx/>
                <a:uFillTx/>
                <a:latin typeface="Segoe UI Light"/>
                <a:ea typeface="+mn-ea"/>
                <a:cs typeface="Segoe UI" pitchFamily="34" charset="0"/>
              </a:rPr>
              <a:t>Why</a:t>
            </a:r>
          </a:p>
        </p:txBody>
      </p:sp>
      <p:sp>
        <p:nvSpPr>
          <p:cNvPr id="56" name="Rectangle 55"/>
          <p:cNvSpPr/>
          <p:nvPr/>
        </p:nvSpPr>
        <p:spPr>
          <a:xfrm>
            <a:off x="1477293" y="3562548"/>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Content Placeholder 2"/>
          <p:cNvSpPr txBox="1">
            <a:spLocks/>
          </p:cNvSpPr>
          <p:nvPr/>
        </p:nvSpPr>
        <p:spPr>
          <a:xfrm>
            <a:off x="7863607" y="4057714"/>
            <a:ext cx="2656932"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Leverage online resources</a:t>
            </a:r>
          </a:p>
        </p:txBody>
      </p:sp>
      <p:sp>
        <p:nvSpPr>
          <p:cNvPr id="22" name="Rectangle 21"/>
          <p:cNvSpPr/>
          <p:nvPr/>
        </p:nvSpPr>
        <p:spPr>
          <a:xfrm>
            <a:off x="7725942" y="4489211"/>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Content Placeholder 2"/>
          <p:cNvSpPr txBox="1">
            <a:spLocks/>
          </p:cNvSpPr>
          <p:nvPr/>
        </p:nvSpPr>
        <p:spPr>
          <a:xfrm>
            <a:off x="7863607" y="4991043"/>
            <a:ext cx="2839810" cy="430887"/>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Pilot training and feedback</a:t>
            </a:r>
          </a:p>
        </p:txBody>
      </p:sp>
      <p:sp>
        <p:nvSpPr>
          <p:cNvPr id="25" name="Rectangle 24"/>
          <p:cNvSpPr/>
          <p:nvPr/>
        </p:nvSpPr>
        <p:spPr>
          <a:xfrm>
            <a:off x="7725942" y="5421095"/>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Rectangle 42"/>
          <p:cNvSpPr/>
          <p:nvPr/>
        </p:nvSpPr>
        <p:spPr>
          <a:xfrm>
            <a:off x="1477293" y="2637944"/>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Title 1">
            <a:extLst>
              <a:ext uri="{FF2B5EF4-FFF2-40B4-BE49-F238E27FC236}">
                <a16:creationId xmlns:a16="http://schemas.microsoft.com/office/drawing/2014/main" id="{04E9DF36-5CC3-42D1-A056-2DEC0FEEAF7D}"/>
              </a:ext>
            </a:extLst>
          </p:cNvPr>
          <p:cNvSpPr txBox="1">
            <a:spLocks/>
          </p:cNvSpPr>
          <p:nvPr/>
        </p:nvSpPr>
        <p:spPr>
          <a:xfrm>
            <a:off x="6767274" y="1091340"/>
            <a:ext cx="4494868" cy="111574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GB" sz="4400" b="0" i="0" u="none" strike="noStrike" kern="1200" cap="none" spc="-100" normalizeH="0" baseline="0" noProof="0">
                <a:ln w="3175">
                  <a:noFill/>
                </a:ln>
                <a:solidFill>
                  <a:prstClr val="black"/>
                </a:solidFill>
                <a:effectLst/>
                <a:uLnTx/>
                <a:uFillTx/>
                <a:latin typeface="Segoe UI Light"/>
                <a:ea typeface="+mn-ea"/>
                <a:cs typeface="Segoe UI" pitchFamily="34" charset="0"/>
              </a:rPr>
              <a:t>How</a:t>
            </a:r>
          </a:p>
        </p:txBody>
      </p:sp>
      <p:sp>
        <p:nvSpPr>
          <p:cNvPr id="26" name="Content Placeholder 2">
            <a:extLst>
              <a:ext uri="{FF2B5EF4-FFF2-40B4-BE49-F238E27FC236}">
                <a16:creationId xmlns:a16="http://schemas.microsoft.com/office/drawing/2014/main" id="{BB5EE3EE-ABE3-454F-9410-721CA8D662D4}"/>
              </a:ext>
            </a:extLst>
          </p:cNvPr>
          <p:cNvSpPr txBox="1">
            <a:spLocks/>
          </p:cNvSpPr>
          <p:nvPr/>
        </p:nvSpPr>
        <p:spPr>
          <a:xfrm>
            <a:off x="1616260" y="4070848"/>
            <a:ext cx="1947576" cy="428401"/>
          </a:xfrm>
          <a:prstGeom prst="rect">
            <a:avLst/>
          </a:prstGeom>
          <a:noFill/>
          <a:ln w="19050" cap="sq">
            <a:solidFill>
              <a:srgbClr val="F2C811"/>
            </a:solidFill>
            <a:miter lim="800000"/>
          </a:ln>
        </p:spPr>
        <p:txBody>
          <a:bodyPr vert="horz" wrap="square" lIns="91440" tIns="91440" rIns="91440" bIns="91440"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05050">
                  <a:lumMod val="60000"/>
                  <a:lumOff val="40000"/>
                </a:srgbClr>
              </a:buClr>
              <a:buSzPct val="90000"/>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Segoe UI"/>
                <a:ea typeface="+mn-ea"/>
                <a:cs typeface="+mn-cs"/>
              </a:rPr>
              <a:t>Minimize Risk</a:t>
            </a:r>
          </a:p>
        </p:txBody>
      </p:sp>
      <p:sp>
        <p:nvSpPr>
          <p:cNvPr id="28" name="Rectangle 27">
            <a:extLst>
              <a:ext uri="{FF2B5EF4-FFF2-40B4-BE49-F238E27FC236}">
                <a16:creationId xmlns:a16="http://schemas.microsoft.com/office/drawing/2014/main" id="{A0C5BA51-7182-45CE-8FA5-E8A6F833191F}"/>
              </a:ext>
            </a:extLst>
          </p:cNvPr>
          <p:cNvSpPr/>
          <p:nvPr/>
        </p:nvSpPr>
        <p:spPr>
          <a:xfrm>
            <a:off x="1477293" y="4499719"/>
            <a:ext cx="130823" cy="130823"/>
          </a:xfrm>
          <a:prstGeom prst="rect">
            <a:avLst/>
          </a:prstGeom>
          <a:noFill/>
          <a:ln w="19050" cap="sq">
            <a:solidFill>
              <a:srgbClr val="F2C811"/>
            </a:solidFill>
            <a:miter lim="800000"/>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AA8BCACA-2B6A-4932-A8B9-9ED7CEA79119}"/>
              </a:ext>
            </a:extLst>
          </p:cNvPr>
          <p:cNvSpPr/>
          <p:nvPr/>
        </p:nvSpPr>
        <p:spPr bwMode="auto">
          <a:xfrm>
            <a:off x="16834" y="1091340"/>
            <a:ext cx="6202273" cy="576665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1"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379777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72238">
        <p159:morph option="byObject"/>
      </p:transition>
    </mc:Choice>
    <mc:Fallback xmlns="">
      <p:transition spd="slow" advTm="7223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p:cTn id="11" dur="500" fill="hold"/>
                                        <p:tgtEl>
                                          <p:spTgt spid="43"/>
                                        </p:tgtEl>
                                        <p:attrNameLst>
                                          <p:attrName>ppt_w</p:attrName>
                                        </p:attrNameLst>
                                      </p:cBhvr>
                                      <p:tavLst>
                                        <p:tav tm="0">
                                          <p:val>
                                            <p:fltVal val="0"/>
                                          </p:val>
                                        </p:tav>
                                        <p:tav tm="100000">
                                          <p:val>
                                            <p:strVal val="#ppt_w"/>
                                          </p:val>
                                        </p:tav>
                                      </p:tavLst>
                                    </p:anim>
                                    <p:anim calcmode="lin" valueType="num">
                                      <p:cBhvr>
                                        <p:cTn id="12" dur="500" fill="hold"/>
                                        <p:tgtEl>
                                          <p:spTgt spid="43"/>
                                        </p:tgtEl>
                                        <p:attrNameLst>
                                          <p:attrName>ppt_h</p:attrName>
                                        </p:attrNameLst>
                                      </p:cBhvr>
                                      <p:tavLst>
                                        <p:tav tm="0">
                                          <p:val>
                                            <p:fltVal val="0"/>
                                          </p:val>
                                        </p:tav>
                                        <p:tav tm="100000">
                                          <p:val>
                                            <p:strVal val="#ppt_h"/>
                                          </p:val>
                                        </p:tav>
                                      </p:tavLst>
                                    </p:anim>
                                  </p:childTnLst>
                                </p:cTn>
                              </p:par>
                              <p:par>
                                <p:cTn id="13" presetID="22" presetClass="entr" presetSubtype="4"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000"/>
                            </p:stCondLst>
                            <p:childTnLst>
                              <p:par>
                                <p:cTn id="17" presetID="23" presetClass="entr" presetSubtype="16"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 calcmode="lin" valueType="num">
                                      <p:cBhvr>
                                        <p:cTn id="19" dur="500" fill="hold"/>
                                        <p:tgtEl>
                                          <p:spTgt spid="56"/>
                                        </p:tgtEl>
                                        <p:attrNameLst>
                                          <p:attrName>ppt_w</p:attrName>
                                        </p:attrNameLst>
                                      </p:cBhvr>
                                      <p:tavLst>
                                        <p:tav tm="0">
                                          <p:val>
                                            <p:fltVal val="0"/>
                                          </p:val>
                                        </p:tav>
                                        <p:tav tm="100000">
                                          <p:val>
                                            <p:strVal val="#ppt_w"/>
                                          </p:val>
                                        </p:tav>
                                      </p:tavLst>
                                    </p:anim>
                                    <p:anim calcmode="lin" valueType="num">
                                      <p:cBhvr>
                                        <p:cTn id="20" dur="500" fill="hold"/>
                                        <p:tgtEl>
                                          <p:spTgt spid="56"/>
                                        </p:tgtEl>
                                        <p:attrNameLst>
                                          <p:attrName>ppt_h</p:attrName>
                                        </p:attrNameLst>
                                      </p:cBhvr>
                                      <p:tavLst>
                                        <p:tav tm="0">
                                          <p:val>
                                            <p:fltVal val="0"/>
                                          </p:val>
                                        </p:tav>
                                        <p:tav tm="100000">
                                          <p:val>
                                            <p:strVal val="#ppt_h"/>
                                          </p:val>
                                        </p:tav>
                                      </p:tavLst>
                                    </p:anim>
                                  </p:childTnLst>
                                </p:cTn>
                              </p:par>
                              <p:par>
                                <p:cTn id="21" presetID="2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500"/>
                                        <p:tgtEl>
                                          <p:spTgt spid="55"/>
                                        </p:tgtEl>
                                      </p:cBhvr>
                                    </p:animEffect>
                                  </p:childTnLst>
                                </p:cTn>
                              </p:par>
                            </p:childTnLst>
                          </p:cTn>
                        </p:par>
                        <p:par>
                          <p:cTn id="24" fill="hold">
                            <p:stCondLst>
                              <p:cond delay="1500"/>
                            </p:stCondLst>
                            <p:childTnLst>
                              <p:par>
                                <p:cTn id="25" presetID="23" presetClass="entr" presetSubtype="16" fill="hold" grpId="0"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p:cTn id="27" dur="500" fill="hold"/>
                                        <p:tgtEl>
                                          <p:spTgt spid="28"/>
                                        </p:tgtEl>
                                        <p:attrNameLst>
                                          <p:attrName>ppt_w</p:attrName>
                                        </p:attrNameLst>
                                      </p:cBhvr>
                                      <p:tavLst>
                                        <p:tav tm="0">
                                          <p:val>
                                            <p:fltVal val="0"/>
                                          </p:val>
                                        </p:tav>
                                        <p:tav tm="100000">
                                          <p:val>
                                            <p:strVal val="#ppt_w"/>
                                          </p:val>
                                        </p:tav>
                                      </p:tavLst>
                                    </p:anim>
                                    <p:anim calcmode="lin" valueType="num">
                                      <p:cBhvr>
                                        <p:cTn id="28" dur="500" fill="hold"/>
                                        <p:tgtEl>
                                          <p:spTgt spid="28"/>
                                        </p:tgtEl>
                                        <p:attrNameLst>
                                          <p:attrName>ppt_h</p:attrName>
                                        </p:attrNameLst>
                                      </p:cBhvr>
                                      <p:tavLst>
                                        <p:tav tm="0">
                                          <p:val>
                                            <p:fltVal val="0"/>
                                          </p:val>
                                        </p:tav>
                                        <p:tav tm="100000">
                                          <p:val>
                                            <p:strVal val="#ppt_h"/>
                                          </p:val>
                                        </p:tav>
                                      </p:tavLst>
                                    </p:anim>
                                  </p:childTnLst>
                                </p:cTn>
                              </p:par>
                              <p:par>
                                <p:cTn id="29" presetID="22" presetClass="entr" presetSubtype="4"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down)">
                                      <p:cBhvr>
                                        <p:cTn id="31" dur="500"/>
                                        <p:tgtEl>
                                          <p:spTgt spid="2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childTnLst>
                          </p:cTn>
                        </p:par>
                      </p:childTnLst>
                    </p:cTn>
                  </p:par>
                  <p:par>
                    <p:cTn id="40" fill="hold">
                      <p:stCondLst>
                        <p:cond delay="indefinite"/>
                      </p:stCondLst>
                      <p:childTnLst>
                        <p:par>
                          <p:cTn id="41" fill="hold">
                            <p:stCondLst>
                              <p:cond delay="0"/>
                            </p:stCondLst>
                            <p:childTnLst>
                              <p:par>
                                <p:cTn id="42" presetID="23" presetClass="entr" presetSubtype="16" fill="hold" grpId="0" nodeType="click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p:cTn id="44" dur="500" fill="hold"/>
                                        <p:tgtEl>
                                          <p:spTgt spid="21"/>
                                        </p:tgtEl>
                                        <p:attrNameLst>
                                          <p:attrName>ppt_w</p:attrName>
                                        </p:attrNameLst>
                                      </p:cBhvr>
                                      <p:tavLst>
                                        <p:tav tm="0">
                                          <p:val>
                                            <p:fltVal val="0"/>
                                          </p:val>
                                        </p:tav>
                                        <p:tav tm="100000">
                                          <p:val>
                                            <p:strVal val="#ppt_w"/>
                                          </p:val>
                                        </p:tav>
                                      </p:tavLst>
                                    </p:anim>
                                    <p:anim calcmode="lin" valueType="num">
                                      <p:cBhvr>
                                        <p:cTn id="45" dur="500" fill="hold"/>
                                        <p:tgtEl>
                                          <p:spTgt spid="21"/>
                                        </p:tgtEl>
                                        <p:attrNameLst>
                                          <p:attrName>ppt_h</p:attrName>
                                        </p:attrNameLst>
                                      </p:cBhvr>
                                      <p:tavLst>
                                        <p:tav tm="0">
                                          <p:val>
                                            <p:fltVal val="0"/>
                                          </p:val>
                                        </p:tav>
                                        <p:tav tm="100000">
                                          <p:val>
                                            <p:strVal val="#ppt_h"/>
                                          </p:val>
                                        </p:tav>
                                      </p:tavLst>
                                    </p:anim>
                                  </p:childTnLst>
                                </p:cTn>
                              </p:par>
                              <p:par>
                                <p:cTn id="46" presetID="22" presetClass="entr" presetSubtype="4"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down)">
                                      <p:cBhvr>
                                        <p:cTn id="48" dur="500"/>
                                        <p:tgtEl>
                                          <p:spTgt spid="20"/>
                                        </p:tgtEl>
                                      </p:cBhvr>
                                    </p:animEffect>
                                  </p:childTnLst>
                                </p:cTn>
                              </p:par>
                            </p:childTnLst>
                          </p:cTn>
                        </p:par>
                        <p:par>
                          <p:cTn id="49" fill="hold">
                            <p:stCondLst>
                              <p:cond delay="500"/>
                            </p:stCondLst>
                            <p:childTnLst>
                              <p:par>
                                <p:cTn id="50" presetID="23" presetClass="entr" presetSubtype="16" fill="hold" grpId="0" nodeType="afterEffect">
                                  <p:stCondLst>
                                    <p:cond delay="0"/>
                                  </p:stCondLst>
                                  <p:childTnLst>
                                    <p:set>
                                      <p:cBhvr>
                                        <p:cTn id="51" dur="1" fill="hold">
                                          <p:stCondLst>
                                            <p:cond delay="0"/>
                                          </p:stCondLst>
                                        </p:cTn>
                                        <p:tgtEl>
                                          <p:spTgt spid="30"/>
                                        </p:tgtEl>
                                        <p:attrNameLst>
                                          <p:attrName>style.visibility</p:attrName>
                                        </p:attrNameLst>
                                      </p:cBhvr>
                                      <p:to>
                                        <p:strVal val="visible"/>
                                      </p:to>
                                    </p:set>
                                    <p:anim calcmode="lin" valueType="num">
                                      <p:cBhvr>
                                        <p:cTn id="52" dur="500" fill="hold"/>
                                        <p:tgtEl>
                                          <p:spTgt spid="30"/>
                                        </p:tgtEl>
                                        <p:attrNameLst>
                                          <p:attrName>ppt_w</p:attrName>
                                        </p:attrNameLst>
                                      </p:cBhvr>
                                      <p:tavLst>
                                        <p:tav tm="0">
                                          <p:val>
                                            <p:fltVal val="0"/>
                                          </p:val>
                                        </p:tav>
                                        <p:tav tm="100000">
                                          <p:val>
                                            <p:strVal val="#ppt_w"/>
                                          </p:val>
                                        </p:tav>
                                      </p:tavLst>
                                    </p:anim>
                                    <p:anim calcmode="lin" valueType="num">
                                      <p:cBhvr>
                                        <p:cTn id="53" dur="500" fill="hold"/>
                                        <p:tgtEl>
                                          <p:spTgt spid="30"/>
                                        </p:tgtEl>
                                        <p:attrNameLst>
                                          <p:attrName>ppt_h</p:attrName>
                                        </p:attrNameLst>
                                      </p:cBhvr>
                                      <p:tavLst>
                                        <p:tav tm="0">
                                          <p:val>
                                            <p:fltVal val="0"/>
                                          </p:val>
                                        </p:tav>
                                        <p:tav tm="100000">
                                          <p:val>
                                            <p:strVal val="#ppt_h"/>
                                          </p:val>
                                        </p:tav>
                                      </p:tavLst>
                                    </p:anim>
                                  </p:childTnLst>
                                </p:cTn>
                              </p:par>
                              <p:par>
                                <p:cTn id="54" presetID="22" presetClass="entr" presetSubtype="4" fill="hold" grpId="0"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wipe(down)">
                                      <p:cBhvr>
                                        <p:cTn id="56" dur="500"/>
                                        <p:tgtEl>
                                          <p:spTgt spid="27"/>
                                        </p:tgtEl>
                                      </p:cBhvr>
                                    </p:animEffect>
                                  </p:childTnLst>
                                </p:cTn>
                              </p:par>
                            </p:childTnLst>
                          </p:cTn>
                        </p:par>
                      </p:childTnLst>
                    </p:cTn>
                  </p:par>
                  <p:par>
                    <p:cTn id="57" fill="hold">
                      <p:stCondLst>
                        <p:cond delay="indefinite"/>
                      </p:stCondLst>
                      <p:childTnLst>
                        <p:par>
                          <p:cTn id="58" fill="hold">
                            <p:stCondLst>
                              <p:cond delay="0"/>
                            </p:stCondLst>
                            <p:childTnLst>
                              <p:par>
                                <p:cTn id="59" presetID="23" presetClass="entr" presetSubtype="16" fill="hold" grpId="0" nodeType="clickEffect">
                                  <p:stCondLst>
                                    <p:cond delay="0"/>
                                  </p:stCondLst>
                                  <p:childTnLst>
                                    <p:set>
                                      <p:cBhvr>
                                        <p:cTn id="60" dur="1" fill="hold">
                                          <p:stCondLst>
                                            <p:cond delay="0"/>
                                          </p:stCondLst>
                                        </p:cTn>
                                        <p:tgtEl>
                                          <p:spTgt spid="22"/>
                                        </p:tgtEl>
                                        <p:attrNameLst>
                                          <p:attrName>style.visibility</p:attrName>
                                        </p:attrNameLst>
                                      </p:cBhvr>
                                      <p:to>
                                        <p:strVal val="visible"/>
                                      </p:to>
                                    </p:set>
                                    <p:anim calcmode="lin" valueType="num">
                                      <p:cBhvr>
                                        <p:cTn id="61" dur="500" fill="hold"/>
                                        <p:tgtEl>
                                          <p:spTgt spid="22"/>
                                        </p:tgtEl>
                                        <p:attrNameLst>
                                          <p:attrName>ppt_w</p:attrName>
                                        </p:attrNameLst>
                                      </p:cBhvr>
                                      <p:tavLst>
                                        <p:tav tm="0">
                                          <p:val>
                                            <p:fltVal val="0"/>
                                          </p:val>
                                        </p:tav>
                                        <p:tav tm="100000">
                                          <p:val>
                                            <p:strVal val="#ppt_w"/>
                                          </p:val>
                                        </p:tav>
                                      </p:tavLst>
                                    </p:anim>
                                    <p:anim calcmode="lin" valueType="num">
                                      <p:cBhvr>
                                        <p:cTn id="62" dur="500" fill="hold"/>
                                        <p:tgtEl>
                                          <p:spTgt spid="22"/>
                                        </p:tgtEl>
                                        <p:attrNameLst>
                                          <p:attrName>ppt_h</p:attrName>
                                        </p:attrNameLst>
                                      </p:cBhvr>
                                      <p:tavLst>
                                        <p:tav tm="0">
                                          <p:val>
                                            <p:fltVal val="0"/>
                                          </p:val>
                                        </p:tav>
                                        <p:tav tm="100000">
                                          <p:val>
                                            <p:strVal val="#ppt_h"/>
                                          </p:val>
                                        </p:tav>
                                      </p:tavLst>
                                    </p:anim>
                                  </p:childTnLst>
                                </p:cTn>
                              </p:par>
                              <p:par>
                                <p:cTn id="63" presetID="22" presetClass="entr" presetSubtype="4" fill="hold" grpId="0" nodeType="with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wipe(down)">
                                      <p:cBhvr>
                                        <p:cTn id="65" dur="500"/>
                                        <p:tgtEl>
                                          <p:spTgt spid="19"/>
                                        </p:tgtEl>
                                      </p:cBhvr>
                                    </p:animEffect>
                                  </p:childTnLst>
                                </p:cTn>
                              </p:par>
                            </p:childTnLst>
                          </p:cTn>
                        </p:par>
                      </p:childTnLst>
                    </p:cTn>
                  </p:par>
                  <p:par>
                    <p:cTn id="66" fill="hold">
                      <p:stCondLst>
                        <p:cond delay="indefinite"/>
                      </p:stCondLst>
                      <p:childTnLst>
                        <p:par>
                          <p:cTn id="67" fill="hold">
                            <p:stCondLst>
                              <p:cond delay="0"/>
                            </p:stCondLst>
                            <p:childTnLst>
                              <p:par>
                                <p:cTn id="68" presetID="23" presetClass="entr" presetSubtype="16" fill="hold" grpId="0" nodeType="clickEffect">
                                  <p:stCondLst>
                                    <p:cond delay="0"/>
                                  </p:stCondLst>
                                  <p:childTnLst>
                                    <p:set>
                                      <p:cBhvr>
                                        <p:cTn id="69" dur="1" fill="hold">
                                          <p:stCondLst>
                                            <p:cond delay="0"/>
                                          </p:stCondLst>
                                        </p:cTn>
                                        <p:tgtEl>
                                          <p:spTgt spid="25"/>
                                        </p:tgtEl>
                                        <p:attrNameLst>
                                          <p:attrName>style.visibility</p:attrName>
                                        </p:attrNameLst>
                                      </p:cBhvr>
                                      <p:to>
                                        <p:strVal val="visible"/>
                                      </p:to>
                                    </p:set>
                                    <p:anim calcmode="lin" valueType="num">
                                      <p:cBhvr>
                                        <p:cTn id="70" dur="500" fill="hold"/>
                                        <p:tgtEl>
                                          <p:spTgt spid="25"/>
                                        </p:tgtEl>
                                        <p:attrNameLst>
                                          <p:attrName>ppt_w</p:attrName>
                                        </p:attrNameLst>
                                      </p:cBhvr>
                                      <p:tavLst>
                                        <p:tav tm="0">
                                          <p:val>
                                            <p:fltVal val="0"/>
                                          </p:val>
                                        </p:tav>
                                        <p:tav tm="100000">
                                          <p:val>
                                            <p:strVal val="#ppt_w"/>
                                          </p:val>
                                        </p:tav>
                                      </p:tavLst>
                                    </p:anim>
                                    <p:anim calcmode="lin" valueType="num">
                                      <p:cBhvr>
                                        <p:cTn id="71" dur="500" fill="hold"/>
                                        <p:tgtEl>
                                          <p:spTgt spid="25"/>
                                        </p:tgtEl>
                                        <p:attrNameLst>
                                          <p:attrName>ppt_h</p:attrName>
                                        </p:attrNameLst>
                                      </p:cBhvr>
                                      <p:tavLst>
                                        <p:tav tm="0">
                                          <p:val>
                                            <p:fltVal val="0"/>
                                          </p:val>
                                        </p:tav>
                                        <p:tav tm="100000">
                                          <p:val>
                                            <p:strVal val="#ppt_h"/>
                                          </p:val>
                                        </p:tav>
                                      </p:tavLst>
                                    </p:anim>
                                  </p:childTnLst>
                                </p:cTn>
                              </p:par>
                              <p:par>
                                <p:cTn id="72" presetID="22" presetClass="entr" presetSubtype="4" fill="hold" grpId="0" nodeType="with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wipe(down)">
                                      <p:cBhvr>
                                        <p:cTn id="7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55" grpId="0" animBg="1"/>
      <p:bldP spid="20" grpId="0" animBg="1"/>
      <p:bldP spid="21" grpId="0" animBg="1"/>
      <p:bldP spid="27" grpId="0" animBg="1"/>
      <p:bldP spid="30" grpId="0" animBg="1"/>
      <p:bldP spid="18" grpId="0"/>
      <p:bldP spid="56" grpId="0" animBg="1"/>
      <p:bldP spid="19" grpId="0" animBg="1"/>
      <p:bldP spid="22" grpId="0" animBg="1"/>
      <p:bldP spid="24" grpId="0" animBg="1"/>
      <p:bldP spid="25" grpId="0" animBg="1"/>
      <p:bldP spid="43" grpId="0" animBg="1"/>
      <p:bldP spid="35" grpId="0"/>
      <p:bldP spid="26" grpId="0" animBg="1"/>
      <p:bldP spid="28" grpId="0" animBg="1"/>
      <p:bldP spid="23" grpId="0" animBg="1"/>
    </p:bldLst>
  </p:timing>
</p:sld>
</file>

<file path=ppt/slides/slide31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0A79A7-5A88-4A88-8CBA-DAC5D4304C39}"/>
              </a:ext>
            </a:extLst>
          </p:cNvPr>
          <p:cNvSpPr>
            <a:spLocks noGrp="1"/>
          </p:cNvSpPr>
          <p:nvPr>
            <p:ph type="ctrTitle"/>
          </p:nvPr>
        </p:nvSpPr>
        <p:spPr/>
        <p:txBody>
          <a:bodyPr/>
          <a:lstStyle/>
          <a:p>
            <a:r>
              <a:rPr lang="de-DE" err="1"/>
              <a:t>PowerBI</a:t>
            </a:r>
            <a:r>
              <a:rPr lang="de-DE"/>
              <a:t> Roll Out: User </a:t>
            </a:r>
            <a:r>
              <a:rPr lang="de-DE" err="1"/>
              <a:t>Roles</a:t>
            </a:r>
            <a:endParaRPr lang="de-DE"/>
          </a:p>
        </p:txBody>
      </p:sp>
      <p:sp>
        <p:nvSpPr>
          <p:cNvPr id="3" name="Textplatzhalter 2">
            <a:extLst>
              <a:ext uri="{FF2B5EF4-FFF2-40B4-BE49-F238E27FC236}">
                <a16:creationId xmlns:a16="http://schemas.microsoft.com/office/drawing/2014/main" id="{15D4706E-275B-4825-BAC4-CE8307F78DD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47159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Power BI user Roles</a:t>
            </a:r>
          </a:p>
        </p:txBody>
      </p:sp>
      <p:graphicFrame>
        <p:nvGraphicFramePr>
          <p:cNvPr id="5" name="Diagram 4"/>
          <p:cNvGraphicFramePr/>
          <p:nvPr/>
        </p:nvGraphicFramePr>
        <p:xfrm>
          <a:off x="4371852" y="456710"/>
          <a:ext cx="7445009" cy="6067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7732806"/>
      </p:ext>
    </p:extLst>
  </p:cSld>
  <p:clrMapOvr>
    <a:masterClrMapping/>
  </p:clrMapOvr>
  <mc:AlternateContent xmlns:mc="http://schemas.openxmlformats.org/markup-compatibility/2006" xmlns:p14="http://schemas.microsoft.com/office/powerpoint/2010/main">
    <mc:Choice Requires="p14">
      <p:transition spd="med" p14:dur="700" advTm="45652">
        <p:fade/>
      </p:transition>
    </mc:Choice>
    <mc:Fallback xmlns="">
      <p:transition spd="med" advTm="45652">
        <p:fade/>
      </p:transition>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onsumers</a:t>
            </a:r>
          </a:p>
        </p:txBody>
      </p:sp>
      <p:sp>
        <p:nvSpPr>
          <p:cNvPr id="3" name="Text Placeholder 2"/>
          <p:cNvSpPr>
            <a:spLocks noGrp="1"/>
          </p:cNvSpPr>
          <p:nvPr>
            <p:ph type="body" sz="quarter" idx="4294967295"/>
          </p:nvPr>
        </p:nvSpPr>
        <p:spPr>
          <a:xfrm>
            <a:off x="4649788" y="120165"/>
            <a:ext cx="7542212" cy="6237386"/>
          </a:xfrm>
        </p:spPr>
        <p:txBody>
          <a:bodyPr>
            <a:noAutofit/>
          </a:bodyPr>
          <a:lstStyle/>
          <a:p>
            <a:pPr>
              <a:lnSpc>
                <a:spcPct val="150000"/>
              </a:lnSpc>
            </a:pPr>
            <a:r>
              <a:rPr lang="en-GB" sz="2000" b="1"/>
              <a:t>Description:</a:t>
            </a:r>
            <a:r>
              <a:rPr lang="en-GB" sz="2000"/>
              <a:t> Consume content created by others to make data driven decisions</a:t>
            </a:r>
          </a:p>
          <a:p>
            <a:pPr>
              <a:lnSpc>
                <a:spcPct val="150000"/>
              </a:lnSpc>
              <a:spcAft>
                <a:spcPts val="1200"/>
              </a:spcAft>
            </a:pPr>
            <a:r>
              <a:rPr lang="en-GB" sz="2000" b="1"/>
              <a:t>Role:</a:t>
            </a:r>
            <a:r>
              <a:rPr lang="en-GB" sz="2000"/>
              <a:t> View content that has been developed by BI Developers, Power Users and Analysts</a:t>
            </a:r>
          </a:p>
          <a:p>
            <a:pPr>
              <a:lnSpc>
                <a:spcPct val="100000"/>
              </a:lnSpc>
              <a:spcAft>
                <a:spcPts val="1200"/>
              </a:spcAft>
            </a:pPr>
            <a:r>
              <a:rPr lang="en-GB" sz="2000" b="1"/>
              <a:t>Training Requirement:</a:t>
            </a:r>
          </a:p>
          <a:p>
            <a:pPr>
              <a:lnSpc>
                <a:spcPct val="100000"/>
              </a:lnSpc>
              <a:spcAft>
                <a:spcPts val="1200"/>
              </a:spcAft>
            </a:pPr>
            <a:r>
              <a:rPr lang="en-GB" sz="2000"/>
              <a:t>Signing into the service</a:t>
            </a:r>
          </a:p>
          <a:p>
            <a:pPr>
              <a:lnSpc>
                <a:spcPct val="100000"/>
              </a:lnSpc>
              <a:spcAft>
                <a:spcPts val="1200"/>
              </a:spcAft>
            </a:pPr>
            <a:r>
              <a:rPr lang="en-GB" sz="2000"/>
              <a:t>Familiarity with the service and the mobile app</a:t>
            </a:r>
          </a:p>
          <a:p>
            <a:pPr lvl="2" indent="0">
              <a:lnSpc>
                <a:spcPct val="100000"/>
              </a:lnSpc>
              <a:buNone/>
            </a:pPr>
            <a:r>
              <a:rPr lang="en-GB" sz="1800"/>
              <a:t>Navigation</a:t>
            </a:r>
          </a:p>
          <a:p>
            <a:pPr lvl="2" indent="0">
              <a:lnSpc>
                <a:spcPct val="100000"/>
              </a:lnSpc>
              <a:buNone/>
            </a:pPr>
            <a:r>
              <a:rPr lang="en-GB" sz="1800"/>
              <a:t>Dashboards</a:t>
            </a:r>
          </a:p>
          <a:p>
            <a:pPr lvl="2" indent="0">
              <a:lnSpc>
                <a:spcPct val="100000"/>
              </a:lnSpc>
              <a:buNone/>
            </a:pPr>
            <a:r>
              <a:rPr lang="en-GB" sz="1800"/>
              <a:t>Viewing reports</a:t>
            </a:r>
          </a:p>
          <a:p>
            <a:pPr lvl="2" indent="0">
              <a:lnSpc>
                <a:spcPct val="100000"/>
              </a:lnSpc>
              <a:buNone/>
            </a:pPr>
            <a:r>
              <a:rPr lang="en-GB" sz="1800"/>
              <a:t>Ad-hoc analysis</a:t>
            </a:r>
          </a:p>
          <a:p>
            <a:pPr lvl="2" indent="0">
              <a:lnSpc>
                <a:spcPct val="100000"/>
              </a:lnSpc>
              <a:buNone/>
            </a:pPr>
            <a:r>
              <a:rPr lang="en-GB" sz="1800"/>
              <a:t>Alerts / Subscriptions</a:t>
            </a:r>
          </a:p>
          <a:p>
            <a:pPr lvl="2" indent="0">
              <a:lnSpc>
                <a:spcPct val="100000"/>
              </a:lnSpc>
              <a:buNone/>
            </a:pPr>
            <a:r>
              <a:rPr lang="en-GB" sz="1800"/>
              <a:t>Q&amp;A</a:t>
            </a:r>
          </a:p>
        </p:txBody>
      </p:sp>
    </p:spTree>
    <p:custDataLst>
      <p:tags r:id="rId1"/>
    </p:custDataLst>
    <p:extLst>
      <p:ext uri="{BB962C8B-B14F-4D97-AF65-F5344CB8AC3E}">
        <p14:creationId xmlns:p14="http://schemas.microsoft.com/office/powerpoint/2010/main" val="3308252098"/>
      </p:ext>
    </p:extLst>
  </p:cSld>
  <p:clrMapOvr>
    <a:masterClrMapping/>
  </p:clrMapOvr>
  <mc:AlternateContent xmlns:mc="http://schemas.openxmlformats.org/markup-compatibility/2006" xmlns:p14="http://schemas.microsoft.com/office/powerpoint/2010/main">
    <mc:Choice Requires="p14">
      <p:transition spd="med" p14:dur="700" advTm="37580">
        <p:fade/>
      </p:transition>
    </mc:Choice>
    <mc:Fallback xmlns="">
      <p:transition spd="med" advTm="375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ts</a:t>
            </a:r>
          </a:p>
        </p:txBody>
      </p:sp>
      <p:sp>
        <p:nvSpPr>
          <p:cNvPr id="3" name="Text Placeholder 2"/>
          <p:cNvSpPr>
            <a:spLocks noGrp="1"/>
          </p:cNvSpPr>
          <p:nvPr>
            <p:ph type="body" sz="quarter" idx="4294967295"/>
          </p:nvPr>
        </p:nvSpPr>
        <p:spPr>
          <a:xfrm>
            <a:off x="4649788" y="120164"/>
            <a:ext cx="7542212" cy="6478343"/>
          </a:xfrm>
        </p:spPr>
        <p:txBody>
          <a:bodyPr>
            <a:noAutofit/>
          </a:bodyPr>
          <a:lstStyle/>
          <a:p>
            <a:pPr>
              <a:lnSpc>
                <a:spcPct val="150000"/>
              </a:lnSpc>
            </a:pPr>
            <a:r>
              <a:rPr lang="en-GB" sz="2000" b="1"/>
              <a:t>Description:</a:t>
            </a:r>
            <a:r>
              <a:rPr lang="en-GB" sz="2000"/>
              <a:t> Consume content created by others and creating new reports and dashboards from corporate data models</a:t>
            </a:r>
          </a:p>
          <a:p>
            <a:pPr>
              <a:lnSpc>
                <a:spcPct val="150000"/>
              </a:lnSpc>
              <a:spcAft>
                <a:spcPts val="1200"/>
              </a:spcAft>
            </a:pPr>
            <a:r>
              <a:rPr lang="en-GB" sz="2000" b="1"/>
              <a:t>Role:</a:t>
            </a:r>
            <a:r>
              <a:rPr lang="en-GB" sz="2000"/>
              <a:t> View, edit and content that has been developed by BI Developers, Power Users and Analysts</a:t>
            </a:r>
          </a:p>
          <a:p>
            <a:pPr>
              <a:lnSpc>
                <a:spcPct val="100000"/>
              </a:lnSpc>
              <a:spcAft>
                <a:spcPts val="1200"/>
              </a:spcAft>
            </a:pPr>
            <a:r>
              <a:rPr lang="en-GB" sz="2000" b="1"/>
              <a:t>Training Requirement:</a:t>
            </a:r>
          </a:p>
          <a:p>
            <a:pPr>
              <a:lnSpc>
                <a:spcPct val="100000"/>
              </a:lnSpc>
              <a:spcAft>
                <a:spcPts val="1200"/>
              </a:spcAft>
            </a:pPr>
            <a:r>
              <a:rPr lang="en-GB" sz="2000"/>
              <a:t>End User Training</a:t>
            </a:r>
          </a:p>
          <a:p>
            <a:pPr>
              <a:lnSpc>
                <a:spcPct val="100000"/>
              </a:lnSpc>
              <a:spcAft>
                <a:spcPts val="1200"/>
              </a:spcAft>
            </a:pPr>
            <a:r>
              <a:rPr lang="en-GB" sz="2000"/>
              <a:t>Power BI Desktop</a:t>
            </a:r>
          </a:p>
          <a:p>
            <a:pPr lvl="2" indent="0">
              <a:lnSpc>
                <a:spcPct val="100000"/>
              </a:lnSpc>
              <a:spcAft>
                <a:spcPts val="1200"/>
              </a:spcAft>
              <a:buNone/>
            </a:pPr>
            <a:r>
              <a:rPr lang="en-GB" sz="1800"/>
              <a:t>Data Load</a:t>
            </a:r>
          </a:p>
          <a:p>
            <a:pPr lvl="2" indent="0">
              <a:lnSpc>
                <a:spcPct val="100000"/>
              </a:lnSpc>
              <a:spcAft>
                <a:spcPts val="1200"/>
              </a:spcAft>
              <a:buNone/>
            </a:pPr>
            <a:r>
              <a:rPr lang="en-GB" sz="1800"/>
              <a:t>Data mashup</a:t>
            </a:r>
          </a:p>
          <a:p>
            <a:pPr lvl="2" indent="0">
              <a:lnSpc>
                <a:spcPct val="100000"/>
              </a:lnSpc>
              <a:spcAft>
                <a:spcPts val="1200"/>
              </a:spcAft>
              <a:buNone/>
            </a:pPr>
            <a:r>
              <a:rPr lang="en-GB" sz="1800"/>
              <a:t>Data modelling overview</a:t>
            </a:r>
          </a:p>
          <a:p>
            <a:pPr lvl="2" indent="0">
              <a:lnSpc>
                <a:spcPct val="100000"/>
              </a:lnSpc>
              <a:spcAft>
                <a:spcPts val="1200"/>
              </a:spcAft>
              <a:buNone/>
            </a:pPr>
            <a:r>
              <a:rPr lang="en-GB" sz="1800"/>
              <a:t>Advanced visualisation </a:t>
            </a:r>
          </a:p>
          <a:p>
            <a:pPr lvl="1" indent="0">
              <a:lnSpc>
                <a:spcPct val="100000"/>
              </a:lnSpc>
              <a:spcAft>
                <a:spcPts val="1200"/>
              </a:spcAft>
              <a:buNone/>
            </a:pPr>
            <a:r>
              <a:rPr lang="en-GB" sz="2000"/>
              <a:t>Intermediate DAX</a:t>
            </a:r>
          </a:p>
        </p:txBody>
      </p:sp>
    </p:spTree>
    <p:custDataLst>
      <p:tags r:id="rId1"/>
    </p:custDataLst>
    <p:extLst>
      <p:ext uri="{BB962C8B-B14F-4D97-AF65-F5344CB8AC3E}">
        <p14:creationId xmlns:p14="http://schemas.microsoft.com/office/powerpoint/2010/main" val="3977786440"/>
      </p:ext>
    </p:extLst>
  </p:cSld>
  <p:clrMapOvr>
    <a:masterClrMapping/>
  </p:clrMapOvr>
  <mc:AlternateContent xmlns:mc="http://schemas.openxmlformats.org/markup-compatibility/2006" xmlns:p14="http://schemas.microsoft.com/office/powerpoint/2010/main">
    <mc:Choice Requires="p14">
      <p:transition spd="med" p14:dur="700" advTm="77755">
        <p:fade/>
      </p:transition>
    </mc:Choice>
    <mc:Fallback xmlns="">
      <p:transition spd="med" advTm="7775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ower Users</a:t>
            </a:r>
          </a:p>
        </p:txBody>
      </p:sp>
      <p:sp>
        <p:nvSpPr>
          <p:cNvPr id="3" name="Text Placeholder 2"/>
          <p:cNvSpPr>
            <a:spLocks noGrp="1"/>
          </p:cNvSpPr>
          <p:nvPr>
            <p:ph type="body" sz="quarter" idx="4294967295"/>
          </p:nvPr>
        </p:nvSpPr>
        <p:spPr>
          <a:xfrm>
            <a:off x="4649788" y="208844"/>
            <a:ext cx="7542212" cy="6451448"/>
          </a:xfrm>
        </p:spPr>
        <p:txBody>
          <a:bodyPr>
            <a:normAutofit fontScale="92500" lnSpcReduction="10000"/>
          </a:bodyPr>
          <a:lstStyle/>
          <a:p>
            <a:r>
              <a:rPr lang="en-GB" sz="2000" b="1"/>
              <a:t>Description:</a:t>
            </a:r>
            <a:r>
              <a:rPr lang="en-GB" sz="2000"/>
              <a:t> Develop content for use by a Project Team or Department</a:t>
            </a:r>
          </a:p>
          <a:p>
            <a:pPr>
              <a:lnSpc>
                <a:spcPct val="170000"/>
              </a:lnSpc>
              <a:spcAft>
                <a:spcPts val="1200"/>
              </a:spcAft>
            </a:pPr>
            <a:r>
              <a:rPr lang="en-GB" sz="2000" b="1"/>
              <a:t>Role:</a:t>
            </a:r>
            <a:r>
              <a:rPr lang="en-GB" sz="2000"/>
              <a:t> Create and publish content</a:t>
            </a:r>
          </a:p>
          <a:p>
            <a:pPr>
              <a:lnSpc>
                <a:spcPct val="170000"/>
              </a:lnSpc>
              <a:spcAft>
                <a:spcPts val="1200"/>
              </a:spcAft>
            </a:pPr>
            <a:r>
              <a:rPr lang="en-GB" sz="2000" b="1"/>
              <a:t>Training Requirement:</a:t>
            </a:r>
            <a:endParaRPr lang="en-GB" sz="2000"/>
          </a:p>
          <a:p>
            <a:pPr>
              <a:lnSpc>
                <a:spcPct val="120000"/>
              </a:lnSpc>
              <a:spcAft>
                <a:spcPts val="1200"/>
              </a:spcAft>
            </a:pPr>
            <a:r>
              <a:rPr lang="en-GB" sz="2000"/>
              <a:t>Analyst Training</a:t>
            </a:r>
          </a:p>
          <a:p>
            <a:pPr>
              <a:lnSpc>
                <a:spcPct val="120000"/>
              </a:lnSpc>
              <a:spcAft>
                <a:spcPts val="1200"/>
              </a:spcAft>
            </a:pPr>
            <a:r>
              <a:rPr lang="en-GB" sz="2000"/>
              <a:t>Organisational governance strategy</a:t>
            </a:r>
          </a:p>
          <a:p>
            <a:pPr>
              <a:lnSpc>
                <a:spcPct val="120000"/>
              </a:lnSpc>
              <a:spcAft>
                <a:spcPts val="1200"/>
              </a:spcAft>
            </a:pPr>
            <a:r>
              <a:rPr lang="en-GB" sz="2000"/>
              <a:t>Microsoft Data Analytics platform</a:t>
            </a:r>
          </a:p>
          <a:p>
            <a:pPr>
              <a:lnSpc>
                <a:spcPct val="120000"/>
              </a:lnSpc>
              <a:spcAft>
                <a:spcPts val="1200"/>
              </a:spcAft>
            </a:pPr>
            <a:r>
              <a:rPr lang="en-GB" sz="2000"/>
              <a:t>Power BI Desktop</a:t>
            </a:r>
          </a:p>
          <a:p>
            <a:pPr lvl="2" indent="0">
              <a:lnSpc>
                <a:spcPct val="120000"/>
              </a:lnSpc>
              <a:buNone/>
            </a:pPr>
            <a:r>
              <a:rPr lang="en-GB" sz="1600"/>
              <a:t>Data modelling scenarios and techniques</a:t>
            </a:r>
          </a:p>
          <a:p>
            <a:pPr lvl="2" indent="0">
              <a:lnSpc>
                <a:spcPct val="120000"/>
              </a:lnSpc>
              <a:buNone/>
            </a:pPr>
            <a:r>
              <a:rPr lang="en-GB" sz="1600"/>
              <a:t>Data blending techniques and best practices</a:t>
            </a:r>
          </a:p>
          <a:p>
            <a:pPr lvl="2" indent="0">
              <a:lnSpc>
                <a:spcPct val="120000"/>
              </a:lnSpc>
              <a:spcAft>
                <a:spcPts val="1200"/>
              </a:spcAft>
              <a:buNone/>
            </a:pPr>
            <a:r>
              <a:rPr lang="en-GB" sz="1600"/>
              <a:t>Advanced M and DAX</a:t>
            </a:r>
            <a:endParaRPr lang="en-GB"/>
          </a:p>
          <a:p>
            <a:pPr>
              <a:lnSpc>
                <a:spcPct val="120000"/>
              </a:lnSpc>
              <a:spcAft>
                <a:spcPts val="1200"/>
              </a:spcAft>
            </a:pPr>
            <a:r>
              <a:rPr lang="en-GB" sz="2000"/>
              <a:t>Power BI Service</a:t>
            </a:r>
          </a:p>
          <a:p>
            <a:pPr lvl="2" indent="0">
              <a:lnSpc>
                <a:spcPct val="120000"/>
              </a:lnSpc>
              <a:buNone/>
            </a:pPr>
            <a:r>
              <a:rPr lang="en-GB" sz="1600"/>
              <a:t>App Workspaces</a:t>
            </a:r>
          </a:p>
          <a:p>
            <a:pPr lvl="2" indent="0">
              <a:lnSpc>
                <a:spcPct val="120000"/>
              </a:lnSpc>
              <a:buNone/>
            </a:pPr>
            <a:r>
              <a:rPr lang="en-GB" sz="1600"/>
              <a:t>Apps</a:t>
            </a:r>
          </a:p>
          <a:p>
            <a:pPr lvl="2" indent="0">
              <a:lnSpc>
                <a:spcPct val="120000"/>
              </a:lnSpc>
              <a:buNone/>
            </a:pPr>
            <a:r>
              <a:rPr lang="en-GB" sz="1600"/>
              <a:t>Real-time dashboards</a:t>
            </a:r>
          </a:p>
          <a:p>
            <a:pPr>
              <a:lnSpc>
                <a:spcPct val="100000"/>
              </a:lnSpc>
              <a:spcAft>
                <a:spcPts val="1200"/>
              </a:spcAft>
            </a:pPr>
            <a:endParaRPr lang="en-GB" sz="2000"/>
          </a:p>
        </p:txBody>
      </p:sp>
    </p:spTree>
    <p:custDataLst>
      <p:tags r:id="rId1"/>
    </p:custDataLst>
    <p:extLst>
      <p:ext uri="{BB962C8B-B14F-4D97-AF65-F5344CB8AC3E}">
        <p14:creationId xmlns:p14="http://schemas.microsoft.com/office/powerpoint/2010/main" val="2960151578"/>
      </p:ext>
    </p:extLst>
  </p:cSld>
  <p:clrMapOvr>
    <a:masterClrMapping/>
  </p:clrMapOvr>
  <mc:AlternateContent xmlns:mc="http://schemas.openxmlformats.org/markup-compatibility/2006" xmlns:p14="http://schemas.microsoft.com/office/powerpoint/2010/main">
    <mc:Choice Requires="p14">
      <p:transition spd="med" p14:dur="700" advTm="137397">
        <p:fade/>
      </p:transition>
    </mc:Choice>
    <mc:Fallback xmlns="">
      <p:transition spd="med" advTm="13739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08EB87-59A5-4F14-9D1C-CECFB670CB9D}"/>
              </a:ext>
            </a:extLst>
          </p:cNvPr>
          <p:cNvSpPr>
            <a:spLocks noGrp="1"/>
          </p:cNvSpPr>
          <p:nvPr>
            <p:ph type="ctrTitle"/>
          </p:nvPr>
        </p:nvSpPr>
        <p:spPr/>
        <p:txBody>
          <a:bodyPr/>
          <a:lstStyle/>
          <a:p>
            <a:r>
              <a:rPr lang="de-DE" err="1"/>
              <a:t>Introduction</a:t>
            </a:r>
            <a:r>
              <a:rPr lang="de-DE"/>
              <a:t> to </a:t>
            </a:r>
            <a:r>
              <a:rPr lang="de-DE" err="1"/>
              <a:t>the</a:t>
            </a:r>
            <a:r>
              <a:rPr lang="de-DE"/>
              <a:t> Framework</a:t>
            </a:r>
          </a:p>
        </p:txBody>
      </p:sp>
      <p:sp>
        <p:nvSpPr>
          <p:cNvPr id="3" name="Textplatzhalter 2">
            <a:extLst>
              <a:ext uri="{FF2B5EF4-FFF2-40B4-BE49-F238E27FC236}">
                <a16:creationId xmlns:a16="http://schemas.microsoft.com/office/drawing/2014/main" id="{C0B0F474-2DEC-4C7B-A6DC-36C95CEE174C}"/>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938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BI Development Team</a:t>
            </a:r>
          </a:p>
        </p:txBody>
      </p:sp>
      <p:sp>
        <p:nvSpPr>
          <p:cNvPr id="3" name="Text Placeholder 2"/>
          <p:cNvSpPr>
            <a:spLocks noGrp="1"/>
          </p:cNvSpPr>
          <p:nvPr>
            <p:ph type="body" sz="quarter" idx="4294967295"/>
          </p:nvPr>
        </p:nvSpPr>
        <p:spPr>
          <a:xfrm>
            <a:off x="4649788" y="531340"/>
            <a:ext cx="7542212" cy="5807675"/>
          </a:xfrm>
        </p:spPr>
        <p:txBody>
          <a:bodyPr>
            <a:normAutofit/>
          </a:bodyPr>
          <a:lstStyle/>
          <a:p>
            <a:r>
              <a:rPr lang="en-GB" sz="2000" b="1"/>
              <a:t>Description:</a:t>
            </a:r>
            <a:r>
              <a:rPr lang="en-GB" sz="2000"/>
              <a:t> Develop approved enterprise wide content and products</a:t>
            </a:r>
          </a:p>
          <a:p>
            <a:pPr>
              <a:lnSpc>
                <a:spcPct val="170000"/>
              </a:lnSpc>
              <a:spcAft>
                <a:spcPts val="1200"/>
              </a:spcAft>
            </a:pPr>
            <a:r>
              <a:rPr lang="en-GB" sz="2000" b="1"/>
              <a:t>Role:</a:t>
            </a:r>
            <a:r>
              <a:rPr lang="en-GB" sz="2000"/>
              <a:t> Creating data models, reports, applications and insights for colleagues throughout the business to consume </a:t>
            </a:r>
          </a:p>
          <a:p>
            <a:pPr>
              <a:lnSpc>
                <a:spcPct val="170000"/>
              </a:lnSpc>
              <a:spcAft>
                <a:spcPts val="1200"/>
              </a:spcAft>
            </a:pPr>
            <a:r>
              <a:rPr lang="en-GB" sz="2000" b="1"/>
              <a:t>Training Requirement:</a:t>
            </a:r>
            <a:endParaRPr lang="en-GB" sz="2000"/>
          </a:p>
          <a:p>
            <a:pPr>
              <a:lnSpc>
                <a:spcPct val="100000"/>
              </a:lnSpc>
              <a:spcAft>
                <a:spcPts val="1200"/>
              </a:spcAft>
            </a:pPr>
            <a:r>
              <a:rPr lang="en-GB" sz="2000"/>
              <a:t>Power User Training</a:t>
            </a:r>
          </a:p>
          <a:p>
            <a:pPr>
              <a:lnSpc>
                <a:spcPct val="100000"/>
              </a:lnSpc>
              <a:spcAft>
                <a:spcPts val="1200"/>
              </a:spcAft>
            </a:pPr>
            <a:r>
              <a:rPr lang="en-GB" sz="2000"/>
              <a:t>Surfacing a variety of data for Power BI consumption</a:t>
            </a:r>
          </a:p>
          <a:p>
            <a:pPr>
              <a:lnSpc>
                <a:spcPct val="100000"/>
              </a:lnSpc>
              <a:spcAft>
                <a:spcPts val="1200"/>
              </a:spcAft>
            </a:pPr>
            <a:r>
              <a:rPr lang="en-GB" sz="2000"/>
              <a:t>Integration with the existing BI environment</a:t>
            </a:r>
          </a:p>
          <a:p>
            <a:pPr>
              <a:lnSpc>
                <a:spcPct val="100000"/>
              </a:lnSpc>
              <a:spcAft>
                <a:spcPts val="1200"/>
              </a:spcAft>
            </a:pPr>
            <a:r>
              <a:rPr lang="en-GB" sz="2000"/>
              <a:t>Keeping data current</a:t>
            </a:r>
          </a:p>
          <a:p>
            <a:pPr>
              <a:lnSpc>
                <a:spcPct val="100000"/>
              </a:lnSpc>
              <a:spcAft>
                <a:spcPts val="1200"/>
              </a:spcAft>
            </a:pPr>
            <a:r>
              <a:rPr lang="en-GB" sz="2000"/>
              <a:t>SSAS Tabular</a:t>
            </a:r>
          </a:p>
          <a:p>
            <a:pPr>
              <a:lnSpc>
                <a:spcPct val="100000"/>
              </a:lnSpc>
              <a:spcAft>
                <a:spcPts val="1200"/>
              </a:spcAft>
            </a:pPr>
            <a:r>
              <a:rPr lang="en-GB" sz="2000"/>
              <a:t>ALM and Release management</a:t>
            </a:r>
          </a:p>
        </p:txBody>
      </p:sp>
    </p:spTree>
    <p:custDataLst>
      <p:tags r:id="rId1"/>
    </p:custDataLst>
    <p:extLst>
      <p:ext uri="{BB962C8B-B14F-4D97-AF65-F5344CB8AC3E}">
        <p14:creationId xmlns:p14="http://schemas.microsoft.com/office/powerpoint/2010/main" val="1397385045"/>
      </p:ext>
    </p:extLst>
  </p:cSld>
  <p:clrMapOvr>
    <a:masterClrMapping/>
  </p:clrMapOvr>
  <mc:AlternateContent xmlns:mc="http://schemas.openxmlformats.org/markup-compatibility/2006" xmlns:p14="http://schemas.microsoft.com/office/powerpoint/2010/main">
    <mc:Choice Requires="p14">
      <p:transition spd="med" p14:dur="700" advTm="124699">
        <p:fade/>
      </p:transition>
    </mc:Choice>
    <mc:Fallback xmlns="">
      <p:transition spd="med" advTm="12469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eb Development Team</a:t>
            </a:r>
          </a:p>
        </p:txBody>
      </p:sp>
      <p:sp>
        <p:nvSpPr>
          <p:cNvPr id="3" name="Text Placeholder 2"/>
          <p:cNvSpPr>
            <a:spLocks noGrp="1"/>
          </p:cNvSpPr>
          <p:nvPr>
            <p:ph type="body" sz="quarter" idx="4294967295"/>
          </p:nvPr>
        </p:nvSpPr>
        <p:spPr>
          <a:xfrm>
            <a:off x="4649788" y="880106"/>
            <a:ext cx="7542212" cy="5854326"/>
          </a:xfrm>
        </p:spPr>
        <p:txBody>
          <a:bodyPr>
            <a:normAutofit/>
          </a:bodyPr>
          <a:lstStyle/>
          <a:p>
            <a:pPr>
              <a:lnSpc>
                <a:spcPct val="150000"/>
              </a:lnSpc>
              <a:spcAft>
                <a:spcPts val="1200"/>
              </a:spcAft>
            </a:pPr>
            <a:r>
              <a:rPr lang="en-GB" sz="2000" b="1"/>
              <a:t>Description:</a:t>
            </a:r>
            <a:r>
              <a:rPr lang="en-GB" sz="2000"/>
              <a:t> Develop internal and external applications</a:t>
            </a:r>
          </a:p>
          <a:p>
            <a:pPr>
              <a:lnSpc>
                <a:spcPct val="150000"/>
              </a:lnSpc>
              <a:spcAft>
                <a:spcPts val="1200"/>
              </a:spcAft>
            </a:pPr>
            <a:r>
              <a:rPr lang="en-GB" sz="2000" b="1"/>
              <a:t>Role:</a:t>
            </a:r>
            <a:r>
              <a:rPr lang="en-GB" sz="2000"/>
              <a:t> Embed Power BI solutions in applications</a:t>
            </a:r>
          </a:p>
          <a:p>
            <a:pPr>
              <a:lnSpc>
                <a:spcPct val="150000"/>
              </a:lnSpc>
              <a:spcAft>
                <a:spcPts val="1200"/>
              </a:spcAft>
            </a:pPr>
            <a:r>
              <a:rPr lang="en-GB" sz="2000" b="1"/>
              <a:t>Training Requirement:</a:t>
            </a:r>
          </a:p>
          <a:p>
            <a:pPr>
              <a:lnSpc>
                <a:spcPct val="150000"/>
              </a:lnSpc>
              <a:spcAft>
                <a:spcPts val="1200"/>
              </a:spcAft>
            </a:pPr>
            <a:r>
              <a:rPr lang="en-GB" sz="2000"/>
              <a:t>Embedding Power BI into web solutions</a:t>
            </a:r>
          </a:p>
          <a:p>
            <a:pPr>
              <a:lnSpc>
                <a:spcPct val="150000"/>
              </a:lnSpc>
              <a:spcAft>
                <a:spcPts val="1200"/>
              </a:spcAft>
            </a:pPr>
            <a:r>
              <a:rPr lang="en-GB" sz="2000"/>
              <a:t>Organisational governance strategy</a:t>
            </a:r>
          </a:p>
          <a:p>
            <a:pPr>
              <a:lnSpc>
                <a:spcPct val="150000"/>
              </a:lnSpc>
              <a:spcAft>
                <a:spcPts val="1200"/>
              </a:spcAft>
            </a:pPr>
            <a:r>
              <a:rPr lang="en-GB" sz="2000"/>
              <a:t>Real-time data</a:t>
            </a:r>
          </a:p>
          <a:p>
            <a:pPr>
              <a:lnSpc>
                <a:spcPct val="150000"/>
              </a:lnSpc>
              <a:spcAft>
                <a:spcPts val="1200"/>
              </a:spcAft>
            </a:pPr>
            <a:r>
              <a:rPr lang="en-GB" sz="2000"/>
              <a:t>Developing Custom Visuals</a:t>
            </a:r>
          </a:p>
          <a:p>
            <a:pPr>
              <a:lnSpc>
                <a:spcPct val="150000"/>
              </a:lnSpc>
              <a:spcAft>
                <a:spcPts val="1200"/>
              </a:spcAft>
            </a:pPr>
            <a:endParaRPr lang="en-GB" sz="2000"/>
          </a:p>
        </p:txBody>
      </p:sp>
    </p:spTree>
    <p:custDataLst>
      <p:tags r:id="rId1"/>
    </p:custDataLst>
    <p:extLst>
      <p:ext uri="{BB962C8B-B14F-4D97-AF65-F5344CB8AC3E}">
        <p14:creationId xmlns:p14="http://schemas.microsoft.com/office/powerpoint/2010/main" val="959855090"/>
      </p:ext>
    </p:extLst>
  </p:cSld>
  <p:clrMapOvr>
    <a:masterClrMapping/>
  </p:clrMapOvr>
  <mc:AlternateContent xmlns:mc="http://schemas.openxmlformats.org/markup-compatibility/2006" xmlns:p14="http://schemas.microsoft.com/office/powerpoint/2010/main">
    <mc:Choice Requires="p14">
      <p:transition spd="med" p14:dur="700" advTm="41708">
        <p:fade/>
      </p:transition>
    </mc:Choice>
    <mc:Fallback xmlns="">
      <p:transition spd="med" advTm="4170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T Operations / BAU Support</a:t>
            </a:r>
          </a:p>
        </p:txBody>
      </p:sp>
      <p:sp>
        <p:nvSpPr>
          <p:cNvPr id="3" name="Text Placeholder 2"/>
          <p:cNvSpPr>
            <a:spLocks noGrp="1"/>
          </p:cNvSpPr>
          <p:nvPr>
            <p:ph type="body" sz="quarter" idx="4294967295"/>
          </p:nvPr>
        </p:nvSpPr>
        <p:spPr>
          <a:xfrm>
            <a:off x="4508318" y="693775"/>
            <a:ext cx="7542212" cy="5855308"/>
          </a:xfrm>
        </p:spPr>
        <p:txBody>
          <a:bodyPr>
            <a:normAutofit/>
          </a:bodyPr>
          <a:lstStyle/>
          <a:p>
            <a:pPr>
              <a:lnSpc>
                <a:spcPct val="150000"/>
              </a:lnSpc>
              <a:spcAft>
                <a:spcPts val="1200"/>
              </a:spcAft>
            </a:pPr>
            <a:r>
              <a:rPr lang="en-GB" sz="2000" b="1"/>
              <a:t>Role Description:</a:t>
            </a:r>
            <a:r>
              <a:rPr lang="en-GB" sz="2000"/>
              <a:t> Ensure day to day operations are smooth</a:t>
            </a:r>
          </a:p>
          <a:p>
            <a:pPr>
              <a:lnSpc>
                <a:spcPct val="150000"/>
              </a:lnSpc>
              <a:spcAft>
                <a:spcPts val="1200"/>
              </a:spcAft>
            </a:pPr>
            <a:r>
              <a:rPr lang="en-GB" sz="2000" b="1"/>
              <a:t>Role:</a:t>
            </a:r>
            <a:r>
              <a:rPr lang="en-GB" sz="2000"/>
              <a:t> Responsible for resolving urgent infrastructure issues and configuring Power BI settings</a:t>
            </a:r>
          </a:p>
          <a:p>
            <a:pPr>
              <a:lnSpc>
                <a:spcPct val="150000"/>
              </a:lnSpc>
              <a:spcAft>
                <a:spcPts val="1200"/>
              </a:spcAft>
            </a:pPr>
            <a:r>
              <a:rPr lang="en-GB" sz="2000" b="1"/>
              <a:t>Training Requirement:</a:t>
            </a:r>
          </a:p>
          <a:p>
            <a:pPr>
              <a:lnSpc>
                <a:spcPct val="150000"/>
              </a:lnSpc>
              <a:spcAft>
                <a:spcPts val="1200"/>
              </a:spcAft>
            </a:pPr>
            <a:r>
              <a:rPr lang="en-GB" sz="2000"/>
              <a:t>End User Training</a:t>
            </a:r>
          </a:p>
          <a:p>
            <a:pPr>
              <a:lnSpc>
                <a:spcPct val="150000"/>
              </a:lnSpc>
              <a:spcAft>
                <a:spcPts val="1200"/>
              </a:spcAft>
            </a:pPr>
            <a:r>
              <a:rPr lang="en-GB" sz="2000"/>
              <a:t>Service Management</a:t>
            </a:r>
          </a:p>
          <a:p>
            <a:pPr>
              <a:lnSpc>
                <a:spcPct val="150000"/>
              </a:lnSpc>
              <a:spcAft>
                <a:spcPts val="1200"/>
              </a:spcAft>
            </a:pPr>
            <a:r>
              <a:rPr lang="en-GB" sz="2000"/>
              <a:t>Audit</a:t>
            </a:r>
          </a:p>
          <a:p>
            <a:pPr>
              <a:lnSpc>
                <a:spcPct val="150000"/>
              </a:lnSpc>
              <a:spcAft>
                <a:spcPts val="1200"/>
              </a:spcAft>
            </a:pPr>
            <a:r>
              <a:rPr lang="en-GB" sz="2000"/>
              <a:t>Usage reporting</a:t>
            </a:r>
          </a:p>
          <a:p>
            <a:pPr>
              <a:lnSpc>
                <a:spcPct val="150000"/>
              </a:lnSpc>
              <a:spcAft>
                <a:spcPts val="1200"/>
              </a:spcAft>
            </a:pPr>
            <a:r>
              <a:rPr lang="en-GB" sz="2000"/>
              <a:t>Gateway installation, management and Monitoring</a:t>
            </a:r>
          </a:p>
        </p:txBody>
      </p:sp>
    </p:spTree>
    <p:custDataLst>
      <p:tags r:id="rId1"/>
    </p:custDataLst>
    <p:extLst>
      <p:ext uri="{BB962C8B-B14F-4D97-AF65-F5344CB8AC3E}">
        <p14:creationId xmlns:p14="http://schemas.microsoft.com/office/powerpoint/2010/main" val="3157603610"/>
      </p:ext>
    </p:extLst>
  </p:cSld>
  <p:clrMapOvr>
    <a:masterClrMapping/>
  </p:clrMapOvr>
  <mc:AlternateContent xmlns:mc="http://schemas.openxmlformats.org/markup-compatibility/2006" xmlns:p14="http://schemas.microsoft.com/office/powerpoint/2010/main">
    <mc:Choice Requires="p14">
      <p:transition spd="med" p14:dur="700" advTm="123664">
        <p:fade/>
      </p:transition>
    </mc:Choice>
    <mc:Fallback xmlns="">
      <p:transition spd="med" advTm="12366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T Minor Enhancements Support</a:t>
            </a:r>
          </a:p>
        </p:txBody>
      </p:sp>
      <p:sp>
        <p:nvSpPr>
          <p:cNvPr id="3" name="Text Placeholder 2"/>
          <p:cNvSpPr>
            <a:spLocks noGrp="1"/>
          </p:cNvSpPr>
          <p:nvPr>
            <p:ph type="body" sz="quarter" idx="4294967295"/>
          </p:nvPr>
        </p:nvSpPr>
        <p:spPr>
          <a:xfrm>
            <a:off x="4649788" y="512772"/>
            <a:ext cx="7542212" cy="6246374"/>
          </a:xfrm>
        </p:spPr>
        <p:txBody>
          <a:bodyPr>
            <a:normAutofit/>
          </a:bodyPr>
          <a:lstStyle/>
          <a:p>
            <a:r>
              <a:rPr lang="en-GB" sz="2000" b="1"/>
              <a:t>Role Description:</a:t>
            </a:r>
            <a:r>
              <a:rPr lang="en-GB" sz="2000"/>
              <a:t> Support enterprise wide content and products.</a:t>
            </a:r>
          </a:p>
          <a:p>
            <a:endParaRPr lang="en-GB" sz="2000"/>
          </a:p>
          <a:p>
            <a:r>
              <a:rPr lang="en-GB" sz="2000" b="1"/>
              <a:t>Role:</a:t>
            </a:r>
            <a:r>
              <a:rPr lang="en-GB" sz="2000"/>
              <a:t> Maintain corporate Power BI solutions, making minor enhancements, solving complex issues, monitoring usage and performance</a:t>
            </a:r>
          </a:p>
          <a:p>
            <a:pPr>
              <a:lnSpc>
                <a:spcPct val="150000"/>
              </a:lnSpc>
              <a:spcBef>
                <a:spcPts val="1200"/>
              </a:spcBef>
              <a:spcAft>
                <a:spcPts val="1200"/>
              </a:spcAft>
            </a:pPr>
            <a:r>
              <a:rPr lang="en-GB" sz="2000" b="1"/>
              <a:t>Training Requirement:</a:t>
            </a:r>
          </a:p>
          <a:p>
            <a:pPr>
              <a:lnSpc>
                <a:spcPct val="150000"/>
              </a:lnSpc>
              <a:spcAft>
                <a:spcPts val="1200"/>
              </a:spcAft>
            </a:pPr>
            <a:r>
              <a:rPr lang="en-GB" sz="2000"/>
              <a:t>Power User Training	</a:t>
            </a:r>
          </a:p>
          <a:p>
            <a:pPr>
              <a:lnSpc>
                <a:spcPct val="150000"/>
              </a:lnSpc>
              <a:spcAft>
                <a:spcPts val="1200"/>
              </a:spcAft>
            </a:pPr>
            <a:r>
              <a:rPr lang="en-GB" sz="2000"/>
              <a:t>BI Development team training</a:t>
            </a:r>
          </a:p>
          <a:p>
            <a:pPr>
              <a:lnSpc>
                <a:spcPct val="150000"/>
              </a:lnSpc>
              <a:spcAft>
                <a:spcPts val="1200"/>
              </a:spcAft>
            </a:pPr>
            <a:r>
              <a:rPr lang="en-GB" sz="2000"/>
              <a:t>Web Development team training</a:t>
            </a:r>
          </a:p>
          <a:p>
            <a:pPr>
              <a:lnSpc>
                <a:spcPct val="150000"/>
              </a:lnSpc>
              <a:spcAft>
                <a:spcPts val="1200"/>
              </a:spcAft>
            </a:pPr>
            <a:r>
              <a:rPr lang="en-GB" sz="2000"/>
              <a:t>Managing data sources</a:t>
            </a:r>
          </a:p>
          <a:p>
            <a:pPr>
              <a:lnSpc>
                <a:spcPct val="150000"/>
              </a:lnSpc>
              <a:spcAft>
                <a:spcPts val="1200"/>
              </a:spcAft>
            </a:pPr>
            <a:r>
              <a:rPr lang="en-GB" sz="2000"/>
              <a:t>Managing gateway connections</a:t>
            </a:r>
          </a:p>
          <a:p>
            <a:pPr>
              <a:lnSpc>
                <a:spcPct val="150000"/>
              </a:lnSpc>
              <a:spcAft>
                <a:spcPts val="1200"/>
              </a:spcAft>
            </a:pPr>
            <a:endParaRPr lang="en-GB" sz="2000"/>
          </a:p>
          <a:p>
            <a:pPr>
              <a:lnSpc>
                <a:spcPct val="150000"/>
              </a:lnSpc>
            </a:pPr>
            <a:endParaRPr lang="en-GB" sz="2000"/>
          </a:p>
        </p:txBody>
      </p:sp>
    </p:spTree>
    <p:custDataLst>
      <p:tags r:id="rId1"/>
    </p:custDataLst>
    <p:extLst>
      <p:ext uri="{BB962C8B-B14F-4D97-AF65-F5344CB8AC3E}">
        <p14:creationId xmlns:p14="http://schemas.microsoft.com/office/powerpoint/2010/main" val="373344990"/>
      </p:ext>
    </p:extLst>
  </p:cSld>
  <p:clrMapOvr>
    <a:masterClrMapping/>
  </p:clrMapOvr>
  <mc:AlternateContent xmlns:mc="http://schemas.openxmlformats.org/markup-compatibility/2006" xmlns:p14="http://schemas.microsoft.com/office/powerpoint/2010/main">
    <mc:Choice Requires="p14">
      <p:transition spd="med" p14:dur="700" advTm="51116">
        <p:fade/>
      </p:transition>
    </mc:Choice>
    <mc:Fallback xmlns="">
      <p:transition spd="med" advTm="511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fade">
                                      <p:cBhvr>
                                        <p:cTn id="10" dur="500"/>
                                        <p:tgtEl>
                                          <p:spTgt spid="3">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fade">
                                      <p:cBhvr>
                                        <p:cTn id="13" dur="500"/>
                                        <p:tgtEl>
                                          <p:spTgt spid="3">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fade">
                                      <p:cBhvr>
                                        <p:cTn id="16" dur="500"/>
                                        <p:tgtEl>
                                          <p:spTgt spid="3">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fade">
                                      <p:cBhvr>
                                        <p:cTn id="19" dur="500"/>
                                        <p:tgtEl>
                                          <p:spTgt spid="3">
                                            <p:txEl>
                                              <p:pRg st="7" end="7"/>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are the user roles for Power BI in your organization?</a:t>
            </a:r>
          </a:p>
        </p:txBody>
      </p:sp>
    </p:spTree>
    <p:extLst>
      <p:ext uri="{BB962C8B-B14F-4D97-AF65-F5344CB8AC3E}">
        <p14:creationId xmlns:p14="http://schemas.microsoft.com/office/powerpoint/2010/main" val="1213002508"/>
      </p:ext>
    </p:extLst>
  </p:cSld>
  <p:clrMapOvr>
    <a:masterClrMapping/>
  </p:clrMapOvr>
  <mc:AlternateContent xmlns:mc="http://schemas.openxmlformats.org/markup-compatibility/2006" xmlns:p14="http://schemas.microsoft.com/office/powerpoint/2010/main">
    <mc:Choice Requires="p14">
      <p:transition spd="med" p14:dur="700" advTm="53457">
        <p:fade/>
      </p:transition>
    </mc:Choice>
    <mc:Fallback xmlns="">
      <p:transition spd="med" advTm="53457">
        <p:fade/>
      </p:transition>
    </mc:Fallback>
  </mc:AlternateContent>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2C6D609-AE0A-439B-B28F-B09736697BBA}"/>
              </a:ext>
            </a:extLst>
          </p:cNvPr>
          <p:cNvSpPr>
            <a:spLocks noGrp="1"/>
          </p:cNvSpPr>
          <p:nvPr>
            <p:ph type="title"/>
          </p:nvPr>
        </p:nvSpPr>
        <p:spPr/>
        <p:txBody>
          <a:bodyPr/>
          <a:lstStyle/>
          <a:p>
            <a:r>
              <a:rPr lang="en-GB"/>
              <a:t>Potential end to end process</a:t>
            </a:r>
          </a:p>
        </p:txBody>
      </p:sp>
      <p:sp>
        <p:nvSpPr>
          <p:cNvPr id="332" name="TextBox 331">
            <a:extLst>
              <a:ext uri="{FF2B5EF4-FFF2-40B4-BE49-F238E27FC236}">
                <a16:creationId xmlns:a16="http://schemas.microsoft.com/office/drawing/2014/main" id="{FC853072-0C33-4C85-B9D7-1932017B0F5B}"/>
              </a:ext>
            </a:extLst>
          </p:cNvPr>
          <p:cNvSpPr txBox="1"/>
          <p:nvPr/>
        </p:nvSpPr>
        <p:spPr>
          <a:xfrm>
            <a:off x="713331" y="2033951"/>
            <a:ext cx="1327608" cy="2769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SOURCES</a:t>
            </a:r>
          </a:p>
        </p:txBody>
      </p:sp>
      <p:sp>
        <p:nvSpPr>
          <p:cNvPr id="333" name="Oval 332">
            <a:extLst>
              <a:ext uri="{FF2B5EF4-FFF2-40B4-BE49-F238E27FC236}">
                <a16:creationId xmlns:a16="http://schemas.microsoft.com/office/drawing/2014/main" id="{57E68CA3-052F-4920-8701-B1CE4236563B}"/>
              </a:ext>
            </a:extLst>
          </p:cNvPr>
          <p:cNvSpPr/>
          <p:nvPr/>
        </p:nvSpPr>
        <p:spPr>
          <a:xfrm>
            <a:off x="427377" y="2052094"/>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1</a:t>
            </a:r>
          </a:p>
        </p:txBody>
      </p:sp>
      <p:sp>
        <p:nvSpPr>
          <p:cNvPr id="334" name="Right Bracket 333">
            <a:extLst>
              <a:ext uri="{FF2B5EF4-FFF2-40B4-BE49-F238E27FC236}">
                <a16:creationId xmlns:a16="http://schemas.microsoft.com/office/drawing/2014/main" id="{6BEDA814-529F-45B0-84FD-B224C5C8E677}"/>
              </a:ext>
            </a:extLst>
          </p:cNvPr>
          <p:cNvSpPr/>
          <p:nvPr/>
        </p:nvSpPr>
        <p:spPr>
          <a:xfrm>
            <a:off x="1902671" y="1943803"/>
            <a:ext cx="170943" cy="4564944"/>
          </a:xfrm>
          <a:prstGeom prst="rightBracket">
            <a:avLst>
              <a:gd name="adj" fmla="val 0"/>
            </a:avLst>
          </a:prstGeom>
          <a:noFill/>
          <a:ln w="28575" cap="rnd" cmpd="sng" algn="ctr">
            <a:solidFill>
              <a:srgbClr val="000000"/>
            </a:solidFill>
            <a:prstDash val="solid"/>
            <a:roun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335" name="Straight Arrow Connector 334">
            <a:extLst>
              <a:ext uri="{FF2B5EF4-FFF2-40B4-BE49-F238E27FC236}">
                <a16:creationId xmlns:a16="http://schemas.microsoft.com/office/drawing/2014/main" id="{C71E42AE-4EEE-47EF-A9ED-C2AB10DC7FD3}"/>
              </a:ext>
            </a:extLst>
          </p:cNvPr>
          <p:cNvCxnSpPr/>
          <p:nvPr/>
        </p:nvCxnSpPr>
        <p:spPr>
          <a:xfrm flipV="1">
            <a:off x="2065034" y="3010384"/>
            <a:ext cx="182880" cy="2484"/>
          </a:xfrm>
          <a:prstGeom prst="straightConnector1">
            <a:avLst/>
          </a:prstGeom>
          <a:noFill/>
          <a:ln w="31750" cap="flat" cmpd="sng" algn="ctr">
            <a:solidFill>
              <a:srgbClr val="282828"/>
            </a:solidFill>
            <a:prstDash val="solid"/>
            <a:tailEnd type="triangle" w="med" len="sm"/>
          </a:ln>
          <a:effectLst/>
        </p:spPr>
      </p:cxnSp>
      <p:cxnSp>
        <p:nvCxnSpPr>
          <p:cNvPr id="336" name="Straight Arrow Connector 335">
            <a:extLst>
              <a:ext uri="{FF2B5EF4-FFF2-40B4-BE49-F238E27FC236}">
                <a16:creationId xmlns:a16="http://schemas.microsoft.com/office/drawing/2014/main" id="{FF756F0D-39E3-4AB6-89DF-2D3F284DF546}"/>
              </a:ext>
            </a:extLst>
          </p:cNvPr>
          <p:cNvCxnSpPr/>
          <p:nvPr/>
        </p:nvCxnSpPr>
        <p:spPr>
          <a:xfrm flipV="1">
            <a:off x="2068682" y="5575734"/>
            <a:ext cx="182880" cy="2484"/>
          </a:xfrm>
          <a:prstGeom prst="straightConnector1">
            <a:avLst/>
          </a:prstGeom>
          <a:noFill/>
          <a:ln w="31750" cap="flat" cmpd="sng" algn="ctr">
            <a:solidFill>
              <a:srgbClr val="282828"/>
            </a:solidFill>
            <a:prstDash val="solid"/>
            <a:tailEnd type="triangle" w="med" len="sm"/>
          </a:ln>
          <a:effectLst/>
        </p:spPr>
      </p:cxnSp>
      <p:grpSp>
        <p:nvGrpSpPr>
          <p:cNvPr id="337" name="Group 336">
            <a:extLst>
              <a:ext uri="{FF2B5EF4-FFF2-40B4-BE49-F238E27FC236}">
                <a16:creationId xmlns:a16="http://schemas.microsoft.com/office/drawing/2014/main" id="{C86D0EF7-222B-406E-B720-5159DE540435}"/>
              </a:ext>
            </a:extLst>
          </p:cNvPr>
          <p:cNvGrpSpPr/>
          <p:nvPr/>
        </p:nvGrpSpPr>
        <p:grpSpPr>
          <a:xfrm>
            <a:off x="333590" y="2706895"/>
            <a:ext cx="1534394" cy="593867"/>
            <a:chOff x="363413" y="2282826"/>
            <a:chExt cx="1534394" cy="593867"/>
          </a:xfrm>
        </p:grpSpPr>
        <p:sp>
          <p:nvSpPr>
            <p:cNvPr id="338" name="TextBox 337">
              <a:extLst>
                <a:ext uri="{FF2B5EF4-FFF2-40B4-BE49-F238E27FC236}">
                  <a16:creationId xmlns:a16="http://schemas.microsoft.com/office/drawing/2014/main" id="{F6961BA4-36C8-4FA9-9F0C-C12AF48476E5}"/>
                </a:ext>
              </a:extLst>
            </p:cNvPr>
            <p:cNvSpPr txBox="1"/>
            <p:nvPr/>
          </p:nvSpPr>
          <p:spPr>
            <a:xfrm>
              <a:off x="363413" y="2622777"/>
              <a:ext cx="1534394" cy="253916"/>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BIG DATA/DATA LAKE</a:t>
              </a:r>
            </a:p>
          </p:txBody>
        </p:sp>
        <p:sp>
          <p:nvSpPr>
            <p:cNvPr id="339" name="Freeform 5">
              <a:extLst>
                <a:ext uri="{FF2B5EF4-FFF2-40B4-BE49-F238E27FC236}">
                  <a16:creationId xmlns:a16="http://schemas.microsoft.com/office/drawing/2014/main" id="{70C535F4-990F-42D9-9A21-D11A551A97ED}"/>
                </a:ext>
              </a:extLst>
            </p:cNvPr>
            <p:cNvSpPr>
              <a:spLocks/>
            </p:cNvSpPr>
            <p:nvPr/>
          </p:nvSpPr>
          <p:spPr bwMode="auto">
            <a:xfrm>
              <a:off x="946786" y="2282826"/>
              <a:ext cx="434975" cy="211137"/>
            </a:xfrm>
            <a:custGeom>
              <a:avLst/>
              <a:gdLst>
                <a:gd name="T0" fmla="*/ 0 w 126"/>
                <a:gd name="T1" fmla="*/ 57 h 59"/>
                <a:gd name="T2" fmla="*/ 54 w 126"/>
                <a:gd name="T3" fmla="*/ 19 h 59"/>
                <a:gd name="T4" fmla="*/ 95 w 126"/>
                <a:gd name="T5" fmla="*/ 16 h 59"/>
                <a:gd name="T6" fmla="*/ 76 w 126"/>
                <a:gd name="T7" fmla="*/ 22 h 59"/>
                <a:gd name="T8" fmla="*/ 91 w 126"/>
                <a:gd name="T9" fmla="*/ 53 h 59"/>
                <a:gd name="T10" fmla="*/ 126 w 126"/>
                <a:gd name="T11" fmla="*/ 59 h 59"/>
              </a:gdLst>
              <a:ahLst/>
              <a:cxnLst>
                <a:cxn ang="0">
                  <a:pos x="T0" y="T1"/>
                </a:cxn>
                <a:cxn ang="0">
                  <a:pos x="T2" y="T3"/>
                </a:cxn>
                <a:cxn ang="0">
                  <a:pos x="T4" y="T5"/>
                </a:cxn>
                <a:cxn ang="0">
                  <a:pos x="T6" y="T7"/>
                </a:cxn>
                <a:cxn ang="0">
                  <a:pos x="T8" y="T9"/>
                </a:cxn>
                <a:cxn ang="0">
                  <a:pos x="T10" y="T11"/>
                </a:cxn>
              </a:cxnLst>
              <a:rect l="0" t="0" r="r" b="b"/>
              <a:pathLst>
                <a:path w="126" h="59">
                  <a:moveTo>
                    <a:pt x="0" y="57"/>
                  </a:moveTo>
                  <a:cubicBezTo>
                    <a:pt x="27" y="56"/>
                    <a:pt x="24" y="49"/>
                    <a:pt x="54" y="19"/>
                  </a:cubicBezTo>
                  <a:cubicBezTo>
                    <a:pt x="73" y="0"/>
                    <a:pt x="90" y="9"/>
                    <a:pt x="95" y="16"/>
                  </a:cubicBezTo>
                  <a:cubicBezTo>
                    <a:pt x="95" y="16"/>
                    <a:pt x="84" y="16"/>
                    <a:pt x="76" y="22"/>
                  </a:cubicBezTo>
                  <a:cubicBezTo>
                    <a:pt x="69" y="28"/>
                    <a:pt x="64" y="45"/>
                    <a:pt x="91" y="53"/>
                  </a:cubicBezTo>
                  <a:cubicBezTo>
                    <a:pt x="104" y="57"/>
                    <a:pt x="116" y="58"/>
                    <a:pt x="126" y="59"/>
                  </a:cubicBezTo>
                </a:path>
              </a:pathLst>
            </a:custGeom>
            <a:noFill/>
            <a:ln w="269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340" name="Group 339">
            <a:extLst>
              <a:ext uri="{FF2B5EF4-FFF2-40B4-BE49-F238E27FC236}">
                <a16:creationId xmlns:a16="http://schemas.microsoft.com/office/drawing/2014/main" id="{79574B7F-AC17-4718-89B9-AEE2B041426A}"/>
              </a:ext>
            </a:extLst>
          </p:cNvPr>
          <p:cNvGrpSpPr/>
          <p:nvPr/>
        </p:nvGrpSpPr>
        <p:grpSpPr>
          <a:xfrm>
            <a:off x="266920" y="3576273"/>
            <a:ext cx="1735061" cy="813617"/>
            <a:chOff x="296743" y="3143984"/>
            <a:chExt cx="1735061" cy="813617"/>
          </a:xfrm>
        </p:grpSpPr>
        <p:sp>
          <p:nvSpPr>
            <p:cNvPr id="341" name="TextBox 340">
              <a:extLst>
                <a:ext uri="{FF2B5EF4-FFF2-40B4-BE49-F238E27FC236}">
                  <a16:creationId xmlns:a16="http://schemas.microsoft.com/office/drawing/2014/main" id="{9FD65B3F-C762-459A-BB85-B3EFFD366991}"/>
                </a:ext>
              </a:extLst>
            </p:cNvPr>
            <p:cNvSpPr txBox="1"/>
            <p:nvPr/>
          </p:nvSpPr>
          <p:spPr>
            <a:xfrm>
              <a:off x="296743" y="3526714"/>
              <a:ext cx="1735061" cy="430887"/>
            </a:xfrm>
            <a:prstGeom prst="rect">
              <a:avLst/>
            </a:prstGeom>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CLOUD APPS, STREAMS </a:t>
              </a:r>
              <a:b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IOT DATA</a:t>
              </a:r>
            </a:p>
          </p:txBody>
        </p:sp>
        <p:grpSp>
          <p:nvGrpSpPr>
            <p:cNvPr id="342" name="Group 341">
              <a:extLst>
                <a:ext uri="{FF2B5EF4-FFF2-40B4-BE49-F238E27FC236}">
                  <a16:creationId xmlns:a16="http://schemas.microsoft.com/office/drawing/2014/main" id="{D071B21D-BE09-44D8-8A4F-278D0E686F43}"/>
                </a:ext>
              </a:extLst>
            </p:cNvPr>
            <p:cNvGrpSpPr/>
            <p:nvPr/>
          </p:nvGrpSpPr>
          <p:grpSpPr>
            <a:xfrm>
              <a:off x="946355" y="3143984"/>
              <a:ext cx="435836" cy="314606"/>
              <a:chOff x="785909" y="3143984"/>
              <a:chExt cx="435836" cy="314606"/>
            </a:xfrm>
          </p:grpSpPr>
          <p:pic>
            <p:nvPicPr>
              <p:cNvPr id="343" name="Picture 342">
                <a:extLst>
                  <a:ext uri="{FF2B5EF4-FFF2-40B4-BE49-F238E27FC236}">
                    <a16:creationId xmlns:a16="http://schemas.microsoft.com/office/drawing/2014/main" id="{861B49E1-0F3D-47CC-8C2C-F93B43E489D6}"/>
                  </a:ext>
                </a:extLst>
              </p:cNvPr>
              <p:cNvPicPr>
                <a:picLocks noChangeAspect="1"/>
              </p:cNvPicPr>
              <p:nvPr/>
            </p:nvPicPr>
            <p:blipFill>
              <a:blip r:embed="rId4"/>
              <a:stretch>
                <a:fillRect/>
              </a:stretch>
            </p:blipFill>
            <p:spPr>
              <a:xfrm>
                <a:off x="785909" y="3143984"/>
                <a:ext cx="435836" cy="314606"/>
              </a:xfrm>
              <a:prstGeom prst="rect">
                <a:avLst/>
              </a:prstGeom>
            </p:spPr>
          </p:pic>
          <p:pic>
            <p:nvPicPr>
              <p:cNvPr id="344" name="Picture 343">
                <a:extLst>
                  <a:ext uri="{FF2B5EF4-FFF2-40B4-BE49-F238E27FC236}">
                    <a16:creationId xmlns:a16="http://schemas.microsoft.com/office/drawing/2014/main" id="{D8D10663-6D48-4392-9A03-F8C7496244B3}"/>
                  </a:ext>
                </a:extLst>
              </p:cNvPr>
              <p:cNvPicPr>
                <a:picLocks noChangeAspect="1"/>
              </p:cNvPicPr>
              <p:nvPr/>
            </p:nvPicPr>
            <p:blipFill>
              <a:blip r:embed="rId5"/>
              <a:stretch>
                <a:fillRect/>
              </a:stretch>
            </p:blipFill>
            <p:spPr>
              <a:xfrm>
                <a:off x="941988" y="3214288"/>
                <a:ext cx="185341" cy="185576"/>
              </a:xfrm>
              <a:prstGeom prst="rect">
                <a:avLst/>
              </a:prstGeom>
            </p:spPr>
          </p:pic>
        </p:grpSp>
      </p:grpSp>
      <p:grpSp>
        <p:nvGrpSpPr>
          <p:cNvPr id="345" name="Group 344">
            <a:extLst>
              <a:ext uri="{FF2B5EF4-FFF2-40B4-BE49-F238E27FC236}">
                <a16:creationId xmlns:a16="http://schemas.microsoft.com/office/drawing/2014/main" id="{E0472329-E5D6-4DD6-A46D-9D8ECE6D8D9A}"/>
              </a:ext>
            </a:extLst>
          </p:cNvPr>
          <p:cNvGrpSpPr/>
          <p:nvPr/>
        </p:nvGrpSpPr>
        <p:grpSpPr>
          <a:xfrm>
            <a:off x="401717" y="4665401"/>
            <a:ext cx="1465466" cy="793814"/>
            <a:chOff x="431540" y="4324002"/>
            <a:chExt cx="1465466" cy="793814"/>
          </a:xfrm>
        </p:grpSpPr>
        <p:sp>
          <p:nvSpPr>
            <p:cNvPr id="346" name="TextBox 345">
              <a:extLst>
                <a:ext uri="{FF2B5EF4-FFF2-40B4-BE49-F238E27FC236}">
                  <a16:creationId xmlns:a16="http://schemas.microsoft.com/office/drawing/2014/main" id="{70275405-0D8D-4852-8E22-CA891B3311C6}"/>
                </a:ext>
              </a:extLst>
            </p:cNvPr>
            <p:cNvSpPr txBox="1"/>
            <p:nvPr/>
          </p:nvSpPr>
          <p:spPr>
            <a:xfrm>
              <a:off x="431540" y="4702318"/>
              <a:ext cx="1465466" cy="415498"/>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WAREHOUSE </a:t>
              </a:r>
              <a:b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APP DATABASES</a:t>
              </a:r>
            </a:p>
          </p:txBody>
        </p:sp>
        <p:grpSp>
          <p:nvGrpSpPr>
            <p:cNvPr id="347" name="Group 346">
              <a:extLst>
                <a:ext uri="{FF2B5EF4-FFF2-40B4-BE49-F238E27FC236}">
                  <a16:creationId xmlns:a16="http://schemas.microsoft.com/office/drawing/2014/main" id="{6402C6F6-B572-4F75-BE21-F0A4087C064C}"/>
                </a:ext>
              </a:extLst>
            </p:cNvPr>
            <p:cNvGrpSpPr/>
            <p:nvPr/>
          </p:nvGrpSpPr>
          <p:grpSpPr>
            <a:xfrm>
              <a:off x="981763" y="4324002"/>
              <a:ext cx="365020" cy="346263"/>
              <a:chOff x="938229" y="4212050"/>
              <a:chExt cx="483036" cy="458215"/>
            </a:xfrm>
          </p:grpSpPr>
          <p:pic>
            <p:nvPicPr>
              <p:cNvPr id="348" name="Picture 347">
                <a:extLst>
                  <a:ext uri="{FF2B5EF4-FFF2-40B4-BE49-F238E27FC236}">
                    <a16:creationId xmlns:a16="http://schemas.microsoft.com/office/drawing/2014/main" id="{AF047038-5181-4CCC-9CDF-FD4FE292E635}"/>
                  </a:ext>
                </a:extLst>
              </p:cNvPr>
              <p:cNvPicPr>
                <a:picLocks noChangeAspect="1"/>
              </p:cNvPicPr>
              <p:nvPr/>
            </p:nvPicPr>
            <p:blipFill>
              <a:blip r:embed="rId6"/>
              <a:stretch>
                <a:fillRect/>
              </a:stretch>
            </p:blipFill>
            <p:spPr>
              <a:xfrm>
                <a:off x="1127329" y="4212050"/>
                <a:ext cx="293936" cy="334903"/>
              </a:xfrm>
              <a:prstGeom prst="rect">
                <a:avLst/>
              </a:prstGeom>
            </p:spPr>
          </p:pic>
          <p:grpSp>
            <p:nvGrpSpPr>
              <p:cNvPr id="349" name="Group 348">
                <a:extLst>
                  <a:ext uri="{FF2B5EF4-FFF2-40B4-BE49-F238E27FC236}">
                    <a16:creationId xmlns:a16="http://schemas.microsoft.com/office/drawing/2014/main" id="{ADA19B4E-531B-4E10-9485-338FFA60A242}"/>
                  </a:ext>
                </a:extLst>
              </p:cNvPr>
              <p:cNvGrpSpPr/>
              <p:nvPr/>
            </p:nvGrpSpPr>
            <p:grpSpPr>
              <a:xfrm>
                <a:off x="938229" y="4335362"/>
                <a:ext cx="293936" cy="334903"/>
                <a:chOff x="831939" y="4335362"/>
                <a:chExt cx="293936" cy="334903"/>
              </a:xfrm>
            </p:grpSpPr>
            <p:sp>
              <p:nvSpPr>
                <p:cNvPr id="350" name="Rectangle 349">
                  <a:extLst>
                    <a:ext uri="{FF2B5EF4-FFF2-40B4-BE49-F238E27FC236}">
                      <a16:creationId xmlns:a16="http://schemas.microsoft.com/office/drawing/2014/main" id="{829DE52A-2693-42E2-A75A-00194C6375E3}"/>
                    </a:ext>
                  </a:extLst>
                </p:cNvPr>
                <p:cNvSpPr/>
                <p:nvPr/>
              </p:nvSpPr>
              <p:spPr bwMode="auto">
                <a:xfrm>
                  <a:off x="843221" y="4357688"/>
                  <a:ext cx="271373" cy="273843"/>
                </a:xfrm>
                <a:prstGeom prst="rect">
                  <a:avLst/>
                </a:prstGeom>
                <a:solidFill>
                  <a:srgbClr val="F8F8F8"/>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351" name="Picture 350">
                  <a:extLst>
                    <a:ext uri="{FF2B5EF4-FFF2-40B4-BE49-F238E27FC236}">
                      <a16:creationId xmlns:a16="http://schemas.microsoft.com/office/drawing/2014/main" id="{DCF2B5D0-E47B-46BD-8529-FE17D67DB3ED}"/>
                    </a:ext>
                  </a:extLst>
                </p:cNvPr>
                <p:cNvPicPr>
                  <a:picLocks noChangeAspect="1"/>
                </p:cNvPicPr>
                <p:nvPr/>
              </p:nvPicPr>
              <p:blipFill>
                <a:blip r:embed="rId6"/>
                <a:stretch>
                  <a:fillRect/>
                </a:stretch>
              </p:blipFill>
              <p:spPr>
                <a:xfrm>
                  <a:off x="831939" y="4335362"/>
                  <a:ext cx="293936" cy="334903"/>
                </a:xfrm>
                <a:prstGeom prst="rect">
                  <a:avLst/>
                </a:prstGeom>
              </p:spPr>
            </p:pic>
          </p:grpSp>
        </p:grpSp>
      </p:grpSp>
      <p:grpSp>
        <p:nvGrpSpPr>
          <p:cNvPr id="352" name="Group 351">
            <a:extLst>
              <a:ext uri="{FF2B5EF4-FFF2-40B4-BE49-F238E27FC236}">
                <a16:creationId xmlns:a16="http://schemas.microsoft.com/office/drawing/2014/main" id="{656625FC-D402-493F-9A06-198EF53E65FF}"/>
              </a:ext>
            </a:extLst>
          </p:cNvPr>
          <p:cNvGrpSpPr/>
          <p:nvPr/>
        </p:nvGrpSpPr>
        <p:grpSpPr>
          <a:xfrm>
            <a:off x="326376" y="5734725"/>
            <a:ext cx="1616148" cy="783260"/>
            <a:chOff x="356199" y="5310656"/>
            <a:chExt cx="1616148" cy="783260"/>
          </a:xfrm>
        </p:grpSpPr>
        <p:sp>
          <p:nvSpPr>
            <p:cNvPr id="353" name="TextBox 352">
              <a:extLst>
                <a:ext uri="{FF2B5EF4-FFF2-40B4-BE49-F238E27FC236}">
                  <a16:creationId xmlns:a16="http://schemas.microsoft.com/office/drawing/2014/main" id="{F8B0FF97-D9D0-428F-9B2C-06BF26B97749}"/>
                </a:ext>
              </a:extLst>
            </p:cNvPr>
            <p:cNvSpPr txBox="1"/>
            <p:nvPr/>
          </p:nvSpPr>
          <p:spPr>
            <a:xfrm>
              <a:off x="356199" y="5678418"/>
              <a:ext cx="1616148" cy="415498"/>
            </a:xfrm>
            <a:prstGeom prst="rect">
              <a:avLst/>
            </a:prstGeom>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IS SERVICE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BI SEMANTIC MODELS</a:t>
              </a:r>
            </a:p>
          </p:txBody>
        </p:sp>
        <p:grpSp>
          <p:nvGrpSpPr>
            <p:cNvPr id="354" name="Group 353">
              <a:extLst>
                <a:ext uri="{FF2B5EF4-FFF2-40B4-BE49-F238E27FC236}">
                  <a16:creationId xmlns:a16="http://schemas.microsoft.com/office/drawing/2014/main" id="{4EDF8648-7810-4F37-BE3C-2BC289CC6247}"/>
                </a:ext>
              </a:extLst>
            </p:cNvPr>
            <p:cNvGrpSpPr/>
            <p:nvPr/>
          </p:nvGrpSpPr>
          <p:grpSpPr>
            <a:xfrm>
              <a:off x="942478" y="5310656"/>
              <a:ext cx="405615" cy="334412"/>
              <a:chOff x="905534" y="5275021"/>
              <a:chExt cx="448837" cy="370047"/>
            </a:xfrm>
          </p:grpSpPr>
          <p:grpSp>
            <p:nvGrpSpPr>
              <p:cNvPr id="355" name="Group 354">
                <a:extLst>
                  <a:ext uri="{FF2B5EF4-FFF2-40B4-BE49-F238E27FC236}">
                    <a16:creationId xmlns:a16="http://schemas.microsoft.com/office/drawing/2014/main" id="{A3AB2E1D-A33A-4246-B00C-12A6325BCD25}"/>
                  </a:ext>
                </a:extLst>
              </p:cNvPr>
              <p:cNvGrpSpPr/>
              <p:nvPr/>
            </p:nvGrpSpPr>
            <p:grpSpPr>
              <a:xfrm>
                <a:off x="1092638" y="5275021"/>
                <a:ext cx="261733" cy="261929"/>
                <a:chOff x="6359849" y="489921"/>
                <a:chExt cx="3642384" cy="3645111"/>
              </a:xfrm>
            </p:grpSpPr>
            <p:sp>
              <p:nvSpPr>
                <p:cNvPr id="361" name="Freeform 9">
                  <a:extLst>
                    <a:ext uri="{FF2B5EF4-FFF2-40B4-BE49-F238E27FC236}">
                      <a16:creationId xmlns:a16="http://schemas.microsoft.com/office/drawing/2014/main" id="{83FABCD2-A561-4798-881F-14910F0A35FF}"/>
                    </a:ext>
                  </a:extLst>
                </p:cNvPr>
                <p:cNvSpPr>
                  <a:spLocks/>
                </p:cNvSpPr>
                <p:nvPr/>
              </p:nvSpPr>
              <p:spPr bwMode="auto">
                <a:xfrm>
                  <a:off x="8386176" y="1463266"/>
                  <a:ext cx="1616057" cy="2671766"/>
                </a:xfrm>
                <a:custGeom>
                  <a:avLst/>
                  <a:gdLst>
                    <a:gd name="T0" fmla="*/ 1018 w 1018"/>
                    <a:gd name="T1" fmla="*/ 1262 h 1683"/>
                    <a:gd name="T2" fmla="*/ 0 w 1018"/>
                    <a:gd name="T3" fmla="*/ 1683 h 1683"/>
                    <a:gd name="T4" fmla="*/ 0 w 1018"/>
                    <a:gd name="T5" fmla="*/ 424 h 1683"/>
                    <a:gd name="T6" fmla="*/ 1018 w 1018"/>
                    <a:gd name="T7" fmla="*/ 0 h 1683"/>
                    <a:gd name="T8" fmla="*/ 1018 w 1018"/>
                    <a:gd name="T9" fmla="*/ 1262 h 1683"/>
                    <a:gd name="T10" fmla="*/ 1018 w 1018"/>
                    <a:gd name="T11" fmla="*/ 1262 h 1683"/>
                    <a:gd name="T12" fmla="*/ 1018 w 1018"/>
                    <a:gd name="T13" fmla="*/ 1262 h 1683"/>
                  </a:gdLst>
                  <a:ahLst/>
                  <a:cxnLst>
                    <a:cxn ang="0">
                      <a:pos x="T0" y="T1"/>
                    </a:cxn>
                    <a:cxn ang="0">
                      <a:pos x="T2" y="T3"/>
                    </a:cxn>
                    <a:cxn ang="0">
                      <a:pos x="T4" y="T5"/>
                    </a:cxn>
                    <a:cxn ang="0">
                      <a:pos x="T6" y="T7"/>
                    </a:cxn>
                    <a:cxn ang="0">
                      <a:pos x="T8" y="T9"/>
                    </a:cxn>
                    <a:cxn ang="0">
                      <a:pos x="T10" y="T11"/>
                    </a:cxn>
                    <a:cxn ang="0">
                      <a:pos x="T12" y="T13"/>
                    </a:cxn>
                  </a:cxnLst>
                  <a:rect l="0" t="0" r="r" b="b"/>
                  <a:pathLst>
                    <a:path w="1018" h="1683">
                      <a:moveTo>
                        <a:pt x="1018" y="1262"/>
                      </a:moveTo>
                      <a:lnTo>
                        <a:pt x="0" y="1683"/>
                      </a:lnTo>
                      <a:lnTo>
                        <a:pt x="0" y="424"/>
                      </a:lnTo>
                      <a:lnTo>
                        <a:pt x="1018" y="0"/>
                      </a:lnTo>
                      <a:lnTo>
                        <a:pt x="1018" y="1262"/>
                      </a:lnTo>
                      <a:lnTo>
                        <a:pt x="1018" y="1262"/>
                      </a:lnTo>
                      <a:lnTo>
                        <a:pt x="1018" y="1262"/>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2" name="Freeform 10">
                  <a:extLst>
                    <a:ext uri="{FF2B5EF4-FFF2-40B4-BE49-F238E27FC236}">
                      <a16:creationId xmlns:a16="http://schemas.microsoft.com/office/drawing/2014/main" id="{ACCB06B6-1670-48F9-9EEC-C4430CC4DF21}"/>
                    </a:ext>
                  </a:extLst>
                </p:cNvPr>
                <p:cNvSpPr>
                  <a:spLocks/>
                </p:cNvSpPr>
                <p:nvPr/>
              </p:nvSpPr>
              <p:spPr bwMode="auto">
                <a:xfrm>
                  <a:off x="6359849" y="1463266"/>
                  <a:ext cx="1611318" cy="2671766"/>
                </a:xfrm>
                <a:custGeom>
                  <a:avLst/>
                  <a:gdLst>
                    <a:gd name="T0" fmla="*/ 1015 w 1015"/>
                    <a:gd name="T1" fmla="*/ 424 h 1683"/>
                    <a:gd name="T2" fmla="*/ 0 w 1015"/>
                    <a:gd name="T3" fmla="*/ 0 h 1683"/>
                    <a:gd name="T4" fmla="*/ 0 w 1015"/>
                    <a:gd name="T5" fmla="*/ 1262 h 1683"/>
                    <a:gd name="T6" fmla="*/ 1015 w 1015"/>
                    <a:gd name="T7" fmla="*/ 1683 h 1683"/>
                    <a:gd name="T8" fmla="*/ 1015 w 1015"/>
                    <a:gd name="T9" fmla="*/ 424 h 1683"/>
                    <a:gd name="T10" fmla="*/ 1015 w 1015"/>
                    <a:gd name="T11" fmla="*/ 424 h 1683"/>
                    <a:gd name="T12" fmla="*/ 1015 w 1015"/>
                    <a:gd name="T13" fmla="*/ 424 h 1683"/>
                  </a:gdLst>
                  <a:ahLst/>
                  <a:cxnLst>
                    <a:cxn ang="0">
                      <a:pos x="T0" y="T1"/>
                    </a:cxn>
                    <a:cxn ang="0">
                      <a:pos x="T2" y="T3"/>
                    </a:cxn>
                    <a:cxn ang="0">
                      <a:pos x="T4" y="T5"/>
                    </a:cxn>
                    <a:cxn ang="0">
                      <a:pos x="T6" y="T7"/>
                    </a:cxn>
                    <a:cxn ang="0">
                      <a:pos x="T8" y="T9"/>
                    </a:cxn>
                    <a:cxn ang="0">
                      <a:pos x="T10" y="T11"/>
                    </a:cxn>
                    <a:cxn ang="0">
                      <a:pos x="T12" y="T13"/>
                    </a:cxn>
                  </a:cxnLst>
                  <a:rect l="0" t="0" r="r" b="b"/>
                  <a:pathLst>
                    <a:path w="1015" h="1683">
                      <a:moveTo>
                        <a:pt x="1015" y="424"/>
                      </a:moveTo>
                      <a:lnTo>
                        <a:pt x="0" y="0"/>
                      </a:lnTo>
                      <a:lnTo>
                        <a:pt x="0" y="1262"/>
                      </a:lnTo>
                      <a:lnTo>
                        <a:pt x="1015" y="1683"/>
                      </a:lnTo>
                      <a:lnTo>
                        <a:pt x="1015" y="424"/>
                      </a:lnTo>
                      <a:lnTo>
                        <a:pt x="1015" y="424"/>
                      </a:lnTo>
                      <a:lnTo>
                        <a:pt x="1015" y="424"/>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3" name="Freeform 11">
                  <a:extLst>
                    <a:ext uri="{FF2B5EF4-FFF2-40B4-BE49-F238E27FC236}">
                      <a16:creationId xmlns:a16="http://schemas.microsoft.com/office/drawing/2014/main" id="{B6B9CC26-8086-47B9-8760-13A0E8BF8BC7}"/>
                    </a:ext>
                  </a:extLst>
                </p:cNvPr>
                <p:cNvSpPr>
                  <a:spLocks/>
                </p:cNvSpPr>
                <p:nvPr/>
              </p:nvSpPr>
              <p:spPr bwMode="auto">
                <a:xfrm>
                  <a:off x="6492876" y="489921"/>
                  <a:ext cx="3409952" cy="1289054"/>
                </a:xfrm>
                <a:custGeom>
                  <a:avLst/>
                  <a:gdLst>
                    <a:gd name="T0" fmla="*/ 1072 w 2148"/>
                    <a:gd name="T1" fmla="*/ 0 h 812"/>
                    <a:gd name="T2" fmla="*/ 0 w 2148"/>
                    <a:gd name="T3" fmla="*/ 382 h 812"/>
                    <a:gd name="T4" fmla="*/ 1072 w 2148"/>
                    <a:gd name="T5" fmla="*/ 812 h 812"/>
                    <a:gd name="T6" fmla="*/ 2148 w 2148"/>
                    <a:gd name="T7" fmla="*/ 382 h 812"/>
                    <a:gd name="T8" fmla="*/ 1072 w 2148"/>
                    <a:gd name="T9" fmla="*/ 0 h 812"/>
                    <a:gd name="T10" fmla="*/ 1072 w 2148"/>
                    <a:gd name="T11" fmla="*/ 0 h 812"/>
                    <a:gd name="T12" fmla="*/ 1072 w 2148"/>
                    <a:gd name="T13" fmla="*/ 0 h 812"/>
                  </a:gdLst>
                  <a:ahLst/>
                  <a:cxnLst>
                    <a:cxn ang="0">
                      <a:pos x="T0" y="T1"/>
                    </a:cxn>
                    <a:cxn ang="0">
                      <a:pos x="T2" y="T3"/>
                    </a:cxn>
                    <a:cxn ang="0">
                      <a:pos x="T4" y="T5"/>
                    </a:cxn>
                    <a:cxn ang="0">
                      <a:pos x="T6" y="T7"/>
                    </a:cxn>
                    <a:cxn ang="0">
                      <a:pos x="T8" y="T9"/>
                    </a:cxn>
                    <a:cxn ang="0">
                      <a:pos x="T10" y="T11"/>
                    </a:cxn>
                    <a:cxn ang="0">
                      <a:pos x="T12" y="T13"/>
                    </a:cxn>
                  </a:cxnLst>
                  <a:rect l="0" t="0" r="r" b="b"/>
                  <a:pathLst>
                    <a:path w="2148" h="812">
                      <a:moveTo>
                        <a:pt x="1072" y="0"/>
                      </a:moveTo>
                      <a:lnTo>
                        <a:pt x="0" y="382"/>
                      </a:lnTo>
                      <a:lnTo>
                        <a:pt x="1072" y="812"/>
                      </a:lnTo>
                      <a:lnTo>
                        <a:pt x="2148" y="382"/>
                      </a:lnTo>
                      <a:lnTo>
                        <a:pt x="1072" y="0"/>
                      </a:lnTo>
                      <a:lnTo>
                        <a:pt x="1072" y="0"/>
                      </a:lnTo>
                      <a:lnTo>
                        <a:pt x="1072" y="0"/>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56" name="Rectangle 355">
                <a:extLst>
                  <a:ext uri="{FF2B5EF4-FFF2-40B4-BE49-F238E27FC236}">
                    <a16:creationId xmlns:a16="http://schemas.microsoft.com/office/drawing/2014/main" id="{81BF6233-721E-4588-82AA-EE03F34260AD}"/>
                  </a:ext>
                </a:extLst>
              </p:cNvPr>
              <p:cNvSpPr/>
              <p:nvPr/>
            </p:nvSpPr>
            <p:spPr bwMode="auto">
              <a:xfrm>
                <a:off x="1065490" y="5399813"/>
                <a:ext cx="101450" cy="163548"/>
              </a:xfrm>
              <a:prstGeom prst="rect">
                <a:avLst/>
              </a:prstGeom>
              <a:solidFill>
                <a:srgbClr val="F8F8F8"/>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57" name="Group 356">
                <a:extLst>
                  <a:ext uri="{FF2B5EF4-FFF2-40B4-BE49-F238E27FC236}">
                    <a16:creationId xmlns:a16="http://schemas.microsoft.com/office/drawing/2014/main" id="{C5AA2ABA-3FC7-4DF9-B0F4-C4E5789F8046}"/>
                  </a:ext>
                </a:extLst>
              </p:cNvPr>
              <p:cNvGrpSpPr/>
              <p:nvPr/>
            </p:nvGrpSpPr>
            <p:grpSpPr>
              <a:xfrm>
                <a:off x="905534" y="5385527"/>
                <a:ext cx="264094" cy="259541"/>
                <a:chOff x="6360335" y="523140"/>
                <a:chExt cx="3675255" cy="3611892"/>
              </a:xfrm>
            </p:grpSpPr>
            <p:sp>
              <p:nvSpPr>
                <p:cNvPr id="358" name="Freeform 9">
                  <a:extLst>
                    <a:ext uri="{FF2B5EF4-FFF2-40B4-BE49-F238E27FC236}">
                      <a16:creationId xmlns:a16="http://schemas.microsoft.com/office/drawing/2014/main" id="{EB7F60D2-C610-4F15-9FBD-2C26EAB9ECD2}"/>
                    </a:ext>
                  </a:extLst>
                </p:cNvPr>
                <p:cNvSpPr>
                  <a:spLocks/>
                </p:cNvSpPr>
                <p:nvPr/>
              </p:nvSpPr>
              <p:spPr bwMode="auto">
                <a:xfrm>
                  <a:off x="8419514" y="1463277"/>
                  <a:ext cx="1616076" cy="2671755"/>
                </a:xfrm>
                <a:custGeom>
                  <a:avLst/>
                  <a:gdLst>
                    <a:gd name="T0" fmla="*/ 1018 w 1018"/>
                    <a:gd name="T1" fmla="*/ 1262 h 1683"/>
                    <a:gd name="T2" fmla="*/ 0 w 1018"/>
                    <a:gd name="T3" fmla="*/ 1683 h 1683"/>
                    <a:gd name="T4" fmla="*/ 0 w 1018"/>
                    <a:gd name="T5" fmla="*/ 424 h 1683"/>
                    <a:gd name="T6" fmla="*/ 1018 w 1018"/>
                    <a:gd name="T7" fmla="*/ 0 h 1683"/>
                    <a:gd name="T8" fmla="*/ 1018 w 1018"/>
                    <a:gd name="T9" fmla="*/ 1262 h 1683"/>
                    <a:gd name="T10" fmla="*/ 1018 w 1018"/>
                    <a:gd name="T11" fmla="*/ 1262 h 1683"/>
                    <a:gd name="T12" fmla="*/ 1018 w 1018"/>
                    <a:gd name="T13" fmla="*/ 1262 h 1683"/>
                  </a:gdLst>
                  <a:ahLst/>
                  <a:cxnLst>
                    <a:cxn ang="0">
                      <a:pos x="T0" y="T1"/>
                    </a:cxn>
                    <a:cxn ang="0">
                      <a:pos x="T2" y="T3"/>
                    </a:cxn>
                    <a:cxn ang="0">
                      <a:pos x="T4" y="T5"/>
                    </a:cxn>
                    <a:cxn ang="0">
                      <a:pos x="T6" y="T7"/>
                    </a:cxn>
                    <a:cxn ang="0">
                      <a:pos x="T8" y="T9"/>
                    </a:cxn>
                    <a:cxn ang="0">
                      <a:pos x="T10" y="T11"/>
                    </a:cxn>
                    <a:cxn ang="0">
                      <a:pos x="T12" y="T13"/>
                    </a:cxn>
                  </a:cxnLst>
                  <a:rect l="0" t="0" r="r" b="b"/>
                  <a:pathLst>
                    <a:path w="1018" h="1683">
                      <a:moveTo>
                        <a:pt x="1018" y="1262"/>
                      </a:moveTo>
                      <a:lnTo>
                        <a:pt x="0" y="1683"/>
                      </a:lnTo>
                      <a:lnTo>
                        <a:pt x="0" y="424"/>
                      </a:lnTo>
                      <a:lnTo>
                        <a:pt x="1018" y="0"/>
                      </a:lnTo>
                      <a:lnTo>
                        <a:pt x="1018" y="1262"/>
                      </a:lnTo>
                      <a:lnTo>
                        <a:pt x="1018" y="1262"/>
                      </a:lnTo>
                      <a:lnTo>
                        <a:pt x="1018" y="1262"/>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9" name="Freeform 10">
                  <a:extLst>
                    <a:ext uri="{FF2B5EF4-FFF2-40B4-BE49-F238E27FC236}">
                      <a16:creationId xmlns:a16="http://schemas.microsoft.com/office/drawing/2014/main" id="{3A208B87-FA8A-47F8-A9D6-A7A6585CACBC}"/>
                    </a:ext>
                  </a:extLst>
                </p:cNvPr>
                <p:cNvSpPr>
                  <a:spLocks/>
                </p:cNvSpPr>
                <p:nvPr/>
              </p:nvSpPr>
              <p:spPr bwMode="auto">
                <a:xfrm>
                  <a:off x="6360335" y="1463277"/>
                  <a:ext cx="1611304" cy="2671755"/>
                </a:xfrm>
                <a:custGeom>
                  <a:avLst/>
                  <a:gdLst>
                    <a:gd name="T0" fmla="*/ 1015 w 1015"/>
                    <a:gd name="T1" fmla="*/ 424 h 1683"/>
                    <a:gd name="T2" fmla="*/ 0 w 1015"/>
                    <a:gd name="T3" fmla="*/ 0 h 1683"/>
                    <a:gd name="T4" fmla="*/ 0 w 1015"/>
                    <a:gd name="T5" fmla="*/ 1262 h 1683"/>
                    <a:gd name="T6" fmla="*/ 1015 w 1015"/>
                    <a:gd name="T7" fmla="*/ 1683 h 1683"/>
                    <a:gd name="T8" fmla="*/ 1015 w 1015"/>
                    <a:gd name="T9" fmla="*/ 424 h 1683"/>
                    <a:gd name="T10" fmla="*/ 1015 w 1015"/>
                    <a:gd name="T11" fmla="*/ 424 h 1683"/>
                    <a:gd name="T12" fmla="*/ 1015 w 1015"/>
                    <a:gd name="T13" fmla="*/ 424 h 1683"/>
                  </a:gdLst>
                  <a:ahLst/>
                  <a:cxnLst>
                    <a:cxn ang="0">
                      <a:pos x="T0" y="T1"/>
                    </a:cxn>
                    <a:cxn ang="0">
                      <a:pos x="T2" y="T3"/>
                    </a:cxn>
                    <a:cxn ang="0">
                      <a:pos x="T4" y="T5"/>
                    </a:cxn>
                    <a:cxn ang="0">
                      <a:pos x="T6" y="T7"/>
                    </a:cxn>
                    <a:cxn ang="0">
                      <a:pos x="T8" y="T9"/>
                    </a:cxn>
                    <a:cxn ang="0">
                      <a:pos x="T10" y="T11"/>
                    </a:cxn>
                    <a:cxn ang="0">
                      <a:pos x="T12" y="T13"/>
                    </a:cxn>
                  </a:cxnLst>
                  <a:rect l="0" t="0" r="r" b="b"/>
                  <a:pathLst>
                    <a:path w="1015" h="1683">
                      <a:moveTo>
                        <a:pt x="1015" y="424"/>
                      </a:moveTo>
                      <a:lnTo>
                        <a:pt x="0" y="0"/>
                      </a:lnTo>
                      <a:lnTo>
                        <a:pt x="0" y="1262"/>
                      </a:lnTo>
                      <a:lnTo>
                        <a:pt x="1015" y="1683"/>
                      </a:lnTo>
                      <a:lnTo>
                        <a:pt x="1015" y="424"/>
                      </a:lnTo>
                      <a:lnTo>
                        <a:pt x="1015" y="424"/>
                      </a:lnTo>
                      <a:lnTo>
                        <a:pt x="1015" y="424"/>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0" name="Freeform 11">
                  <a:extLst>
                    <a:ext uri="{FF2B5EF4-FFF2-40B4-BE49-F238E27FC236}">
                      <a16:creationId xmlns:a16="http://schemas.microsoft.com/office/drawing/2014/main" id="{6D0B7E4D-A510-4231-B8BB-E75EFC4D2E79}"/>
                    </a:ext>
                  </a:extLst>
                </p:cNvPr>
                <p:cNvSpPr>
                  <a:spLocks/>
                </p:cNvSpPr>
                <p:nvPr/>
              </p:nvSpPr>
              <p:spPr bwMode="auto">
                <a:xfrm>
                  <a:off x="6492875" y="523140"/>
                  <a:ext cx="3409952" cy="1289049"/>
                </a:xfrm>
                <a:custGeom>
                  <a:avLst/>
                  <a:gdLst>
                    <a:gd name="T0" fmla="*/ 1072 w 2148"/>
                    <a:gd name="T1" fmla="*/ 0 h 812"/>
                    <a:gd name="T2" fmla="*/ 0 w 2148"/>
                    <a:gd name="T3" fmla="*/ 382 h 812"/>
                    <a:gd name="T4" fmla="*/ 1072 w 2148"/>
                    <a:gd name="T5" fmla="*/ 812 h 812"/>
                    <a:gd name="T6" fmla="*/ 2148 w 2148"/>
                    <a:gd name="T7" fmla="*/ 382 h 812"/>
                    <a:gd name="T8" fmla="*/ 1072 w 2148"/>
                    <a:gd name="T9" fmla="*/ 0 h 812"/>
                    <a:gd name="T10" fmla="*/ 1072 w 2148"/>
                    <a:gd name="T11" fmla="*/ 0 h 812"/>
                    <a:gd name="T12" fmla="*/ 1072 w 2148"/>
                    <a:gd name="T13" fmla="*/ 0 h 812"/>
                  </a:gdLst>
                  <a:ahLst/>
                  <a:cxnLst>
                    <a:cxn ang="0">
                      <a:pos x="T0" y="T1"/>
                    </a:cxn>
                    <a:cxn ang="0">
                      <a:pos x="T2" y="T3"/>
                    </a:cxn>
                    <a:cxn ang="0">
                      <a:pos x="T4" y="T5"/>
                    </a:cxn>
                    <a:cxn ang="0">
                      <a:pos x="T6" y="T7"/>
                    </a:cxn>
                    <a:cxn ang="0">
                      <a:pos x="T8" y="T9"/>
                    </a:cxn>
                    <a:cxn ang="0">
                      <a:pos x="T10" y="T11"/>
                    </a:cxn>
                    <a:cxn ang="0">
                      <a:pos x="T12" y="T13"/>
                    </a:cxn>
                  </a:cxnLst>
                  <a:rect l="0" t="0" r="r" b="b"/>
                  <a:pathLst>
                    <a:path w="2148" h="812">
                      <a:moveTo>
                        <a:pt x="1072" y="0"/>
                      </a:moveTo>
                      <a:lnTo>
                        <a:pt x="0" y="382"/>
                      </a:lnTo>
                      <a:lnTo>
                        <a:pt x="1072" y="812"/>
                      </a:lnTo>
                      <a:lnTo>
                        <a:pt x="2148" y="382"/>
                      </a:lnTo>
                      <a:lnTo>
                        <a:pt x="1072" y="0"/>
                      </a:lnTo>
                      <a:lnTo>
                        <a:pt x="1072" y="0"/>
                      </a:lnTo>
                      <a:lnTo>
                        <a:pt x="1072" y="0"/>
                      </a:lnTo>
                      <a:close/>
                    </a:path>
                  </a:pathLst>
                </a:custGeom>
                <a:solidFill>
                  <a:srgbClr val="F8F8F8"/>
                </a:solidFill>
                <a:ln w="19050">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364" name="Oval 363">
            <a:extLst>
              <a:ext uri="{FF2B5EF4-FFF2-40B4-BE49-F238E27FC236}">
                <a16:creationId xmlns:a16="http://schemas.microsoft.com/office/drawing/2014/main" id="{71B392E2-73DB-4549-84A5-43750803CFDB}"/>
              </a:ext>
            </a:extLst>
          </p:cNvPr>
          <p:cNvSpPr/>
          <p:nvPr/>
        </p:nvSpPr>
        <p:spPr>
          <a:xfrm>
            <a:off x="2324703" y="2877711"/>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2</a:t>
            </a:r>
          </a:p>
        </p:txBody>
      </p:sp>
      <p:sp>
        <p:nvSpPr>
          <p:cNvPr id="365" name="Rounded Rectangle 65">
            <a:extLst>
              <a:ext uri="{FF2B5EF4-FFF2-40B4-BE49-F238E27FC236}">
                <a16:creationId xmlns:a16="http://schemas.microsoft.com/office/drawing/2014/main" id="{1D8D3A57-6E9B-4DA7-ABAD-8B28B2292C8A}"/>
              </a:ext>
            </a:extLst>
          </p:cNvPr>
          <p:cNvSpPr/>
          <p:nvPr/>
        </p:nvSpPr>
        <p:spPr>
          <a:xfrm>
            <a:off x="2624052" y="2883979"/>
            <a:ext cx="2478239" cy="805966"/>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ECURITY, ROLES, DATA SOURCES, DATA CATALOG, MASTER DATA VERSION CONTROL AND AUDIT</a:t>
            </a:r>
          </a:p>
        </p:txBody>
      </p:sp>
      <p:sp>
        <p:nvSpPr>
          <p:cNvPr id="366" name="Oval 365">
            <a:extLst>
              <a:ext uri="{FF2B5EF4-FFF2-40B4-BE49-F238E27FC236}">
                <a16:creationId xmlns:a16="http://schemas.microsoft.com/office/drawing/2014/main" id="{E2CD158F-FAF4-4DD4-A109-E16836F7CFD8}"/>
              </a:ext>
            </a:extLst>
          </p:cNvPr>
          <p:cNvSpPr/>
          <p:nvPr/>
        </p:nvSpPr>
        <p:spPr>
          <a:xfrm>
            <a:off x="2324703" y="404712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3</a:t>
            </a:r>
          </a:p>
        </p:txBody>
      </p:sp>
      <p:sp>
        <p:nvSpPr>
          <p:cNvPr id="367" name="Rounded Rectangle 65">
            <a:extLst>
              <a:ext uri="{FF2B5EF4-FFF2-40B4-BE49-F238E27FC236}">
                <a16:creationId xmlns:a16="http://schemas.microsoft.com/office/drawing/2014/main" id="{C7A96050-C3AB-45E6-BA16-A4F86A015D76}"/>
              </a:ext>
            </a:extLst>
          </p:cNvPr>
          <p:cNvSpPr/>
          <p:nvPr/>
        </p:nvSpPr>
        <p:spPr>
          <a:xfrm>
            <a:off x="2624052" y="4037603"/>
            <a:ext cx="2481982" cy="805966"/>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PPROVED SECURE SHARED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DATA SOURCES, DATASETS VIA ENTERPRISE DATA GATEWAY AND/OR CONTENT PACKS</a:t>
            </a:r>
          </a:p>
        </p:txBody>
      </p:sp>
      <p:sp>
        <p:nvSpPr>
          <p:cNvPr id="368" name="Oval 367">
            <a:extLst>
              <a:ext uri="{FF2B5EF4-FFF2-40B4-BE49-F238E27FC236}">
                <a16:creationId xmlns:a16="http://schemas.microsoft.com/office/drawing/2014/main" id="{66D8C999-A5EE-49AD-8DFD-32CCBE414607}"/>
              </a:ext>
            </a:extLst>
          </p:cNvPr>
          <p:cNvSpPr/>
          <p:nvPr/>
        </p:nvSpPr>
        <p:spPr>
          <a:xfrm>
            <a:off x="2324703" y="541077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4</a:t>
            </a:r>
          </a:p>
        </p:txBody>
      </p:sp>
      <p:sp>
        <p:nvSpPr>
          <p:cNvPr id="369" name="TextBox 368">
            <a:extLst>
              <a:ext uri="{FF2B5EF4-FFF2-40B4-BE49-F238E27FC236}">
                <a16:creationId xmlns:a16="http://schemas.microsoft.com/office/drawing/2014/main" id="{F4E43CB5-512F-454C-AEC0-8F38D49D0AD9}"/>
              </a:ext>
            </a:extLst>
          </p:cNvPr>
          <p:cNvSpPr txBox="1"/>
          <p:nvPr/>
        </p:nvSpPr>
        <p:spPr>
          <a:xfrm>
            <a:off x="3200777" y="5363630"/>
            <a:ext cx="1523174" cy="600164"/>
          </a:xfrm>
          <a:prstGeom prst="rect">
            <a:avLst/>
          </a:prstGeom>
          <a:noFill/>
        </p:spPr>
        <p:txBody>
          <a:bodyPr wrap="none" rtlCol="0" anchor="t">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POWER BI DESKTOP,</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EXCEL, R, AZURE ML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OTHER TOOLS</a:t>
            </a:r>
          </a:p>
        </p:txBody>
      </p:sp>
      <p:grpSp>
        <p:nvGrpSpPr>
          <p:cNvPr id="370" name="Group 369">
            <a:extLst>
              <a:ext uri="{FF2B5EF4-FFF2-40B4-BE49-F238E27FC236}">
                <a16:creationId xmlns:a16="http://schemas.microsoft.com/office/drawing/2014/main" id="{CC411C3A-4FCB-4A4C-9CCB-CDBDDAD99D2F}"/>
              </a:ext>
            </a:extLst>
          </p:cNvPr>
          <p:cNvGrpSpPr/>
          <p:nvPr/>
        </p:nvGrpSpPr>
        <p:grpSpPr>
          <a:xfrm>
            <a:off x="2450196" y="5645109"/>
            <a:ext cx="637523" cy="375989"/>
            <a:chOff x="2480019" y="5276337"/>
            <a:chExt cx="637523" cy="375989"/>
          </a:xfrm>
        </p:grpSpPr>
        <p:sp>
          <p:nvSpPr>
            <p:cNvPr id="372" name="Freeform 17">
              <a:extLst>
                <a:ext uri="{FF2B5EF4-FFF2-40B4-BE49-F238E27FC236}">
                  <a16:creationId xmlns:a16="http://schemas.microsoft.com/office/drawing/2014/main" id="{CB990057-F2EB-4F7C-BE9A-6A94420D2EA0}"/>
                </a:ext>
              </a:extLst>
            </p:cNvPr>
            <p:cNvSpPr>
              <a:spLocks noChangeAspect="1" noEditPoints="1"/>
            </p:cNvSpPr>
            <p:nvPr/>
          </p:nvSpPr>
          <p:spPr bwMode="black">
            <a:xfrm>
              <a:off x="2659709" y="5276337"/>
              <a:ext cx="247802" cy="246951"/>
            </a:xfrm>
            <a:custGeom>
              <a:avLst/>
              <a:gdLst>
                <a:gd name="T0" fmla="*/ 50 w 120"/>
                <a:gd name="T1" fmla="*/ 82 h 120"/>
                <a:gd name="T2" fmla="*/ 50 w 120"/>
                <a:gd name="T3" fmla="*/ 81 h 120"/>
                <a:gd name="T4" fmla="*/ 33 w 120"/>
                <a:gd name="T5" fmla="*/ 48 h 120"/>
                <a:gd name="T6" fmla="*/ 33 w 120"/>
                <a:gd name="T7" fmla="*/ 46 h 120"/>
                <a:gd name="T8" fmla="*/ 32 w 120"/>
                <a:gd name="T9" fmla="*/ 45 h 120"/>
                <a:gd name="T10" fmla="*/ 32 w 120"/>
                <a:gd name="T11" fmla="*/ 47 h 120"/>
                <a:gd name="T12" fmla="*/ 32 w 120"/>
                <a:gd name="T13" fmla="*/ 49 h 120"/>
                <a:gd name="T14" fmla="*/ 37 w 120"/>
                <a:gd name="T15" fmla="*/ 64 h 120"/>
                <a:gd name="T16" fmla="*/ 33 w 120"/>
                <a:gd name="T17" fmla="*/ 49 h 120"/>
                <a:gd name="T18" fmla="*/ 33 w 120"/>
                <a:gd name="T19" fmla="*/ 47 h 120"/>
                <a:gd name="T20" fmla="*/ 32 w 120"/>
                <a:gd name="T21" fmla="*/ 45 h 120"/>
                <a:gd name="T22" fmla="*/ 32 w 120"/>
                <a:gd name="T23" fmla="*/ 46 h 120"/>
                <a:gd name="T24" fmla="*/ 32 w 120"/>
                <a:gd name="T25" fmla="*/ 48 h 120"/>
                <a:gd name="T26" fmla="*/ 28 w 120"/>
                <a:gd name="T27" fmla="*/ 64 h 120"/>
                <a:gd name="T28" fmla="*/ 33 w 120"/>
                <a:gd name="T29" fmla="*/ 49 h 120"/>
                <a:gd name="T30" fmla="*/ 50 w 120"/>
                <a:gd name="T31" fmla="*/ 82 h 120"/>
                <a:gd name="T32" fmla="*/ 50 w 120"/>
                <a:gd name="T33" fmla="*/ 81 h 120"/>
                <a:gd name="T34" fmla="*/ 33 w 120"/>
                <a:gd name="T35" fmla="*/ 48 h 120"/>
                <a:gd name="T36" fmla="*/ 33 w 120"/>
                <a:gd name="T37" fmla="*/ 46 h 120"/>
                <a:gd name="T38" fmla="*/ 32 w 120"/>
                <a:gd name="T39" fmla="*/ 45 h 120"/>
                <a:gd name="T40" fmla="*/ 32 w 120"/>
                <a:gd name="T41" fmla="*/ 47 h 120"/>
                <a:gd name="T42" fmla="*/ 32 w 120"/>
                <a:gd name="T43" fmla="*/ 49 h 120"/>
                <a:gd name="T44" fmla="*/ 37 w 120"/>
                <a:gd name="T45" fmla="*/ 64 h 120"/>
                <a:gd name="T46" fmla="*/ 120 w 120"/>
                <a:gd name="T47" fmla="*/ 25 h 120"/>
                <a:gd name="T48" fmla="*/ 71 w 120"/>
                <a:gd name="T49" fmla="*/ 13 h 120"/>
                <a:gd name="T50" fmla="*/ 85 w 120"/>
                <a:gd name="T51" fmla="*/ 16 h 120"/>
                <a:gd name="T52" fmla="*/ 85 w 120"/>
                <a:gd name="T53" fmla="*/ 35 h 120"/>
                <a:gd name="T54" fmla="*/ 71 w 120"/>
                <a:gd name="T55" fmla="*/ 39 h 120"/>
                <a:gd name="T56" fmla="*/ 115 w 120"/>
                <a:gd name="T57" fmla="*/ 33 h 120"/>
                <a:gd name="T58" fmla="*/ 116 w 120"/>
                <a:gd name="T59" fmla="*/ 49 h 120"/>
                <a:gd name="T60" fmla="*/ 71 w 120"/>
                <a:gd name="T61" fmla="*/ 56 h 120"/>
                <a:gd name="T62" fmla="*/ 85 w 120"/>
                <a:gd name="T63" fmla="*/ 61 h 120"/>
                <a:gd name="T64" fmla="*/ 116 w 120"/>
                <a:gd name="T65" fmla="*/ 55 h 120"/>
                <a:gd name="T66" fmla="*/ 85 w 120"/>
                <a:gd name="T67" fmla="*/ 79 h 120"/>
                <a:gd name="T68" fmla="*/ 71 w 120"/>
                <a:gd name="T69" fmla="*/ 82 h 120"/>
                <a:gd name="T70" fmla="*/ 115 w 120"/>
                <a:gd name="T71" fmla="*/ 76 h 120"/>
                <a:gd name="T72" fmla="*/ 116 w 120"/>
                <a:gd name="T73" fmla="*/ 92 h 120"/>
                <a:gd name="T74" fmla="*/ 71 w 120"/>
                <a:gd name="T75" fmla="*/ 100 h 120"/>
                <a:gd name="T76" fmla="*/ 85 w 120"/>
                <a:gd name="T77" fmla="*/ 105 h 120"/>
                <a:gd name="T78" fmla="*/ 120 w 120"/>
                <a:gd name="T79" fmla="*/ 91 h 120"/>
                <a:gd name="T80" fmla="*/ 120 w 120"/>
                <a:gd name="T81" fmla="*/ 25 h 120"/>
                <a:gd name="T82" fmla="*/ 50 w 120"/>
                <a:gd name="T83" fmla="*/ 82 h 120"/>
                <a:gd name="T84" fmla="*/ 50 w 120"/>
                <a:gd name="T85" fmla="*/ 81 h 120"/>
                <a:gd name="T86" fmla="*/ 0 w 120"/>
                <a:gd name="T87" fmla="*/ 108 h 120"/>
                <a:gd name="T88" fmla="*/ 71 w 120"/>
                <a:gd name="T89" fmla="*/ 0 h 120"/>
                <a:gd name="T90" fmla="*/ 50 w 120"/>
                <a:gd name="T91" fmla="*/ 82 h 120"/>
                <a:gd name="T92" fmla="*/ 39 w 120"/>
                <a:gd name="T93" fmla="*/ 72 h 120"/>
                <a:gd name="T94" fmla="*/ 24 w 120"/>
                <a:gd name="T95" fmla="*/ 81 h 120"/>
                <a:gd name="T96" fmla="*/ 28 w 120"/>
                <a:gd name="T97" fmla="*/ 37 h 120"/>
                <a:gd name="T98" fmla="*/ 50 w 120"/>
                <a:gd name="T99" fmla="*/ 81 h 120"/>
                <a:gd name="T100" fmla="*/ 50 w 120"/>
                <a:gd name="T101" fmla="*/ 8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0">
                  <a:moveTo>
                    <a:pt x="50" y="81"/>
                  </a:moveTo>
                  <a:cubicBezTo>
                    <a:pt x="50" y="82"/>
                    <a:pt x="50" y="82"/>
                    <a:pt x="50" y="82"/>
                  </a:cubicBezTo>
                  <a:cubicBezTo>
                    <a:pt x="51" y="82"/>
                    <a:pt x="51" y="82"/>
                    <a:pt x="51" y="82"/>
                  </a:cubicBezTo>
                  <a:lnTo>
                    <a:pt x="50" y="81"/>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50" y="81"/>
                  </a:moveTo>
                  <a:cubicBezTo>
                    <a:pt x="50" y="82"/>
                    <a:pt x="50" y="82"/>
                    <a:pt x="50" y="82"/>
                  </a:cubicBezTo>
                  <a:cubicBezTo>
                    <a:pt x="51" y="82"/>
                    <a:pt x="51" y="82"/>
                    <a:pt x="51" y="82"/>
                  </a:cubicBezTo>
                  <a:lnTo>
                    <a:pt x="50" y="81"/>
                  </a:lnTo>
                  <a:close/>
                  <a:moveTo>
                    <a:pt x="33" y="49"/>
                  </a:moveTo>
                  <a:cubicBezTo>
                    <a:pt x="33" y="48"/>
                    <a:pt x="33" y="48"/>
                    <a:pt x="33" y="48"/>
                  </a:cubicBezTo>
                  <a:cubicBezTo>
                    <a:pt x="33" y="48"/>
                    <a:pt x="33" y="47"/>
                    <a:pt x="33" y="47"/>
                  </a:cubicBezTo>
                  <a:cubicBezTo>
                    <a:pt x="33" y="47"/>
                    <a:pt x="33" y="46"/>
                    <a:pt x="33" y="46"/>
                  </a:cubicBezTo>
                  <a:cubicBezTo>
                    <a:pt x="33" y="46"/>
                    <a:pt x="32" y="45"/>
                    <a:pt x="32" y="45"/>
                  </a:cubicBezTo>
                  <a:cubicBezTo>
                    <a:pt x="32" y="45"/>
                    <a:pt x="32" y="45"/>
                    <a:pt x="32" y="45"/>
                  </a:cubicBezTo>
                  <a:cubicBezTo>
                    <a:pt x="32" y="45"/>
                    <a:pt x="32" y="45"/>
                    <a:pt x="32" y="46"/>
                  </a:cubicBezTo>
                  <a:cubicBezTo>
                    <a:pt x="32" y="46"/>
                    <a:pt x="32" y="46"/>
                    <a:pt x="32" y="47"/>
                  </a:cubicBezTo>
                  <a:cubicBezTo>
                    <a:pt x="32" y="47"/>
                    <a:pt x="32" y="47"/>
                    <a:pt x="32" y="48"/>
                  </a:cubicBezTo>
                  <a:cubicBezTo>
                    <a:pt x="32" y="48"/>
                    <a:pt x="32" y="48"/>
                    <a:pt x="32" y="49"/>
                  </a:cubicBezTo>
                  <a:cubicBezTo>
                    <a:pt x="28" y="64"/>
                    <a:pt x="28" y="64"/>
                    <a:pt x="28" y="64"/>
                  </a:cubicBezTo>
                  <a:cubicBezTo>
                    <a:pt x="37" y="64"/>
                    <a:pt x="37" y="64"/>
                    <a:pt x="37" y="64"/>
                  </a:cubicBezTo>
                  <a:lnTo>
                    <a:pt x="33" y="49"/>
                  </a:lnTo>
                  <a:close/>
                  <a:moveTo>
                    <a:pt x="120" y="25"/>
                  </a:moveTo>
                  <a:cubicBezTo>
                    <a:pt x="119" y="15"/>
                    <a:pt x="98" y="12"/>
                    <a:pt x="85" y="12"/>
                  </a:cubicBezTo>
                  <a:cubicBezTo>
                    <a:pt x="81" y="12"/>
                    <a:pt x="76" y="13"/>
                    <a:pt x="71" y="13"/>
                  </a:cubicBezTo>
                  <a:cubicBezTo>
                    <a:pt x="71" y="17"/>
                    <a:pt x="71" y="17"/>
                    <a:pt x="71" y="17"/>
                  </a:cubicBezTo>
                  <a:cubicBezTo>
                    <a:pt x="75" y="17"/>
                    <a:pt x="80" y="16"/>
                    <a:pt x="85" y="16"/>
                  </a:cubicBezTo>
                  <a:cubicBezTo>
                    <a:pt x="102" y="16"/>
                    <a:pt x="116" y="21"/>
                    <a:pt x="116" y="26"/>
                  </a:cubicBezTo>
                  <a:cubicBezTo>
                    <a:pt x="116" y="31"/>
                    <a:pt x="102" y="35"/>
                    <a:pt x="85" y="35"/>
                  </a:cubicBezTo>
                  <a:cubicBezTo>
                    <a:pt x="80" y="35"/>
                    <a:pt x="75" y="35"/>
                    <a:pt x="71" y="34"/>
                  </a:cubicBezTo>
                  <a:cubicBezTo>
                    <a:pt x="71" y="39"/>
                    <a:pt x="71" y="39"/>
                    <a:pt x="71" y="39"/>
                  </a:cubicBezTo>
                  <a:cubicBezTo>
                    <a:pt x="75" y="39"/>
                    <a:pt x="80" y="40"/>
                    <a:pt x="85" y="40"/>
                  </a:cubicBezTo>
                  <a:cubicBezTo>
                    <a:pt x="100" y="40"/>
                    <a:pt x="112" y="37"/>
                    <a:pt x="115" y="33"/>
                  </a:cubicBezTo>
                  <a:cubicBezTo>
                    <a:pt x="116" y="32"/>
                    <a:pt x="116" y="33"/>
                    <a:pt x="116" y="33"/>
                  </a:cubicBezTo>
                  <a:cubicBezTo>
                    <a:pt x="116" y="49"/>
                    <a:pt x="116" y="49"/>
                    <a:pt x="116" y="49"/>
                  </a:cubicBezTo>
                  <a:cubicBezTo>
                    <a:pt x="116" y="53"/>
                    <a:pt x="102" y="57"/>
                    <a:pt x="85" y="57"/>
                  </a:cubicBezTo>
                  <a:cubicBezTo>
                    <a:pt x="80" y="57"/>
                    <a:pt x="75" y="57"/>
                    <a:pt x="71" y="56"/>
                  </a:cubicBezTo>
                  <a:cubicBezTo>
                    <a:pt x="71" y="60"/>
                    <a:pt x="71" y="60"/>
                    <a:pt x="71" y="60"/>
                  </a:cubicBezTo>
                  <a:cubicBezTo>
                    <a:pt x="75" y="61"/>
                    <a:pt x="80" y="61"/>
                    <a:pt x="85" y="61"/>
                  </a:cubicBezTo>
                  <a:cubicBezTo>
                    <a:pt x="100" y="61"/>
                    <a:pt x="112" y="58"/>
                    <a:pt x="115" y="55"/>
                  </a:cubicBezTo>
                  <a:cubicBezTo>
                    <a:pt x="116" y="54"/>
                    <a:pt x="116" y="54"/>
                    <a:pt x="116" y="55"/>
                  </a:cubicBezTo>
                  <a:cubicBezTo>
                    <a:pt x="116" y="71"/>
                    <a:pt x="116" y="71"/>
                    <a:pt x="116" y="71"/>
                  </a:cubicBezTo>
                  <a:cubicBezTo>
                    <a:pt x="116" y="75"/>
                    <a:pt x="102" y="79"/>
                    <a:pt x="85" y="79"/>
                  </a:cubicBezTo>
                  <a:cubicBezTo>
                    <a:pt x="80" y="79"/>
                    <a:pt x="75" y="79"/>
                    <a:pt x="71" y="78"/>
                  </a:cubicBezTo>
                  <a:cubicBezTo>
                    <a:pt x="71" y="82"/>
                    <a:pt x="71" y="82"/>
                    <a:pt x="71" y="82"/>
                  </a:cubicBezTo>
                  <a:cubicBezTo>
                    <a:pt x="75" y="83"/>
                    <a:pt x="80" y="83"/>
                    <a:pt x="85" y="83"/>
                  </a:cubicBezTo>
                  <a:cubicBezTo>
                    <a:pt x="100" y="83"/>
                    <a:pt x="112" y="80"/>
                    <a:pt x="115" y="76"/>
                  </a:cubicBezTo>
                  <a:cubicBezTo>
                    <a:pt x="116" y="76"/>
                    <a:pt x="116" y="76"/>
                    <a:pt x="116" y="76"/>
                  </a:cubicBezTo>
                  <a:cubicBezTo>
                    <a:pt x="116" y="92"/>
                    <a:pt x="116" y="92"/>
                    <a:pt x="116" y="92"/>
                  </a:cubicBezTo>
                  <a:cubicBezTo>
                    <a:pt x="116" y="97"/>
                    <a:pt x="102" y="101"/>
                    <a:pt x="85" y="101"/>
                  </a:cubicBezTo>
                  <a:cubicBezTo>
                    <a:pt x="80" y="101"/>
                    <a:pt x="75" y="101"/>
                    <a:pt x="71" y="100"/>
                  </a:cubicBezTo>
                  <a:cubicBezTo>
                    <a:pt x="71" y="104"/>
                    <a:pt x="71" y="104"/>
                    <a:pt x="71" y="104"/>
                  </a:cubicBezTo>
                  <a:cubicBezTo>
                    <a:pt x="76" y="105"/>
                    <a:pt x="81" y="105"/>
                    <a:pt x="85" y="105"/>
                  </a:cubicBezTo>
                  <a:cubicBezTo>
                    <a:pt x="98" y="105"/>
                    <a:pt x="119" y="102"/>
                    <a:pt x="120" y="92"/>
                  </a:cubicBezTo>
                  <a:cubicBezTo>
                    <a:pt x="120" y="92"/>
                    <a:pt x="120" y="92"/>
                    <a:pt x="120" y="91"/>
                  </a:cubicBezTo>
                  <a:cubicBezTo>
                    <a:pt x="120" y="26"/>
                    <a:pt x="120" y="26"/>
                    <a:pt x="120" y="26"/>
                  </a:cubicBezTo>
                  <a:cubicBezTo>
                    <a:pt x="120" y="26"/>
                    <a:pt x="120" y="25"/>
                    <a:pt x="120" y="25"/>
                  </a:cubicBezTo>
                  <a:close/>
                  <a:moveTo>
                    <a:pt x="50" y="81"/>
                  </a:moveTo>
                  <a:cubicBezTo>
                    <a:pt x="50" y="82"/>
                    <a:pt x="50" y="82"/>
                    <a:pt x="50" y="82"/>
                  </a:cubicBezTo>
                  <a:cubicBezTo>
                    <a:pt x="51" y="82"/>
                    <a:pt x="51" y="82"/>
                    <a:pt x="51" y="82"/>
                  </a:cubicBezTo>
                  <a:lnTo>
                    <a:pt x="50" y="81"/>
                  </a:lnTo>
                  <a:close/>
                  <a:moveTo>
                    <a:pt x="0" y="12"/>
                  </a:moveTo>
                  <a:cubicBezTo>
                    <a:pt x="0" y="108"/>
                    <a:pt x="0" y="108"/>
                    <a:pt x="0" y="108"/>
                  </a:cubicBezTo>
                  <a:cubicBezTo>
                    <a:pt x="71" y="120"/>
                    <a:pt x="71" y="120"/>
                    <a:pt x="71" y="120"/>
                  </a:cubicBezTo>
                  <a:cubicBezTo>
                    <a:pt x="71" y="0"/>
                    <a:pt x="71" y="0"/>
                    <a:pt x="71" y="0"/>
                  </a:cubicBezTo>
                  <a:lnTo>
                    <a:pt x="0" y="12"/>
                  </a:lnTo>
                  <a:close/>
                  <a:moveTo>
                    <a:pt x="50" y="82"/>
                  </a:moveTo>
                  <a:cubicBezTo>
                    <a:pt x="41" y="82"/>
                    <a:pt x="41" y="82"/>
                    <a:pt x="41" y="82"/>
                  </a:cubicBezTo>
                  <a:cubicBezTo>
                    <a:pt x="39" y="72"/>
                    <a:pt x="39" y="72"/>
                    <a:pt x="39" y="72"/>
                  </a:cubicBezTo>
                  <a:cubicBezTo>
                    <a:pt x="26" y="71"/>
                    <a:pt x="26" y="71"/>
                    <a:pt x="26" y="71"/>
                  </a:cubicBezTo>
                  <a:cubicBezTo>
                    <a:pt x="24" y="81"/>
                    <a:pt x="24" y="81"/>
                    <a:pt x="24" y="81"/>
                  </a:cubicBezTo>
                  <a:cubicBezTo>
                    <a:pt x="16" y="80"/>
                    <a:pt x="16" y="80"/>
                    <a:pt x="16" y="80"/>
                  </a:cubicBezTo>
                  <a:cubicBezTo>
                    <a:pt x="28" y="37"/>
                    <a:pt x="28" y="37"/>
                    <a:pt x="28" y="37"/>
                  </a:cubicBezTo>
                  <a:cubicBezTo>
                    <a:pt x="37" y="37"/>
                    <a:pt x="37" y="37"/>
                    <a:pt x="37" y="37"/>
                  </a:cubicBezTo>
                  <a:cubicBezTo>
                    <a:pt x="50" y="81"/>
                    <a:pt x="50" y="81"/>
                    <a:pt x="50" y="81"/>
                  </a:cubicBezTo>
                  <a:cubicBezTo>
                    <a:pt x="51" y="82"/>
                    <a:pt x="51" y="82"/>
                    <a:pt x="51" y="82"/>
                  </a:cubicBezTo>
                  <a:lnTo>
                    <a:pt x="50" y="8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3" name="Freeform 5">
              <a:extLst>
                <a:ext uri="{FF2B5EF4-FFF2-40B4-BE49-F238E27FC236}">
                  <a16:creationId xmlns:a16="http://schemas.microsoft.com/office/drawing/2014/main" id="{52DA8819-CAEB-4D4F-88CC-4366302F20C1}"/>
                </a:ext>
              </a:extLst>
            </p:cNvPr>
            <p:cNvSpPr>
              <a:spLocks noChangeAspect="1" noEditPoints="1"/>
            </p:cNvSpPr>
            <p:nvPr/>
          </p:nvSpPr>
          <p:spPr bwMode="black">
            <a:xfrm>
              <a:off x="2863578" y="5384128"/>
              <a:ext cx="253964" cy="254738"/>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4" name="Freeform 25">
              <a:extLst>
                <a:ext uri="{FF2B5EF4-FFF2-40B4-BE49-F238E27FC236}">
                  <a16:creationId xmlns:a16="http://schemas.microsoft.com/office/drawing/2014/main" id="{49C183FD-59B0-4912-BFD7-12EB4041FA83}"/>
                </a:ext>
              </a:extLst>
            </p:cNvPr>
            <p:cNvSpPr>
              <a:spLocks noEditPoints="1"/>
            </p:cNvSpPr>
            <p:nvPr/>
          </p:nvSpPr>
          <p:spPr bwMode="auto">
            <a:xfrm>
              <a:off x="2480019" y="5394249"/>
              <a:ext cx="216085" cy="258077"/>
            </a:xfrm>
            <a:custGeom>
              <a:avLst/>
              <a:gdLst>
                <a:gd name="T0" fmla="*/ 1053 w 1243"/>
                <a:gd name="T1" fmla="*/ 1414 h 1483"/>
                <a:gd name="T2" fmla="*/ 621 w 1243"/>
                <a:gd name="T3" fmla="*/ 1414 h 1483"/>
                <a:gd name="T4" fmla="*/ 190 w 1243"/>
                <a:gd name="T5" fmla="*/ 1414 h 1483"/>
                <a:gd name="T6" fmla="*/ 69 w 1243"/>
                <a:gd name="T7" fmla="*/ 1293 h 1483"/>
                <a:gd name="T8" fmla="*/ 483 w 1243"/>
                <a:gd name="T9" fmla="*/ 534 h 1483"/>
                <a:gd name="T10" fmla="*/ 500 w 1243"/>
                <a:gd name="T11" fmla="*/ 517 h 1483"/>
                <a:gd name="T12" fmla="*/ 500 w 1243"/>
                <a:gd name="T13" fmla="*/ 500 h 1483"/>
                <a:gd name="T14" fmla="*/ 500 w 1243"/>
                <a:gd name="T15" fmla="*/ 69 h 1483"/>
                <a:gd name="T16" fmla="*/ 742 w 1243"/>
                <a:gd name="T17" fmla="*/ 69 h 1483"/>
                <a:gd name="T18" fmla="*/ 742 w 1243"/>
                <a:gd name="T19" fmla="*/ 500 h 1483"/>
                <a:gd name="T20" fmla="*/ 742 w 1243"/>
                <a:gd name="T21" fmla="*/ 517 h 1483"/>
                <a:gd name="T22" fmla="*/ 759 w 1243"/>
                <a:gd name="T23" fmla="*/ 534 h 1483"/>
                <a:gd name="T24" fmla="*/ 1173 w 1243"/>
                <a:gd name="T25" fmla="*/ 1293 h 1483"/>
                <a:gd name="T26" fmla="*/ 1053 w 1243"/>
                <a:gd name="T27" fmla="*/ 1414 h 1483"/>
                <a:gd name="T28" fmla="*/ 811 w 1243"/>
                <a:gd name="T29" fmla="*/ 500 h 1483"/>
                <a:gd name="T30" fmla="*/ 811 w 1243"/>
                <a:gd name="T31" fmla="*/ 69 h 1483"/>
                <a:gd name="T32" fmla="*/ 863 w 1243"/>
                <a:gd name="T33" fmla="*/ 69 h 1483"/>
                <a:gd name="T34" fmla="*/ 863 w 1243"/>
                <a:gd name="T35" fmla="*/ 0 h 1483"/>
                <a:gd name="T36" fmla="*/ 811 w 1243"/>
                <a:gd name="T37" fmla="*/ 0 h 1483"/>
                <a:gd name="T38" fmla="*/ 621 w 1243"/>
                <a:gd name="T39" fmla="*/ 0 h 1483"/>
                <a:gd name="T40" fmla="*/ 431 w 1243"/>
                <a:gd name="T41" fmla="*/ 0 h 1483"/>
                <a:gd name="T42" fmla="*/ 380 w 1243"/>
                <a:gd name="T43" fmla="*/ 0 h 1483"/>
                <a:gd name="T44" fmla="*/ 380 w 1243"/>
                <a:gd name="T45" fmla="*/ 69 h 1483"/>
                <a:gd name="T46" fmla="*/ 431 w 1243"/>
                <a:gd name="T47" fmla="*/ 69 h 1483"/>
                <a:gd name="T48" fmla="*/ 431 w 1243"/>
                <a:gd name="T49" fmla="*/ 500 h 1483"/>
                <a:gd name="T50" fmla="*/ 0 w 1243"/>
                <a:gd name="T51" fmla="*/ 1293 h 1483"/>
                <a:gd name="T52" fmla="*/ 190 w 1243"/>
                <a:gd name="T53" fmla="*/ 1483 h 1483"/>
                <a:gd name="T54" fmla="*/ 621 w 1243"/>
                <a:gd name="T55" fmla="*/ 1483 h 1483"/>
                <a:gd name="T56" fmla="*/ 1053 w 1243"/>
                <a:gd name="T57" fmla="*/ 1483 h 1483"/>
                <a:gd name="T58" fmla="*/ 1243 w 1243"/>
                <a:gd name="T59" fmla="*/ 1293 h 1483"/>
                <a:gd name="T60" fmla="*/ 811 w 1243"/>
                <a:gd name="T61" fmla="*/ 500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3" h="1483">
                  <a:moveTo>
                    <a:pt x="1053" y="1414"/>
                  </a:moveTo>
                  <a:cubicBezTo>
                    <a:pt x="621" y="1414"/>
                    <a:pt x="621" y="1414"/>
                    <a:pt x="621" y="1414"/>
                  </a:cubicBezTo>
                  <a:cubicBezTo>
                    <a:pt x="190" y="1414"/>
                    <a:pt x="190" y="1414"/>
                    <a:pt x="190" y="1414"/>
                  </a:cubicBezTo>
                  <a:cubicBezTo>
                    <a:pt x="173" y="1414"/>
                    <a:pt x="69" y="1414"/>
                    <a:pt x="69" y="1293"/>
                  </a:cubicBezTo>
                  <a:cubicBezTo>
                    <a:pt x="69" y="1172"/>
                    <a:pt x="328" y="758"/>
                    <a:pt x="483" y="534"/>
                  </a:cubicBezTo>
                  <a:cubicBezTo>
                    <a:pt x="500" y="517"/>
                    <a:pt x="500" y="517"/>
                    <a:pt x="500" y="517"/>
                  </a:cubicBezTo>
                  <a:cubicBezTo>
                    <a:pt x="500" y="500"/>
                    <a:pt x="500" y="500"/>
                    <a:pt x="500" y="500"/>
                  </a:cubicBezTo>
                  <a:cubicBezTo>
                    <a:pt x="500" y="69"/>
                    <a:pt x="500" y="69"/>
                    <a:pt x="500" y="69"/>
                  </a:cubicBezTo>
                  <a:cubicBezTo>
                    <a:pt x="742" y="69"/>
                    <a:pt x="742" y="69"/>
                    <a:pt x="742" y="69"/>
                  </a:cubicBezTo>
                  <a:cubicBezTo>
                    <a:pt x="742" y="500"/>
                    <a:pt x="742" y="500"/>
                    <a:pt x="742" y="500"/>
                  </a:cubicBezTo>
                  <a:cubicBezTo>
                    <a:pt x="742" y="517"/>
                    <a:pt x="742" y="517"/>
                    <a:pt x="742" y="517"/>
                  </a:cubicBezTo>
                  <a:cubicBezTo>
                    <a:pt x="759" y="534"/>
                    <a:pt x="759" y="534"/>
                    <a:pt x="759" y="534"/>
                  </a:cubicBezTo>
                  <a:cubicBezTo>
                    <a:pt x="915" y="758"/>
                    <a:pt x="1173" y="1172"/>
                    <a:pt x="1173" y="1293"/>
                  </a:cubicBezTo>
                  <a:cubicBezTo>
                    <a:pt x="1173" y="1414"/>
                    <a:pt x="1087" y="1414"/>
                    <a:pt x="1053" y="1414"/>
                  </a:cubicBezTo>
                  <a:close/>
                  <a:moveTo>
                    <a:pt x="811" y="500"/>
                  </a:moveTo>
                  <a:cubicBezTo>
                    <a:pt x="811" y="69"/>
                    <a:pt x="811" y="69"/>
                    <a:pt x="811" y="69"/>
                  </a:cubicBezTo>
                  <a:cubicBezTo>
                    <a:pt x="863" y="69"/>
                    <a:pt x="863" y="69"/>
                    <a:pt x="863" y="69"/>
                  </a:cubicBezTo>
                  <a:cubicBezTo>
                    <a:pt x="863" y="0"/>
                    <a:pt x="863" y="0"/>
                    <a:pt x="863" y="0"/>
                  </a:cubicBezTo>
                  <a:cubicBezTo>
                    <a:pt x="811" y="0"/>
                    <a:pt x="811" y="0"/>
                    <a:pt x="811" y="0"/>
                  </a:cubicBezTo>
                  <a:cubicBezTo>
                    <a:pt x="621" y="0"/>
                    <a:pt x="621" y="0"/>
                    <a:pt x="621" y="0"/>
                  </a:cubicBezTo>
                  <a:cubicBezTo>
                    <a:pt x="431" y="0"/>
                    <a:pt x="431" y="0"/>
                    <a:pt x="431" y="0"/>
                  </a:cubicBezTo>
                  <a:cubicBezTo>
                    <a:pt x="380" y="0"/>
                    <a:pt x="380" y="0"/>
                    <a:pt x="380" y="0"/>
                  </a:cubicBezTo>
                  <a:cubicBezTo>
                    <a:pt x="380" y="69"/>
                    <a:pt x="380" y="69"/>
                    <a:pt x="380" y="69"/>
                  </a:cubicBezTo>
                  <a:cubicBezTo>
                    <a:pt x="431" y="69"/>
                    <a:pt x="431" y="69"/>
                    <a:pt x="431" y="69"/>
                  </a:cubicBezTo>
                  <a:cubicBezTo>
                    <a:pt x="431" y="500"/>
                    <a:pt x="431" y="500"/>
                    <a:pt x="431" y="500"/>
                  </a:cubicBezTo>
                  <a:cubicBezTo>
                    <a:pt x="431" y="500"/>
                    <a:pt x="0" y="1121"/>
                    <a:pt x="0" y="1293"/>
                  </a:cubicBezTo>
                  <a:cubicBezTo>
                    <a:pt x="0" y="1483"/>
                    <a:pt x="190" y="1483"/>
                    <a:pt x="190" y="1483"/>
                  </a:cubicBezTo>
                  <a:cubicBezTo>
                    <a:pt x="621" y="1483"/>
                    <a:pt x="621" y="1483"/>
                    <a:pt x="621" y="1483"/>
                  </a:cubicBezTo>
                  <a:cubicBezTo>
                    <a:pt x="1053" y="1483"/>
                    <a:pt x="1053" y="1483"/>
                    <a:pt x="1053" y="1483"/>
                  </a:cubicBezTo>
                  <a:cubicBezTo>
                    <a:pt x="1053" y="1483"/>
                    <a:pt x="1243" y="1483"/>
                    <a:pt x="1243" y="1293"/>
                  </a:cubicBezTo>
                  <a:cubicBezTo>
                    <a:pt x="1243" y="1121"/>
                    <a:pt x="811" y="500"/>
                    <a:pt x="811" y="50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8C703D38-4908-43B9-8BB5-BF824818114D}"/>
                </a:ext>
              </a:extLst>
            </p:cNvPr>
            <p:cNvSpPr/>
            <p:nvPr/>
          </p:nvSpPr>
          <p:spPr bwMode="auto">
            <a:xfrm>
              <a:off x="2484510" y="5584031"/>
              <a:ext cx="204788" cy="64294"/>
            </a:xfrm>
            <a:custGeom>
              <a:avLst/>
              <a:gdLst>
                <a:gd name="connsiteX0" fmla="*/ 14288 w 204788"/>
                <a:gd name="connsiteY0" fmla="*/ 0 h 64294"/>
                <a:gd name="connsiteX1" fmla="*/ 192881 w 204788"/>
                <a:gd name="connsiteY1" fmla="*/ 0 h 64294"/>
                <a:gd name="connsiteX2" fmla="*/ 204788 w 204788"/>
                <a:gd name="connsiteY2" fmla="*/ 28575 h 64294"/>
                <a:gd name="connsiteX3" fmla="*/ 197644 w 204788"/>
                <a:gd name="connsiteY3" fmla="*/ 52388 h 64294"/>
                <a:gd name="connsiteX4" fmla="*/ 173831 w 204788"/>
                <a:gd name="connsiteY4" fmla="*/ 64294 h 64294"/>
                <a:gd name="connsiteX5" fmla="*/ 14288 w 204788"/>
                <a:gd name="connsiteY5" fmla="*/ 64294 h 64294"/>
                <a:gd name="connsiteX6" fmla="*/ 0 w 204788"/>
                <a:gd name="connsiteY6" fmla="*/ 52388 h 64294"/>
                <a:gd name="connsiteX7" fmla="*/ 14288 w 204788"/>
                <a:gd name="connsiteY7" fmla="*/ 0 h 6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788" h="64294">
                  <a:moveTo>
                    <a:pt x="14288" y="0"/>
                  </a:moveTo>
                  <a:lnTo>
                    <a:pt x="192881" y="0"/>
                  </a:lnTo>
                  <a:lnTo>
                    <a:pt x="204788" y="28575"/>
                  </a:lnTo>
                  <a:lnTo>
                    <a:pt x="197644" y="52388"/>
                  </a:lnTo>
                  <a:lnTo>
                    <a:pt x="173831" y="64294"/>
                  </a:lnTo>
                  <a:lnTo>
                    <a:pt x="14288" y="64294"/>
                  </a:lnTo>
                  <a:lnTo>
                    <a:pt x="0" y="52388"/>
                  </a:lnTo>
                  <a:lnTo>
                    <a:pt x="14288" y="0"/>
                  </a:lnTo>
                  <a:close/>
                </a:path>
              </a:pathLst>
            </a:custGeom>
            <a:solidFill>
              <a:srgbClr val="00000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pic>
        <p:nvPicPr>
          <p:cNvPr id="376" name="Picture 375">
            <a:extLst>
              <a:ext uri="{FF2B5EF4-FFF2-40B4-BE49-F238E27FC236}">
                <a16:creationId xmlns:a16="http://schemas.microsoft.com/office/drawing/2014/main" id="{A25170AC-FC5C-4AC2-940D-3F76152B8D8E}"/>
              </a:ext>
            </a:extLst>
          </p:cNvPr>
          <p:cNvPicPr>
            <a:picLocks noChangeAspect="1"/>
          </p:cNvPicPr>
          <p:nvPr/>
        </p:nvPicPr>
        <p:blipFill>
          <a:blip r:embed="rId7">
            <a:grayscl/>
          </a:blip>
          <a:stretch>
            <a:fillRect/>
          </a:stretch>
        </p:blipFill>
        <p:spPr>
          <a:xfrm>
            <a:off x="4492910" y="5082564"/>
            <a:ext cx="1712415" cy="1468695"/>
          </a:xfrm>
          <a:prstGeom prst="rect">
            <a:avLst/>
          </a:prstGeom>
        </p:spPr>
      </p:pic>
      <p:sp>
        <p:nvSpPr>
          <p:cNvPr id="377" name="TextBox 376">
            <a:extLst>
              <a:ext uri="{FF2B5EF4-FFF2-40B4-BE49-F238E27FC236}">
                <a16:creationId xmlns:a16="http://schemas.microsoft.com/office/drawing/2014/main" id="{D4ABB6D5-CA27-464E-B706-6ABEDED7C997}"/>
              </a:ext>
            </a:extLst>
          </p:cNvPr>
          <p:cNvSpPr txBox="1"/>
          <p:nvPr/>
        </p:nvSpPr>
        <p:spPr>
          <a:xfrm>
            <a:off x="4398039" y="6260816"/>
            <a:ext cx="1864613" cy="261610"/>
          </a:xfrm>
          <a:prstGeom prst="rect">
            <a:avLst/>
          </a:prstGeom>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TS/POWER USERS</a:t>
            </a:r>
          </a:p>
        </p:txBody>
      </p:sp>
      <p:sp>
        <p:nvSpPr>
          <p:cNvPr id="378" name="Rounded Rectangle 90">
            <a:extLst>
              <a:ext uri="{FF2B5EF4-FFF2-40B4-BE49-F238E27FC236}">
                <a16:creationId xmlns:a16="http://schemas.microsoft.com/office/drawing/2014/main" id="{A048C2CC-BF4E-48BC-8491-23E19F9ECCB7}"/>
              </a:ext>
            </a:extLst>
          </p:cNvPr>
          <p:cNvSpPr/>
          <p:nvPr/>
        </p:nvSpPr>
        <p:spPr>
          <a:xfrm>
            <a:off x="5433156" y="4037603"/>
            <a:ext cx="1164026" cy="697679"/>
          </a:xfrm>
          <a:prstGeom prst="rect">
            <a:avLst/>
          </a:prstGeom>
          <a:noFill/>
          <a:ln w="10795" cap="flat" cmpd="sng" algn="ctr">
            <a:noFill/>
            <a:prstDash val="solid"/>
          </a:ln>
          <a:effectLst/>
        </p:spPr>
        <p:txBody>
          <a:bodyPr rtlCol="0" anchor="t"/>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PPROVAL WORKFLOW TO DEPLOY</a:t>
            </a:r>
          </a:p>
        </p:txBody>
      </p:sp>
      <p:sp>
        <p:nvSpPr>
          <p:cNvPr id="379" name="Oval 378">
            <a:extLst>
              <a:ext uri="{FF2B5EF4-FFF2-40B4-BE49-F238E27FC236}">
                <a16:creationId xmlns:a16="http://schemas.microsoft.com/office/drawing/2014/main" id="{0F11399E-091B-4B89-9987-AF2F7665D13C}"/>
              </a:ext>
            </a:extLst>
          </p:cNvPr>
          <p:cNvSpPr/>
          <p:nvPr/>
        </p:nvSpPr>
        <p:spPr>
          <a:xfrm>
            <a:off x="5155251" y="404712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5</a:t>
            </a:r>
          </a:p>
        </p:txBody>
      </p:sp>
      <p:pic>
        <p:nvPicPr>
          <p:cNvPr id="380" name="Picture 379">
            <a:extLst>
              <a:ext uri="{FF2B5EF4-FFF2-40B4-BE49-F238E27FC236}">
                <a16:creationId xmlns:a16="http://schemas.microsoft.com/office/drawing/2014/main" id="{DE8174C0-497F-489C-BFAF-778C6E546017}"/>
              </a:ext>
            </a:extLst>
          </p:cNvPr>
          <p:cNvPicPr>
            <a:picLocks noChangeAspect="1"/>
          </p:cNvPicPr>
          <p:nvPr/>
        </p:nvPicPr>
        <p:blipFill>
          <a:blip r:embed="rId8">
            <a:grayscl/>
          </a:blip>
          <a:stretch>
            <a:fillRect/>
          </a:stretch>
        </p:blipFill>
        <p:spPr>
          <a:xfrm>
            <a:off x="4445263" y="976022"/>
            <a:ext cx="1459202" cy="1459202"/>
          </a:xfrm>
          <a:prstGeom prst="rect">
            <a:avLst/>
          </a:prstGeom>
        </p:spPr>
      </p:pic>
      <p:sp>
        <p:nvSpPr>
          <p:cNvPr id="381" name="TextBox 380">
            <a:extLst>
              <a:ext uri="{FF2B5EF4-FFF2-40B4-BE49-F238E27FC236}">
                <a16:creationId xmlns:a16="http://schemas.microsoft.com/office/drawing/2014/main" id="{4A4DAC9B-245D-4538-88E2-E1EAACA61F35}"/>
              </a:ext>
            </a:extLst>
          </p:cNvPr>
          <p:cNvSpPr txBox="1"/>
          <p:nvPr/>
        </p:nvSpPr>
        <p:spPr>
          <a:xfrm>
            <a:off x="4132598" y="2160372"/>
            <a:ext cx="1864613" cy="261610"/>
          </a:xfrm>
          <a:prstGeom prst="rect">
            <a:avLst/>
          </a:prstGeom>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NALYSTS/POWER USERS</a:t>
            </a:r>
          </a:p>
        </p:txBody>
      </p:sp>
      <p:sp>
        <p:nvSpPr>
          <p:cNvPr id="382" name="Rectangle 381">
            <a:extLst>
              <a:ext uri="{FF2B5EF4-FFF2-40B4-BE49-F238E27FC236}">
                <a16:creationId xmlns:a16="http://schemas.microsoft.com/office/drawing/2014/main" id="{157B2C46-500F-4C5B-91B6-416ADF478A02}"/>
              </a:ext>
            </a:extLst>
          </p:cNvPr>
          <p:cNvSpPr/>
          <p:nvPr/>
        </p:nvSpPr>
        <p:spPr>
          <a:xfrm>
            <a:off x="6736934" y="2419048"/>
            <a:ext cx="2355435" cy="2111668"/>
          </a:xfrm>
          <a:prstGeom prst="rect">
            <a:avLst/>
          </a:prstGeom>
          <a:noFill/>
          <a:ln w="10795" cap="flat" cmpd="sng" algn="ctr">
            <a:noFill/>
            <a:prstDash val="solid"/>
          </a:ln>
          <a:effectLst/>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Organizational Content Pack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 Sources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set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d Data Mod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Reports and Dashboard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Groups Workspace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OneDrive for Busines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harePoint Lists</a:t>
            </a:r>
          </a:p>
        </p:txBody>
      </p:sp>
      <p:sp>
        <p:nvSpPr>
          <p:cNvPr id="385" name="Rectangle 384">
            <a:extLst>
              <a:ext uri="{FF2B5EF4-FFF2-40B4-BE49-F238E27FC236}">
                <a16:creationId xmlns:a16="http://schemas.microsoft.com/office/drawing/2014/main" id="{9331B1C5-BF5C-4F18-BE18-3E502591E984}"/>
              </a:ext>
            </a:extLst>
          </p:cNvPr>
          <p:cNvSpPr/>
          <p:nvPr/>
        </p:nvSpPr>
        <p:spPr>
          <a:xfrm>
            <a:off x="7158302" y="2124624"/>
            <a:ext cx="1514259" cy="382308"/>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sysClr val="windowText" lastClr="000000"/>
                </a:solidFill>
                <a:effectLst/>
                <a:uLnTx/>
                <a:uFillTx/>
                <a:latin typeface="Segoe UI"/>
                <a:ea typeface="+mn-ea"/>
                <a:cs typeface="+mn-cs"/>
              </a:rPr>
              <a:t>PowerBI.com</a:t>
            </a: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86" name="Group 385">
            <a:extLst>
              <a:ext uri="{FF2B5EF4-FFF2-40B4-BE49-F238E27FC236}">
                <a16:creationId xmlns:a16="http://schemas.microsoft.com/office/drawing/2014/main" id="{6E575714-DBCF-4BF7-A63E-150F4138982A}"/>
              </a:ext>
            </a:extLst>
          </p:cNvPr>
          <p:cNvGrpSpPr/>
          <p:nvPr/>
        </p:nvGrpSpPr>
        <p:grpSpPr>
          <a:xfrm>
            <a:off x="9247181" y="1713701"/>
            <a:ext cx="2407456" cy="261610"/>
            <a:chOff x="9277004" y="1899581"/>
            <a:chExt cx="2407456" cy="261610"/>
          </a:xfrm>
        </p:grpSpPr>
        <p:sp>
          <p:nvSpPr>
            <p:cNvPr id="387" name="TextBox 386">
              <a:extLst>
                <a:ext uri="{FF2B5EF4-FFF2-40B4-BE49-F238E27FC236}">
                  <a16:creationId xmlns:a16="http://schemas.microsoft.com/office/drawing/2014/main" id="{70629A6E-96CC-41C0-91CD-CC64119D7A7E}"/>
                </a:ext>
              </a:extLst>
            </p:cNvPr>
            <p:cNvSpPr txBox="1"/>
            <p:nvPr/>
          </p:nvSpPr>
          <p:spPr>
            <a:xfrm>
              <a:off x="9542527" y="1899581"/>
              <a:ext cx="2141933" cy="261610"/>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dd new reporting data source</a:t>
              </a:r>
            </a:p>
          </p:txBody>
        </p:sp>
        <p:sp>
          <p:nvSpPr>
            <p:cNvPr id="388" name="Oval 387">
              <a:extLst>
                <a:ext uri="{FF2B5EF4-FFF2-40B4-BE49-F238E27FC236}">
                  <a16:creationId xmlns:a16="http://schemas.microsoft.com/office/drawing/2014/main" id="{06EB1630-F1E0-46AE-B5C6-457E7B62E44D}"/>
                </a:ext>
              </a:extLst>
            </p:cNvPr>
            <p:cNvSpPr/>
            <p:nvPr/>
          </p:nvSpPr>
          <p:spPr>
            <a:xfrm>
              <a:off x="9277004" y="190358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1</a:t>
              </a:r>
            </a:p>
          </p:txBody>
        </p:sp>
      </p:grpSp>
      <p:grpSp>
        <p:nvGrpSpPr>
          <p:cNvPr id="389" name="Group 388">
            <a:extLst>
              <a:ext uri="{FF2B5EF4-FFF2-40B4-BE49-F238E27FC236}">
                <a16:creationId xmlns:a16="http://schemas.microsoft.com/office/drawing/2014/main" id="{181033CC-B016-4973-A2FD-22973BB23D45}"/>
              </a:ext>
            </a:extLst>
          </p:cNvPr>
          <p:cNvGrpSpPr/>
          <p:nvPr/>
        </p:nvGrpSpPr>
        <p:grpSpPr>
          <a:xfrm>
            <a:off x="9247181" y="2188897"/>
            <a:ext cx="2917283" cy="446397"/>
            <a:chOff x="9277004" y="2302625"/>
            <a:chExt cx="2917283" cy="446397"/>
          </a:xfrm>
        </p:grpSpPr>
        <p:sp>
          <p:nvSpPr>
            <p:cNvPr id="390" name="TextBox 389">
              <a:extLst>
                <a:ext uri="{FF2B5EF4-FFF2-40B4-BE49-F238E27FC236}">
                  <a16:creationId xmlns:a16="http://schemas.microsoft.com/office/drawing/2014/main" id="{13FB028C-B886-402B-B52F-37FD117C058C}"/>
                </a:ext>
              </a:extLst>
            </p:cNvPr>
            <p:cNvSpPr txBox="1"/>
            <p:nvPr/>
          </p:nvSpPr>
          <p:spPr>
            <a:xfrm>
              <a:off x="9542527" y="2302625"/>
              <a:ext cx="2651760" cy="4463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erform data source security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nd governance management tasks</a:t>
              </a:r>
            </a:p>
          </p:txBody>
        </p:sp>
        <p:sp>
          <p:nvSpPr>
            <p:cNvPr id="391" name="Oval 390">
              <a:extLst>
                <a:ext uri="{FF2B5EF4-FFF2-40B4-BE49-F238E27FC236}">
                  <a16:creationId xmlns:a16="http://schemas.microsoft.com/office/drawing/2014/main" id="{A0F138B4-64B1-4701-9460-5F98E113D701}"/>
                </a:ext>
              </a:extLst>
            </p:cNvPr>
            <p:cNvSpPr/>
            <p:nvPr/>
          </p:nvSpPr>
          <p:spPr>
            <a:xfrm>
              <a:off x="9277004" y="2414726"/>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2</a:t>
              </a:r>
            </a:p>
          </p:txBody>
        </p:sp>
      </p:grpSp>
      <p:grpSp>
        <p:nvGrpSpPr>
          <p:cNvPr id="392" name="Group 391">
            <a:extLst>
              <a:ext uri="{FF2B5EF4-FFF2-40B4-BE49-F238E27FC236}">
                <a16:creationId xmlns:a16="http://schemas.microsoft.com/office/drawing/2014/main" id="{3C5C7009-B30E-4BDF-B2DF-29AB9B1B1B33}"/>
              </a:ext>
            </a:extLst>
          </p:cNvPr>
          <p:cNvGrpSpPr/>
          <p:nvPr/>
        </p:nvGrpSpPr>
        <p:grpSpPr>
          <a:xfrm>
            <a:off x="9247181" y="2848880"/>
            <a:ext cx="2809809" cy="430887"/>
            <a:chOff x="9277004" y="2813341"/>
            <a:chExt cx="2809809" cy="430887"/>
          </a:xfrm>
        </p:grpSpPr>
        <p:sp>
          <p:nvSpPr>
            <p:cNvPr id="393" name="TextBox 392">
              <a:extLst>
                <a:ext uri="{FF2B5EF4-FFF2-40B4-BE49-F238E27FC236}">
                  <a16:creationId xmlns:a16="http://schemas.microsoft.com/office/drawing/2014/main" id="{43A912BC-129F-4128-BFE2-DF24B95A4269}"/>
                </a:ext>
              </a:extLst>
            </p:cNvPr>
            <p:cNvSpPr txBox="1"/>
            <p:nvPr/>
          </p:nvSpPr>
          <p:spPr>
            <a:xfrm>
              <a:off x="9542527" y="2813341"/>
              <a:ext cx="2544286"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ublish approved shared data source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for analysts/power users</a:t>
              </a:r>
            </a:p>
          </p:txBody>
        </p:sp>
        <p:sp>
          <p:nvSpPr>
            <p:cNvPr id="394" name="Oval 393">
              <a:extLst>
                <a:ext uri="{FF2B5EF4-FFF2-40B4-BE49-F238E27FC236}">
                  <a16:creationId xmlns:a16="http://schemas.microsoft.com/office/drawing/2014/main" id="{438D15A4-C98C-425A-BE11-78052532E4FF}"/>
                </a:ext>
              </a:extLst>
            </p:cNvPr>
            <p:cNvSpPr/>
            <p:nvPr/>
          </p:nvSpPr>
          <p:spPr>
            <a:xfrm>
              <a:off x="9277004" y="2925870"/>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3</a:t>
              </a:r>
            </a:p>
          </p:txBody>
        </p:sp>
      </p:grpSp>
      <p:grpSp>
        <p:nvGrpSpPr>
          <p:cNvPr id="395" name="Group 394">
            <a:extLst>
              <a:ext uri="{FF2B5EF4-FFF2-40B4-BE49-F238E27FC236}">
                <a16:creationId xmlns:a16="http://schemas.microsoft.com/office/drawing/2014/main" id="{EAB2F6C9-8AD3-4F29-9071-5094999DDBD9}"/>
              </a:ext>
            </a:extLst>
          </p:cNvPr>
          <p:cNvGrpSpPr/>
          <p:nvPr/>
        </p:nvGrpSpPr>
        <p:grpSpPr>
          <a:xfrm>
            <a:off x="9247181" y="3493353"/>
            <a:ext cx="2447530" cy="430887"/>
            <a:chOff x="9277004" y="3324058"/>
            <a:chExt cx="2447530" cy="430887"/>
          </a:xfrm>
        </p:grpSpPr>
        <p:sp>
          <p:nvSpPr>
            <p:cNvPr id="396" name="TextBox 395">
              <a:extLst>
                <a:ext uri="{FF2B5EF4-FFF2-40B4-BE49-F238E27FC236}">
                  <a16:creationId xmlns:a16="http://schemas.microsoft.com/office/drawing/2014/main" id="{5507C47C-1B8D-4DD4-8D53-C3100ABDE5D4}"/>
                </a:ext>
              </a:extLst>
            </p:cNvPr>
            <p:cNvSpPr txBox="1"/>
            <p:nvPr/>
          </p:nvSpPr>
          <p:spPr>
            <a:xfrm>
              <a:off x="9542526" y="3324058"/>
              <a:ext cx="2182008"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Develop reporting content with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approved shared data sources</a:t>
              </a:r>
            </a:p>
          </p:txBody>
        </p:sp>
        <p:sp>
          <p:nvSpPr>
            <p:cNvPr id="397" name="Oval 396">
              <a:extLst>
                <a:ext uri="{FF2B5EF4-FFF2-40B4-BE49-F238E27FC236}">
                  <a16:creationId xmlns:a16="http://schemas.microsoft.com/office/drawing/2014/main" id="{12F67207-EA86-42BC-9998-1A458089ECBE}"/>
                </a:ext>
              </a:extLst>
            </p:cNvPr>
            <p:cNvSpPr/>
            <p:nvPr/>
          </p:nvSpPr>
          <p:spPr>
            <a:xfrm>
              <a:off x="9277004" y="3437014"/>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4</a:t>
              </a:r>
            </a:p>
          </p:txBody>
        </p:sp>
      </p:grpSp>
      <p:grpSp>
        <p:nvGrpSpPr>
          <p:cNvPr id="398" name="Group 397">
            <a:extLst>
              <a:ext uri="{FF2B5EF4-FFF2-40B4-BE49-F238E27FC236}">
                <a16:creationId xmlns:a16="http://schemas.microsoft.com/office/drawing/2014/main" id="{8839DB52-5F24-43F8-A0AD-C017F549EAC8}"/>
              </a:ext>
            </a:extLst>
          </p:cNvPr>
          <p:cNvGrpSpPr/>
          <p:nvPr/>
        </p:nvGrpSpPr>
        <p:grpSpPr>
          <a:xfrm>
            <a:off x="9247181" y="4137826"/>
            <a:ext cx="2853092" cy="430887"/>
            <a:chOff x="9277004" y="3845066"/>
            <a:chExt cx="2853092" cy="430887"/>
          </a:xfrm>
        </p:grpSpPr>
        <p:sp>
          <p:nvSpPr>
            <p:cNvPr id="399" name="TextBox 398">
              <a:extLst>
                <a:ext uri="{FF2B5EF4-FFF2-40B4-BE49-F238E27FC236}">
                  <a16:creationId xmlns:a16="http://schemas.microsoft.com/office/drawing/2014/main" id="{8FD5A08E-07BB-44B8-9309-CAD1DB9251C4}"/>
                </a:ext>
              </a:extLst>
            </p:cNvPr>
            <p:cNvSpPr txBox="1"/>
            <p:nvPr/>
          </p:nvSpPr>
          <p:spPr>
            <a:xfrm>
              <a:off x="9542528" y="3845066"/>
              <a:ext cx="2587568"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Submit reporting content for approval</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based on Governance Guidelines</a:t>
              </a:r>
            </a:p>
          </p:txBody>
        </p:sp>
        <p:sp>
          <p:nvSpPr>
            <p:cNvPr id="400" name="Oval 399">
              <a:extLst>
                <a:ext uri="{FF2B5EF4-FFF2-40B4-BE49-F238E27FC236}">
                  <a16:creationId xmlns:a16="http://schemas.microsoft.com/office/drawing/2014/main" id="{2A0DF525-5F33-410A-B489-3F0FCD0EE210}"/>
                </a:ext>
              </a:extLst>
            </p:cNvPr>
            <p:cNvSpPr/>
            <p:nvPr/>
          </p:nvSpPr>
          <p:spPr>
            <a:xfrm>
              <a:off x="9277004" y="394815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5</a:t>
              </a:r>
            </a:p>
          </p:txBody>
        </p:sp>
      </p:grpSp>
      <p:grpSp>
        <p:nvGrpSpPr>
          <p:cNvPr id="401" name="Group 400">
            <a:extLst>
              <a:ext uri="{FF2B5EF4-FFF2-40B4-BE49-F238E27FC236}">
                <a16:creationId xmlns:a16="http://schemas.microsoft.com/office/drawing/2014/main" id="{820D91DD-8967-4879-9D96-D44291E5766F}"/>
              </a:ext>
            </a:extLst>
          </p:cNvPr>
          <p:cNvGrpSpPr/>
          <p:nvPr/>
        </p:nvGrpSpPr>
        <p:grpSpPr>
          <a:xfrm>
            <a:off x="9247181" y="4782299"/>
            <a:ext cx="2747294" cy="430887"/>
            <a:chOff x="9277004" y="4363861"/>
            <a:chExt cx="2747294" cy="430887"/>
          </a:xfrm>
        </p:grpSpPr>
        <p:sp>
          <p:nvSpPr>
            <p:cNvPr id="402" name="TextBox 401">
              <a:extLst>
                <a:ext uri="{FF2B5EF4-FFF2-40B4-BE49-F238E27FC236}">
                  <a16:creationId xmlns:a16="http://schemas.microsoft.com/office/drawing/2014/main" id="{1E18AFC2-A8FB-43F8-B203-D99C14BC26F2}"/>
                </a:ext>
              </a:extLst>
            </p:cNvPr>
            <p:cNvSpPr txBox="1"/>
            <p:nvPr/>
          </p:nvSpPr>
          <p:spPr>
            <a:xfrm>
              <a:off x="9542528" y="4363861"/>
              <a:ext cx="2481770" cy="430887"/>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Review, approve/disapprove, add to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catalog for compliance and audit</a:t>
              </a:r>
            </a:p>
          </p:txBody>
        </p:sp>
        <p:sp>
          <p:nvSpPr>
            <p:cNvPr id="403" name="Oval 402">
              <a:extLst>
                <a:ext uri="{FF2B5EF4-FFF2-40B4-BE49-F238E27FC236}">
                  <a16:creationId xmlns:a16="http://schemas.microsoft.com/office/drawing/2014/main" id="{78B3BAA0-B5BD-4C82-BCDB-A2533821D16F}"/>
                </a:ext>
              </a:extLst>
            </p:cNvPr>
            <p:cNvSpPr/>
            <p:nvPr/>
          </p:nvSpPr>
          <p:spPr>
            <a:xfrm>
              <a:off x="9277004" y="445930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6</a:t>
              </a:r>
            </a:p>
          </p:txBody>
        </p:sp>
      </p:grpSp>
      <p:grpSp>
        <p:nvGrpSpPr>
          <p:cNvPr id="404" name="Group 403">
            <a:extLst>
              <a:ext uri="{FF2B5EF4-FFF2-40B4-BE49-F238E27FC236}">
                <a16:creationId xmlns:a16="http://schemas.microsoft.com/office/drawing/2014/main" id="{4C1A21ED-3B49-44D0-8AF7-D489D0D2D5E1}"/>
              </a:ext>
            </a:extLst>
          </p:cNvPr>
          <p:cNvGrpSpPr/>
          <p:nvPr/>
        </p:nvGrpSpPr>
        <p:grpSpPr>
          <a:xfrm>
            <a:off x="9247181" y="5426772"/>
            <a:ext cx="2917284" cy="446397"/>
            <a:chOff x="9277004" y="4874577"/>
            <a:chExt cx="2917284" cy="446397"/>
          </a:xfrm>
        </p:grpSpPr>
        <p:sp>
          <p:nvSpPr>
            <p:cNvPr id="405" name="TextBox 404">
              <a:extLst>
                <a:ext uri="{FF2B5EF4-FFF2-40B4-BE49-F238E27FC236}">
                  <a16:creationId xmlns:a16="http://schemas.microsoft.com/office/drawing/2014/main" id="{D945244C-D970-4932-9C43-E951190F391F}"/>
                </a:ext>
              </a:extLst>
            </p:cNvPr>
            <p:cNvSpPr txBox="1"/>
            <p:nvPr/>
          </p:nvSpPr>
          <p:spPr>
            <a:xfrm>
              <a:off x="9542528" y="4874577"/>
              <a:ext cx="2651760" cy="4463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Publish approved content with permissions to groups</a:t>
              </a:r>
            </a:p>
          </p:txBody>
        </p:sp>
        <p:sp>
          <p:nvSpPr>
            <p:cNvPr id="406" name="Oval 405">
              <a:extLst>
                <a:ext uri="{FF2B5EF4-FFF2-40B4-BE49-F238E27FC236}">
                  <a16:creationId xmlns:a16="http://schemas.microsoft.com/office/drawing/2014/main" id="{BCF7034E-DE24-4520-9FCC-B7452E3C7C62}"/>
                </a:ext>
              </a:extLst>
            </p:cNvPr>
            <p:cNvSpPr/>
            <p:nvPr/>
          </p:nvSpPr>
          <p:spPr>
            <a:xfrm>
              <a:off x="9277004" y="4970446"/>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7</a:t>
              </a:r>
            </a:p>
          </p:txBody>
        </p:sp>
      </p:grpSp>
      <p:grpSp>
        <p:nvGrpSpPr>
          <p:cNvPr id="407" name="Group 406">
            <a:extLst>
              <a:ext uri="{FF2B5EF4-FFF2-40B4-BE49-F238E27FC236}">
                <a16:creationId xmlns:a16="http://schemas.microsoft.com/office/drawing/2014/main" id="{C11E5762-4A7D-4911-9431-7BF5FAF53638}"/>
              </a:ext>
            </a:extLst>
          </p:cNvPr>
          <p:cNvGrpSpPr/>
          <p:nvPr/>
        </p:nvGrpSpPr>
        <p:grpSpPr>
          <a:xfrm>
            <a:off x="9247181" y="6086754"/>
            <a:ext cx="2917284" cy="446398"/>
            <a:chOff x="9277004" y="5388436"/>
            <a:chExt cx="2917284" cy="446398"/>
          </a:xfrm>
        </p:grpSpPr>
        <p:sp>
          <p:nvSpPr>
            <p:cNvPr id="408" name="TextBox 407">
              <a:extLst>
                <a:ext uri="{FF2B5EF4-FFF2-40B4-BE49-F238E27FC236}">
                  <a16:creationId xmlns:a16="http://schemas.microsoft.com/office/drawing/2014/main" id="{74480294-45A4-4104-A9C1-A81C5EDFBCF8}"/>
                </a:ext>
              </a:extLst>
            </p:cNvPr>
            <p:cNvSpPr txBox="1"/>
            <p:nvPr/>
          </p:nvSpPr>
          <p:spPr>
            <a:xfrm>
              <a:off x="9542528" y="5388436"/>
              <a:ext cx="2651760" cy="44639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View and explore Power BI content based on role/group permissions</a:t>
              </a:r>
            </a:p>
          </p:txBody>
        </p:sp>
        <p:sp>
          <p:nvSpPr>
            <p:cNvPr id="409" name="Oval 408">
              <a:extLst>
                <a:ext uri="{FF2B5EF4-FFF2-40B4-BE49-F238E27FC236}">
                  <a16:creationId xmlns:a16="http://schemas.microsoft.com/office/drawing/2014/main" id="{68E91C0E-72B0-469B-99C0-18261756F6D9}"/>
                </a:ext>
              </a:extLst>
            </p:cNvPr>
            <p:cNvSpPr/>
            <p:nvPr/>
          </p:nvSpPr>
          <p:spPr>
            <a:xfrm>
              <a:off x="9277004" y="548158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8</a:t>
              </a:r>
            </a:p>
          </p:txBody>
        </p:sp>
      </p:grpSp>
      <p:sp>
        <p:nvSpPr>
          <p:cNvPr id="410" name="Oval 409">
            <a:extLst>
              <a:ext uri="{FF2B5EF4-FFF2-40B4-BE49-F238E27FC236}">
                <a16:creationId xmlns:a16="http://schemas.microsoft.com/office/drawing/2014/main" id="{0031C544-1769-479C-8146-7C79F114C597}"/>
              </a:ext>
            </a:extLst>
          </p:cNvPr>
          <p:cNvSpPr/>
          <p:nvPr/>
        </p:nvSpPr>
        <p:spPr>
          <a:xfrm>
            <a:off x="6453539" y="2162072"/>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7</a:t>
            </a:r>
          </a:p>
        </p:txBody>
      </p:sp>
      <p:sp>
        <p:nvSpPr>
          <p:cNvPr id="411" name="Oval 410">
            <a:extLst>
              <a:ext uri="{FF2B5EF4-FFF2-40B4-BE49-F238E27FC236}">
                <a16:creationId xmlns:a16="http://schemas.microsoft.com/office/drawing/2014/main" id="{A65BE6B9-5A31-41A5-83AE-1AF267494F35}"/>
              </a:ext>
            </a:extLst>
          </p:cNvPr>
          <p:cNvSpPr/>
          <p:nvPr/>
        </p:nvSpPr>
        <p:spPr>
          <a:xfrm>
            <a:off x="3874715" y="2166768"/>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6</a:t>
            </a:r>
          </a:p>
        </p:txBody>
      </p:sp>
      <p:pic>
        <p:nvPicPr>
          <p:cNvPr id="412" name="Picture 411">
            <a:extLst>
              <a:ext uri="{FF2B5EF4-FFF2-40B4-BE49-F238E27FC236}">
                <a16:creationId xmlns:a16="http://schemas.microsoft.com/office/drawing/2014/main" id="{4AB890DE-03C9-4510-8470-DD5DD2F948F4}"/>
              </a:ext>
            </a:extLst>
          </p:cNvPr>
          <p:cNvPicPr>
            <a:picLocks noChangeAspect="1"/>
          </p:cNvPicPr>
          <p:nvPr/>
        </p:nvPicPr>
        <p:blipFill rotWithShape="1">
          <a:blip r:embed="rId9">
            <a:grayscl/>
          </a:blip>
          <a:srcRect l="31454"/>
          <a:stretch/>
        </p:blipFill>
        <p:spPr>
          <a:xfrm>
            <a:off x="6811228" y="4593153"/>
            <a:ext cx="1917722" cy="1866765"/>
          </a:xfrm>
          <a:prstGeom prst="rect">
            <a:avLst/>
          </a:prstGeom>
        </p:spPr>
      </p:pic>
      <p:sp>
        <p:nvSpPr>
          <p:cNvPr id="413" name="TextBox 412">
            <a:extLst>
              <a:ext uri="{FF2B5EF4-FFF2-40B4-BE49-F238E27FC236}">
                <a16:creationId xmlns:a16="http://schemas.microsoft.com/office/drawing/2014/main" id="{47FB815F-8EEC-4450-BC92-45124DBF9064}"/>
              </a:ext>
            </a:extLst>
          </p:cNvPr>
          <p:cNvSpPr txBox="1"/>
          <p:nvPr/>
        </p:nvSpPr>
        <p:spPr>
          <a:xfrm>
            <a:off x="6863314" y="6260816"/>
            <a:ext cx="1681871" cy="261610"/>
          </a:xfrm>
          <a:prstGeom prst="rect">
            <a:avLst/>
          </a:prstGeom>
          <a:noFill/>
        </p:spPr>
        <p:txBody>
          <a:bodyPr wrap="none" rtlCol="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SELF-SERVICE BI USERS</a:t>
            </a:r>
          </a:p>
        </p:txBody>
      </p:sp>
      <p:sp>
        <p:nvSpPr>
          <p:cNvPr id="414" name="Oval 413">
            <a:extLst>
              <a:ext uri="{FF2B5EF4-FFF2-40B4-BE49-F238E27FC236}">
                <a16:creationId xmlns:a16="http://schemas.microsoft.com/office/drawing/2014/main" id="{64EE4D69-10FE-474C-A1F3-F43C35225371}"/>
              </a:ext>
            </a:extLst>
          </p:cNvPr>
          <p:cNvSpPr/>
          <p:nvPr/>
        </p:nvSpPr>
        <p:spPr>
          <a:xfrm>
            <a:off x="6819166" y="5410777"/>
            <a:ext cx="252505" cy="253607"/>
          </a:xfrm>
          <a:prstGeom prst="ellipse">
            <a:avLst/>
          </a:prstGeom>
          <a:solidFill>
            <a:srgbClr val="F2C811"/>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rPr>
              <a:t>8</a:t>
            </a:r>
          </a:p>
        </p:txBody>
      </p:sp>
      <p:sp>
        <p:nvSpPr>
          <p:cNvPr id="415" name="Freeform: Shape 414">
            <a:extLst>
              <a:ext uri="{FF2B5EF4-FFF2-40B4-BE49-F238E27FC236}">
                <a16:creationId xmlns:a16="http://schemas.microsoft.com/office/drawing/2014/main" id="{52950625-45E3-4F06-8E34-1DE06DC438A5}"/>
              </a:ext>
            </a:extLst>
          </p:cNvPr>
          <p:cNvSpPr/>
          <p:nvPr/>
        </p:nvSpPr>
        <p:spPr bwMode="auto">
          <a:xfrm>
            <a:off x="2446677" y="3250133"/>
            <a:ext cx="0" cy="678180"/>
          </a:xfrm>
          <a:custGeom>
            <a:avLst/>
            <a:gdLst>
              <a:gd name="connsiteX0" fmla="*/ 0 w 0"/>
              <a:gd name="connsiteY0" fmla="*/ 0 h 678180"/>
              <a:gd name="connsiteX1" fmla="*/ 0 w 0"/>
              <a:gd name="connsiteY1" fmla="*/ 678180 h 678180"/>
            </a:gdLst>
            <a:ahLst/>
            <a:cxnLst>
              <a:cxn ang="0">
                <a:pos x="connsiteX0" y="connsiteY0"/>
              </a:cxn>
              <a:cxn ang="0">
                <a:pos x="connsiteX1" y="connsiteY1"/>
              </a:cxn>
            </a:cxnLst>
            <a:rect l="l" t="t" r="r" b="b"/>
            <a:pathLst>
              <a:path h="678180">
                <a:moveTo>
                  <a:pt x="0" y="0"/>
                </a:moveTo>
                <a:lnTo>
                  <a:pt x="0" y="67818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6" name="TextBox 415">
            <a:extLst>
              <a:ext uri="{FF2B5EF4-FFF2-40B4-BE49-F238E27FC236}">
                <a16:creationId xmlns:a16="http://schemas.microsoft.com/office/drawing/2014/main" id="{B090D887-D063-483A-BF5D-47EAE9C58577}"/>
              </a:ext>
            </a:extLst>
          </p:cNvPr>
          <p:cNvSpPr txBox="1"/>
          <p:nvPr/>
        </p:nvSpPr>
        <p:spPr>
          <a:xfrm>
            <a:off x="3167993" y="1636506"/>
            <a:ext cx="1303562" cy="430887"/>
          </a:xfrm>
          <a:prstGeom prst="rect">
            <a:avLst/>
          </a:prstGeom>
        </p:spPr>
        <p:txBody>
          <a:bodyPr wrap="none" rtlCol="0" anchor="t">
            <a:spAutoFit/>
          </a:bodyPr>
          <a:lstStyle>
            <a:defPPr>
              <a:defRPr lang="en-US"/>
            </a:defPPr>
            <a:lvl1pPr algn="ctr" defTabSz="932597">
              <a:defRPr sz="1200" kern="0">
                <a:gradFill>
                  <a:gsLst>
                    <a:gs pos="0">
                      <a:schemeClr val="accent1"/>
                    </a:gs>
                    <a:gs pos="100000">
                      <a:schemeClr val="accent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MASTER DATA </a:t>
            </a:r>
            <a:b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100" b="0" i="0" u="none" strike="noStrike" kern="0" cap="none" spc="0" normalizeH="0" baseline="0" noProof="0">
                <a:ln>
                  <a:noFill/>
                </a:ln>
                <a:gradFill>
                  <a:gsLst>
                    <a:gs pos="0">
                      <a:srgbClr val="000000"/>
                    </a:gs>
                    <a:gs pos="100000">
                      <a:srgbClr val="000000"/>
                    </a:gs>
                  </a:gsLst>
                  <a:lin ang="5400000" scaled="1"/>
                </a:gradFill>
                <a:effectLst/>
                <a:uLnTx/>
                <a:uFillTx/>
                <a:latin typeface="Segoe UI Semibold" panose="020B0702040204020203" pitchFamily="34" charset="0"/>
                <a:ea typeface="+mn-ea"/>
                <a:cs typeface="Segoe UI Semibold" panose="020B0702040204020203" pitchFamily="34" charset="0"/>
              </a:rPr>
              <a:t>&amp; DATA QUALITY</a:t>
            </a:r>
          </a:p>
        </p:txBody>
      </p:sp>
      <p:sp>
        <p:nvSpPr>
          <p:cNvPr id="417" name="Freeform: Shape 416">
            <a:extLst>
              <a:ext uri="{FF2B5EF4-FFF2-40B4-BE49-F238E27FC236}">
                <a16:creationId xmlns:a16="http://schemas.microsoft.com/office/drawing/2014/main" id="{9C8AAE52-D715-4D57-B3EC-132691AFC1C5}"/>
              </a:ext>
            </a:extLst>
          </p:cNvPr>
          <p:cNvSpPr/>
          <p:nvPr/>
        </p:nvSpPr>
        <p:spPr bwMode="auto">
          <a:xfrm>
            <a:off x="5286345" y="4462669"/>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5C366382-AAD6-42CC-8A3B-46D73FA54422}"/>
              </a:ext>
            </a:extLst>
          </p:cNvPr>
          <p:cNvSpPr/>
          <p:nvPr/>
        </p:nvSpPr>
        <p:spPr bwMode="auto">
          <a:xfrm flipH="1">
            <a:off x="5275601" y="2529656"/>
            <a:ext cx="0" cy="1371600"/>
          </a:xfrm>
          <a:custGeom>
            <a:avLst/>
            <a:gdLst>
              <a:gd name="connsiteX0" fmla="*/ 0 w 0"/>
              <a:gd name="connsiteY0" fmla="*/ 1123950 h 1123950"/>
              <a:gd name="connsiteX1" fmla="*/ 0 w 0"/>
              <a:gd name="connsiteY1" fmla="*/ 0 h 1123950"/>
            </a:gdLst>
            <a:ahLst/>
            <a:cxnLst>
              <a:cxn ang="0">
                <a:pos x="connsiteX0" y="connsiteY0"/>
              </a:cxn>
              <a:cxn ang="0">
                <a:pos x="connsiteX1" y="connsiteY1"/>
              </a:cxn>
            </a:cxnLst>
            <a:rect l="l" t="t" r="r" b="b"/>
            <a:pathLst>
              <a:path h="1123950">
                <a:moveTo>
                  <a:pt x="0" y="1123950"/>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77F510C-D709-41AB-A3FF-2FEDF2C77E73}"/>
              </a:ext>
            </a:extLst>
          </p:cNvPr>
          <p:cNvSpPr/>
          <p:nvPr/>
        </p:nvSpPr>
        <p:spPr bwMode="auto">
          <a:xfrm>
            <a:off x="5446791" y="2543171"/>
            <a:ext cx="962025" cy="1419225"/>
          </a:xfrm>
          <a:custGeom>
            <a:avLst/>
            <a:gdLst>
              <a:gd name="connsiteX0" fmla="*/ 0 w 962025"/>
              <a:gd name="connsiteY0" fmla="*/ 1419225 h 1419225"/>
              <a:gd name="connsiteX1" fmla="*/ 962025 w 962025"/>
              <a:gd name="connsiteY1" fmla="*/ 0 h 1419225"/>
            </a:gdLst>
            <a:ahLst/>
            <a:cxnLst>
              <a:cxn ang="0">
                <a:pos x="connsiteX0" y="connsiteY0"/>
              </a:cxn>
              <a:cxn ang="0">
                <a:pos x="connsiteX1" y="connsiteY1"/>
              </a:cxn>
            </a:cxnLst>
            <a:rect l="l" t="t" r="r" b="b"/>
            <a:pathLst>
              <a:path w="962025" h="1419225">
                <a:moveTo>
                  <a:pt x="0" y="1419225"/>
                </a:moveTo>
                <a:lnTo>
                  <a:pt x="962025"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060596C2-39CD-443C-9B37-9DA465CF61D6}"/>
              </a:ext>
            </a:extLst>
          </p:cNvPr>
          <p:cNvSpPr/>
          <p:nvPr/>
        </p:nvSpPr>
        <p:spPr bwMode="auto">
          <a:xfrm>
            <a:off x="6945418" y="4462669"/>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AFF539AF-4B4D-4EC6-8013-7FD118266F35}"/>
              </a:ext>
            </a:extLst>
          </p:cNvPr>
          <p:cNvSpPr/>
          <p:nvPr/>
        </p:nvSpPr>
        <p:spPr bwMode="auto">
          <a:xfrm flipV="1">
            <a:off x="2450955" y="4479714"/>
            <a:ext cx="0" cy="822960"/>
          </a:xfrm>
          <a:custGeom>
            <a:avLst/>
            <a:gdLst>
              <a:gd name="connsiteX0" fmla="*/ 0 w 0"/>
              <a:gd name="connsiteY0" fmla="*/ 1095375 h 1095375"/>
              <a:gd name="connsiteX1" fmla="*/ 0 w 0"/>
              <a:gd name="connsiteY1" fmla="*/ 571500 h 1095375"/>
              <a:gd name="connsiteX2" fmla="*/ 0 w 0"/>
              <a:gd name="connsiteY2" fmla="*/ 0 h 1095375"/>
            </a:gdLst>
            <a:ahLst/>
            <a:cxnLst>
              <a:cxn ang="0">
                <a:pos x="connsiteX0" y="connsiteY0"/>
              </a:cxn>
              <a:cxn ang="0">
                <a:pos x="connsiteX1" y="connsiteY1"/>
              </a:cxn>
              <a:cxn ang="0">
                <a:pos x="connsiteX2" y="connsiteY2"/>
              </a:cxn>
            </a:cxnLst>
            <a:rect l="l" t="t" r="r" b="b"/>
            <a:pathLst>
              <a:path h="1095375">
                <a:moveTo>
                  <a:pt x="0" y="1095375"/>
                </a:moveTo>
                <a:lnTo>
                  <a:pt x="0" y="571500"/>
                </a:ln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2" name="Freeform 35">
            <a:extLst>
              <a:ext uri="{FF2B5EF4-FFF2-40B4-BE49-F238E27FC236}">
                <a16:creationId xmlns:a16="http://schemas.microsoft.com/office/drawing/2014/main" id="{9559BD79-F59D-4995-978C-EAEBB750C33B}"/>
              </a:ext>
            </a:extLst>
          </p:cNvPr>
          <p:cNvSpPr>
            <a:spLocks noEditPoints="1"/>
          </p:cNvSpPr>
          <p:nvPr/>
        </p:nvSpPr>
        <p:spPr bwMode="auto">
          <a:xfrm>
            <a:off x="2803865" y="1641681"/>
            <a:ext cx="369888" cy="433388"/>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rgbClr val="231F20"/>
          </a:solidFill>
          <a:ln w="9525">
            <a:solidFill>
              <a:srgbClr val="F8F8F8"/>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pic>
        <p:nvPicPr>
          <p:cNvPr id="3" name="Picture 2" descr="A sign in the dark&#10;&#10;Description automatically generated">
            <a:extLst>
              <a:ext uri="{FF2B5EF4-FFF2-40B4-BE49-F238E27FC236}">
                <a16:creationId xmlns:a16="http://schemas.microsoft.com/office/drawing/2014/main" id="{9BA30AF1-81BF-4E70-96E1-32BE7A4EDDC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36934" y="2022154"/>
            <a:ext cx="577591" cy="577591"/>
          </a:xfrm>
          <a:prstGeom prst="rect">
            <a:avLst/>
          </a:prstGeom>
        </p:spPr>
      </p:pic>
      <p:pic>
        <p:nvPicPr>
          <p:cNvPr id="96" name="Picture 95" descr="A sign in the dark&#10;&#10;Description automatically generated">
            <a:extLst>
              <a:ext uri="{FF2B5EF4-FFF2-40B4-BE49-F238E27FC236}">
                <a16:creationId xmlns:a16="http://schemas.microsoft.com/office/drawing/2014/main" id="{4DBFB160-6627-43C8-8769-444A1B17D7C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704852" y="5302674"/>
            <a:ext cx="508456" cy="508456"/>
          </a:xfrm>
          <a:prstGeom prst="rect">
            <a:avLst/>
          </a:prstGeom>
        </p:spPr>
      </p:pic>
    </p:spTree>
    <p:custDataLst>
      <p:tags r:id="rId1"/>
    </p:custDataLst>
    <p:extLst>
      <p:ext uri="{BB962C8B-B14F-4D97-AF65-F5344CB8AC3E}">
        <p14:creationId xmlns:p14="http://schemas.microsoft.com/office/powerpoint/2010/main" val="1245035682"/>
      </p:ext>
    </p:extLst>
  </p:cSld>
  <p:clrMapOvr>
    <a:masterClrMapping/>
  </p:clrMapOvr>
  <mc:AlternateContent xmlns:mc="http://schemas.openxmlformats.org/markup-compatibility/2006" xmlns:p14="http://schemas.microsoft.com/office/powerpoint/2010/main">
    <mc:Choice Requires="p14">
      <p:transition spd="med" p14:dur="700" advTm="158573">
        <p:fade/>
      </p:transition>
    </mc:Choice>
    <mc:Fallback xmlns="">
      <p:transition spd="med" advTm="15857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2"/>
                                        </p:tgtEl>
                                        <p:attrNameLst>
                                          <p:attrName>style.visibility</p:attrName>
                                        </p:attrNameLst>
                                      </p:cBhvr>
                                      <p:to>
                                        <p:strVal val="visible"/>
                                      </p:to>
                                    </p:set>
                                    <p:animEffect transition="in" filter="fade">
                                      <p:cBhvr>
                                        <p:cTn id="7" dur="500"/>
                                        <p:tgtEl>
                                          <p:spTgt spid="3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3"/>
                                        </p:tgtEl>
                                        <p:attrNameLst>
                                          <p:attrName>style.visibility</p:attrName>
                                        </p:attrNameLst>
                                      </p:cBhvr>
                                      <p:to>
                                        <p:strVal val="visible"/>
                                      </p:to>
                                    </p:set>
                                    <p:animEffect transition="in" filter="fade">
                                      <p:cBhvr>
                                        <p:cTn id="10" dur="500"/>
                                        <p:tgtEl>
                                          <p:spTgt spid="3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4"/>
                                        </p:tgtEl>
                                        <p:attrNameLst>
                                          <p:attrName>style.visibility</p:attrName>
                                        </p:attrNameLst>
                                      </p:cBhvr>
                                      <p:to>
                                        <p:strVal val="visible"/>
                                      </p:to>
                                    </p:set>
                                    <p:animEffect transition="in" filter="fade">
                                      <p:cBhvr>
                                        <p:cTn id="13" dur="500"/>
                                        <p:tgtEl>
                                          <p:spTgt spid="334"/>
                                        </p:tgtEl>
                                      </p:cBhvr>
                                    </p:animEffect>
                                  </p:childTnLst>
                                </p:cTn>
                              </p:par>
                              <p:par>
                                <p:cTn id="14" presetID="10" presetClass="entr" presetSubtype="0" fill="hold" nodeType="withEffect">
                                  <p:stCondLst>
                                    <p:cond delay="0"/>
                                  </p:stCondLst>
                                  <p:childTnLst>
                                    <p:set>
                                      <p:cBhvr>
                                        <p:cTn id="15" dur="1" fill="hold">
                                          <p:stCondLst>
                                            <p:cond delay="0"/>
                                          </p:stCondLst>
                                        </p:cTn>
                                        <p:tgtEl>
                                          <p:spTgt spid="336"/>
                                        </p:tgtEl>
                                        <p:attrNameLst>
                                          <p:attrName>style.visibility</p:attrName>
                                        </p:attrNameLst>
                                      </p:cBhvr>
                                      <p:to>
                                        <p:strVal val="visible"/>
                                      </p:to>
                                    </p:set>
                                    <p:animEffect transition="in" filter="fade">
                                      <p:cBhvr>
                                        <p:cTn id="16" dur="500"/>
                                        <p:tgtEl>
                                          <p:spTgt spid="336"/>
                                        </p:tgtEl>
                                      </p:cBhvr>
                                    </p:animEffect>
                                  </p:childTnLst>
                                </p:cTn>
                              </p:par>
                              <p:par>
                                <p:cTn id="17" presetID="10" presetClass="entr" presetSubtype="0" fill="hold" nodeType="withEffect">
                                  <p:stCondLst>
                                    <p:cond delay="0"/>
                                  </p:stCondLst>
                                  <p:childTnLst>
                                    <p:set>
                                      <p:cBhvr>
                                        <p:cTn id="18" dur="1" fill="hold">
                                          <p:stCondLst>
                                            <p:cond delay="0"/>
                                          </p:stCondLst>
                                        </p:cTn>
                                        <p:tgtEl>
                                          <p:spTgt spid="337"/>
                                        </p:tgtEl>
                                        <p:attrNameLst>
                                          <p:attrName>style.visibility</p:attrName>
                                        </p:attrNameLst>
                                      </p:cBhvr>
                                      <p:to>
                                        <p:strVal val="visible"/>
                                      </p:to>
                                    </p:set>
                                    <p:animEffect transition="in" filter="fade">
                                      <p:cBhvr>
                                        <p:cTn id="19" dur="500"/>
                                        <p:tgtEl>
                                          <p:spTgt spid="337"/>
                                        </p:tgtEl>
                                      </p:cBhvr>
                                    </p:animEffect>
                                  </p:childTnLst>
                                </p:cTn>
                              </p:par>
                              <p:par>
                                <p:cTn id="20" presetID="10" presetClass="entr" presetSubtype="0" fill="hold" nodeType="withEffect">
                                  <p:stCondLst>
                                    <p:cond delay="0"/>
                                  </p:stCondLst>
                                  <p:childTnLst>
                                    <p:set>
                                      <p:cBhvr>
                                        <p:cTn id="21" dur="1" fill="hold">
                                          <p:stCondLst>
                                            <p:cond delay="0"/>
                                          </p:stCondLst>
                                        </p:cTn>
                                        <p:tgtEl>
                                          <p:spTgt spid="340"/>
                                        </p:tgtEl>
                                        <p:attrNameLst>
                                          <p:attrName>style.visibility</p:attrName>
                                        </p:attrNameLst>
                                      </p:cBhvr>
                                      <p:to>
                                        <p:strVal val="visible"/>
                                      </p:to>
                                    </p:set>
                                    <p:animEffect transition="in" filter="fade">
                                      <p:cBhvr>
                                        <p:cTn id="22" dur="500"/>
                                        <p:tgtEl>
                                          <p:spTgt spid="340"/>
                                        </p:tgtEl>
                                      </p:cBhvr>
                                    </p:animEffect>
                                  </p:childTnLst>
                                </p:cTn>
                              </p:par>
                              <p:par>
                                <p:cTn id="23" presetID="10" presetClass="entr" presetSubtype="0" fill="hold" nodeType="withEffect">
                                  <p:stCondLst>
                                    <p:cond delay="0"/>
                                  </p:stCondLst>
                                  <p:childTnLst>
                                    <p:set>
                                      <p:cBhvr>
                                        <p:cTn id="24" dur="1" fill="hold">
                                          <p:stCondLst>
                                            <p:cond delay="0"/>
                                          </p:stCondLst>
                                        </p:cTn>
                                        <p:tgtEl>
                                          <p:spTgt spid="345"/>
                                        </p:tgtEl>
                                        <p:attrNameLst>
                                          <p:attrName>style.visibility</p:attrName>
                                        </p:attrNameLst>
                                      </p:cBhvr>
                                      <p:to>
                                        <p:strVal val="visible"/>
                                      </p:to>
                                    </p:set>
                                    <p:animEffect transition="in" filter="fade">
                                      <p:cBhvr>
                                        <p:cTn id="25" dur="500"/>
                                        <p:tgtEl>
                                          <p:spTgt spid="345"/>
                                        </p:tgtEl>
                                      </p:cBhvr>
                                    </p:animEffect>
                                  </p:childTnLst>
                                </p:cTn>
                              </p:par>
                              <p:par>
                                <p:cTn id="26" presetID="10" presetClass="entr" presetSubtype="0" fill="hold" nodeType="withEffect">
                                  <p:stCondLst>
                                    <p:cond delay="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1" presetClass="entr" presetSubtype="0" fill="hold" nodeType="withEffect">
                                  <p:stCondLst>
                                    <p:cond delay="0"/>
                                  </p:stCondLst>
                                  <p:childTnLst>
                                    <p:set>
                                      <p:cBhvr>
                                        <p:cTn id="30" dur="1" fill="hold">
                                          <p:stCondLst>
                                            <p:cond delay="0"/>
                                          </p:stCondLst>
                                        </p:cTn>
                                        <p:tgtEl>
                                          <p:spTgt spid="38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35"/>
                                        </p:tgtEl>
                                        <p:attrNameLst>
                                          <p:attrName>style.visibility</p:attrName>
                                        </p:attrNameLst>
                                      </p:cBhvr>
                                      <p:to>
                                        <p:strVal val="visible"/>
                                      </p:to>
                                    </p:set>
                                    <p:animEffect transition="in" filter="fade">
                                      <p:cBhvr>
                                        <p:cTn id="35" dur="500"/>
                                        <p:tgtEl>
                                          <p:spTgt spid="3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64"/>
                                        </p:tgtEl>
                                        <p:attrNameLst>
                                          <p:attrName>style.visibility</p:attrName>
                                        </p:attrNameLst>
                                      </p:cBhvr>
                                      <p:to>
                                        <p:strVal val="visible"/>
                                      </p:to>
                                    </p:set>
                                    <p:animEffect transition="in" filter="fade">
                                      <p:cBhvr>
                                        <p:cTn id="38" dur="500"/>
                                        <p:tgtEl>
                                          <p:spTgt spid="36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5"/>
                                        </p:tgtEl>
                                        <p:attrNameLst>
                                          <p:attrName>style.visibility</p:attrName>
                                        </p:attrNameLst>
                                      </p:cBhvr>
                                      <p:to>
                                        <p:strVal val="visible"/>
                                      </p:to>
                                    </p:set>
                                    <p:animEffect transition="in" filter="fade">
                                      <p:cBhvr>
                                        <p:cTn id="41" dur="500"/>
                                        <p:tgtEl>
                                          <p:spTgt spid="365"/>
                                        </p:tgtEl>
                                      </p:cBhvr>
                                    </p:animEffect>
                                  </p:childTnLst>
                                </p:cTn>
                              </p:par>
                              <p:par>
                                <p:cTn id="42" presetID="1" presetClass="entr" presetSubtype="0" fill="hold" nodeType="withEffect">
                                  <p:stCondLst>
                                    <p:cond delay="0"/>
                                  </p:stCondLst>
                                  <p:childTnLst>
                                    <p:set>
                                      <p:cBhvr>
                                        <p:cTn id="43" dur="1" fill="hold">
                                          <p:stCondLst>
                                            <p:cond delay="0"/>
                                          </p:stCondLst>
                                        </p:cTn>
                                        <p:tgtEl>
                                          <p:spTgt spid="389"/>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15"/>
                                        </p:tgtEl>
                                        <p:attrNameLst>
                                          <p:attrName>style.visibility</p:attrName>
                                        </p:attrNameLst>
                                      </p:cBhvr>
                                      <p:to>
                                        <p:strVal val="visible"/>
                                      </p:to>
                                    </p:set>
                                    <p:animEffect transition="in" filter="fade">
                                      <p:cBhvr>
                                        <p:cTn id="48" dur="500"/>
                                        <p:tgtEl>
                                          <p:spTgt spid="41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66"/>
                                        </p:tgtEl>
                                        <p:attrNameLst>
                                          <p:attrName>style.visibility</p:attrName>
                                        </p:attrNameLst>
                                      </p:cBhvr>
                                      <p:to>
                                        <p:strVal val="visible"/>
                                      </p:to>
                                    </p:set>
                                    <p:animEffect transition="in" filter="fade">
                                      <p:cBhvr>
                                        <p:cTn id="51" dur="500"/>
                                        <p:tgtEl>
                                          <p:spTgt spid="36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67"/>
                                        </p:tgtEl>
                                        <p:attrNameLst>
                                          <p:attrName>style.visibility</p:attrName>
                                        </p:attrNameLst>
                                      </p:cBhvr>
                                      <p:to>
                                        <p:strVal val="visible"/>
                                      </p:to>
                                    </p:set>
                                    <p:animEffect transition="in" filter="fade">
                                      <p:cBhvr>
                                        <p:cTn id="54" dur="500"/>
                                        <p:tgtEl>
                                          <p:spTgt spid="367"/>
                                        </p:tgtEl>
                                      </p:cBhvr>
                                    </p:animEffect>
                                  </p:childTnLst>
                                </p:cTn>
                              </p:par>
                              <p:par>
                                <p:cTn id="55" presetID="1" presetClass="entr" presetSubtype="0" fill="hold" nodeType="withEffect">
                                  <p:stCondLst>
                                    <p:cond delay="0"/>
                                  </p:stCondLst>
                                  <p:childTnLst>
                                    <p:set>
                                      <p:cBhvr>
                                        <p:cTn id="56" dur="1" fill="hold">
                                          <p:stCondLst>
                                            <p:cond delay="0"/>
                                          </p:stCondLst>
                                        </p:cTn>
                                        <p:tgtEl>
                                          <p:spTgt spid="39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21"/>
                                        </p:tgtEl>
                                        <p:attrNameLst>
                                          <p:attrName>style.visibility</p:attrName>
                                        </p:attrNameLst>
                                      </p:cBhvr>
                                      <p:to>
                                        <p:strVal val="visible"/>
                                      </p:to>
                                    </p:set>
                                    <p:animEffect transition="in" filter="fade">
                                      <p:cBhvr>
                                        <p:cTn id="61" dur="500"/>
                                        <p:tgtEl>
                                          <p:spTgt spid="42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68"/>
                                        </p:tgtEl>
                                        <p:attrNameLst>
                                          <p:attrName>style.visibility</p:attrName>
                                        </p:attrNameLst>
                                      </p:cBhvr>
                                      <p:to>
                                        <p:strVal val="visible"/>
                                      </p:to>
                                    </p:set>
                                    <p:animEffect transition="in" filter="fade">
                                      <p:cBhvr>
                                        <p:cTn id="64" dur="500"/>
                                        <p:tgtEl>
                                          <p:spTgt spid="36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69"/>
                                        </p:tgtEl>
                                        <p:attrNameLst>
                                          <p:attrName>style.visibility</p:attrName>
                                        </p:attrNameLst>
                                      </p:cBhvr>
                                      <p:to>
                                        <p:strVal val="visible"/>
                                      </p:to>
                                    </p:set>
                                    <p:animEffect transition="in" filter="fade">
                                      <p:cBhvr>
                                        <p:cTn id="67" dur="500"/>
                                        <p:tgtEl>
                                          <p:spTgt spid="369"/>
                                        </p:tgtEl>
                                      </p:cBhvr>
                                    </p:animEffect>
                                  </p:childTnLst>
                                </p:cTn>
                              </p:par>
                              <p:par>
                                <p:cTn id="68" presetID="10" presetClass="entr" presetSubtype="0" fill="hold" nodeType="withEffect">
                                  <p:stCondLst>
                                    <p:cond delay="0"/>
                                  </p:stCondLst>
                                  <p:childTnLst>
                                    <p:set>
                                      <p:cBhvr>
                                        <p:cTn id="69" dur="1" fill="hold">
                                          <p:stCondLst>
                                            <p:cond delay="0"/>
                                          </p:stCondLst>
                                        </p:cTn>
                                        <p:tgtEl>
                                          <p:spTgt spid="370"/>
                                        </p:tgtEl>
                                        <p:attrNameLst>
                                          <p:attrName>style.visibility</p:attrName>
                                        </p:attrNameLst>
                                      </p:cBhvr>
                                      <p:to>
                                        <p:strVal val="visible"/>
                                      </p:to>
                                    </p:set>
                                    <p:animEffect transition="in" filter="fade">
                                      <p:cBhvr>
                                        <p:cTn id="70" dur="500"/>
                                        <p:tgtEl>
                                          <p:spTgt spid="370"/>
                                        </p:tgtEl>
                                      </p:cBhvr>
                                    </p:animEffect>
                                  </p:childTnLst>
                                </p:cTn>
                              </p:par>
                              <p:par>
                                <p:cTn id="71" presetID="10" presetClass="entr" presetSubtype="0" fill="hold" nodeType="withEffect">
                                  <p:stCondLst>
                                    <p:cond delay="0"/>
                                  </p:stCondLst>
                                  <p:childTnLst>
                                    <p:set>
                                      <p:cBhvr>
                                        <p:cTn id="72" dur="1" fill="hold">
                                          <p:stCondLst>
                                            <p:cond delay="0"/>
                                          </p:stCondLst>
                                        </p:cTn>
                                        <p:tgtEl>
                                          <p:spTgt spid="96"/>
                                        </p:tgtEl>
                                        <p:attrNameLst>
                                          <p:attrName>style.visibility</p:attrName>
                                        </p:attrNameLst>
                                      </p:cBhvr>
                                      <p:to>
                                        <p:strVal val="visible"/>
                                      </p:to>
                                    </p:set>
                                    <p:animEffect transition="in" filter="fade">
                                      <p:cBhvr>
                                        <p:cTn id="73" dur="500"/>
                                        <p:tgtEl>
                                          <p:spTgt spid="96"/>
                                        </p:tgtEl>
                                      </p:cBhvr>
                                    </p:animEffect>
                                  </p:childTnLst>
                                </p:cTn>
                              </p:par>
                              <p:par>
                                <p:cTn id="74" presetID="1" presetClass="entr" presetSubtype="0" fill="hold" nodeType="withEffect">
                                  <p:stCondLst>
                                    <p:cond delay="0"/>
                                  </p:stCondLst>
                                  <p:childTnLst>
                                    <p:set>
                                      <p:cBhvr>
                                        <p:cTn id="75" dur="1" fill="hold">
                                          <p:stCondLst>
                                            <p:cond delay="0"/>
                                          </p:stCondLst>
                                        </p:cTn>
                                        <p:tgtEl>
                                          <p:spTgt spid="39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76"/>
                                        </p:tgtEl>
                                        <p:attrNameLst>
                                          <p:attrName>style.visibility</p:attrName>
                                        </p:attrNameLst>
                                      </p:cBhvr>
                                      <p:to>
                                        <p:strVal val="visible"/>
                                      </p:to>
                                    </p:set>
                                    <p:animEffect transition="in" filter="fade">
                                      <p:cBhvr>
                                        <p:cTn id="80" dur="500"/>
                                        <p:tgtEl>
                                          <p:spTgt spid="37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17"/>
                                        </p:tgtEl>
                                        <p:attrNameLst>
                                          <p:attrName>style.visibility</p:attrName>
                                        </p:attrNameLst>
                                      </p:cBhvr>
                                      <p:to>
                                        <p:strVal val="visible"/>
                                      </p:to>
                                    </p:set>
                                    <p:animEffect transition="in" filter="fade">
                                      <p:cBhvr>
                                        <p:cTn id="83" dur="500"/>
                                        <p:tgtEl>
                                          <p:spTgt spid="417"/>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79"/>
                                        </p:tgtEl>
                                        <p:attrNameLst>
                                          <p:attrName>style.visibility</p:attrName>
                                        </p:attrNameLst>
                                      </p:cBhvr>
                                      <p:to>
                                        <p:strVal val="visible"/>
                                      </p:to>
                                    </p:set>
                                    <p:animEffect transition="in" filter="fade">
                                      <p:cBhvr>
                                        <p:cTn id="86" dur="500"/>
                                        <p:tgtEl>
                                          <p:spTgt spid="37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78"/>
                                        </p:tgtEl>
                                        <p:attrNameLst>
                                          <p:attrName>style.visibility</p:attrName>
                                        </p:attrNameLst>
                                      </p:cBhvr>
                                      <p:to>
                                        <p:strVal val="visible"/>
                                      </p:to>
                                    </p:set>
                                    <p:animEffect transition="in" filter="fade">
                                      <p:cBhvr>
                                        <p:cTn id="89" dur="500"/>
                                        <p:tgtEl>
                                          <p:spTgt spid="37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77"/>
                                        </p:tgtEl>
                                        <p:attrNameLst>
                                          <p:attrName>style.visibility</p:attrName>
                                        </p:attrNameLst>
                                      </p:cBhvr>
                                      <p:to>
                                        <p:strVal val="visible"/>
                                      </p:to>
                                    </p:set>
                                    <p:animEffect transition="in" filter="fade">
                                      <p:cBhvr>
                                        <p:cTn id="92" dur="500"/>
                                        <p:tgtEl>
                                          <p:spTgt spid="377"/>
                                        </p:tgtEl>
                                      </p:cBhvr>
                                    </p:animEffect>
                                  </p:childTnLst>
                                </p:cTn>
                              </p:par>
                              <p:par>
                                <p:cTn id="93" presetID="1" presetClass="entr" presetSubtype="0" fill="hold" nodeType="withEffect">
                                  <p:stCondLst>
                                    <p:cond delay="0"/>
                                  </p:stCondLst>
                                  <p:childTnLst>
                                    <p:set>
                                      <p:cBhvr>
                                        <p:cTn id="94" dur="1" fill="hold">
                                          <p:stCondLst>
                                            <p:cond delay="0"/>
                                          </p:stCondLst>
                                        </p:cTn>
                                        <p:tgtEl>
                                          <p:spTgt spid="398"/>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418"/>
                                        </p:tgtEl>
                                        <p:attrNameLst>
                                          <p:attrName>style.visibility</p:attrName>
                                        </p:attrNameLst>
                                      </p:cBhvr>
                                      <p:to>
                                        <p:strVal val="visible"/>
                                      </p:to>
                                    </p:set>
                                    <p:animEffect transition="in" filter="fade">
                                      <p:cBhvr>
                                        <p:cTn id="99" dur="500"/>
                                        <p:tgtEl>
                                          <p:spTgt spid="418"/>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11"/>
                                        </p:tgtEl>
                                        <p:attrNameLst>
                                          <p:attrName>style.visibility</p:attrName>
                                        </p:attrNameLst>
                                      </p:cBhvr>
                                      <p:to>
                                        <p:strVal val="visible"/>
                                      </p:to>
                                    </p:set>
                                    <p:animEffect transition="in" filter="fade">
                                      <p:cBhvr>
                                        <p:cTn id="102" dur="500"/>
                                        <p:tgtEl>
                                          <p:spTgt spid="41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81"/>
                                        </p:tgtEl>
                                        <p:attrNameLst>
                                          <p:attrName>style.visibility</p:attrName>
                                        </p:attrNameLst>
                                      </p:cBhvr>
                                      <p:to>
                                        <p:strVal val="visible"/>
                                      </p:to>
                                    </p:set>
                                    <p:animEffect transition="in" filter="fade">
                                      <p:cBhvr>
                                        <p:cTn id="105" dur="500"/>
                                        <p:tgtEl>
                                          <p:spTgt spid="381"/>
                                        </p:tgtEl>
                                      </p:cBhvr>
                                    </p:animEffect>
                                  </p:childTnLst>
                                </p:cTn>
                              </p:par>
                              <p:par>
                                <p:cTn id="106" presetID="10" presetClass="entr" presetSubtype="0" fill="hold" nodeType="withEffect">
                                  <p:stCondLst>
                                    <p:cond delay="0"/>
                                  </p:stCondLst>
                                  <p:childTnLst>
                                    <p:set>
                                      <p:cBhvr>
                                        <p:cTn id="107" dur="1" fill="hold">
                                          <p:stCondLst>
                                            <p:cond delay="0"/>
                                          </p:stCondLst>
                                        </p:cTn>
                                        <p:tgtEl>
                                          <p:spTgt spid="380"/>
                                        </p:tgtEl>
                                        <p:attrNameLst>
                                          <p:attrName>style.visibility</p:attrName>
                                        </p:attrNameLst>
                                      </p:cBhvr>
                                      <p:to>
                                        <p:strVal val="visible"/>
                                      </p:to>
                                    </p:set>
                                    <p:animEffect transition="in" filter="fade">
                                      <p:cBhvr>
                                        <p:cTn id="108" dur="500"/>
                                        <p:tgtEl>
                                          <p:spTgt spid="38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416"/>
                                        </p:tgtEl>
                                        <p:attrNameLst>
                                          <p:attrName>style.visibility</p:attrName>
                                        </p:attrNameLst>
                                      </p:cBhvr>
                                      <p:to>
                                        <p:strVal val="visible"/>
                                      </p:to>
                                    </p:set>
                                    <p:animEffect transition="in" filter="fade">
                                      <p:cBhvr>
                                        <p:cTn id="111" dur="500"/>
                                        <p:tgtEl>
                                          <p:spTgt spid="416"/>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422"/>
                                        </p:tgtEl>
                                        <p:attrNameLst>
                                          <p:attrName>style.visibility</p:attrName>
                                        </p:attrNameLst>
                                      </p:cBhvr>
                                      <p:to>
                                        <p:strVal val="visible"/>
                                      </p:to>
                                    </p:set>
                                    <p:animEffect transition="in" filter="fade">
                                      <p:cBhvr>
                                        <p:cTn id="114" dur="500"/>
                                        <p:tgtEl>
                                          <p:spTgt spid="422"/>
                                        </p:tgtEl>
                                      </p:cBhvr>
                                    </p:animEffect>
                                  </p:childTnLst>
                                </p:cTn>
                              </p:par>
                              <p:par>
                                <p:cTn id="115" presetID="1" presetClass="entr" presetSubtype="0" fill="hold" nodeType="withEffect">
                                  <p:stCondLst>
                                    <p:cond delay="0"/>
                                  </p:stCondLst>
                                  <p:childTnLst>
                                    <p:set>
                                      <p:cBhvr>
                                        <p:cTn id="116" dur="1" fill="hold">
                                          <p:stCondLst>
                                            <p:cond delay="0"/>
                                          </p:stCondLst>
                                        </p:cTn>
                                        <p:tgtEl>
                                          <p:spTgt spid="401"/>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419"/>
                                        </p:tgtEl>
                                        <p:attrNameLst>
                                          <p:attrName>style.visibility</p:attrName>
                                        </p:attrNameLst>
                                      </p:cBhvr>
                                      <p:to>
                                        <p:strVal val="visible"/>
                                      </p:to>
                                    </p:set>
                                    <p:animEffect transition="in" filter="fade">
                                      <p:cBhvr>
                                        <p:cTn id="121" dur="500"/>
                                        <p:tgtEl>
                                          <p:spTgt spid="419"/>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410"/>
                                        </p:tgtEl>
                                        <p:attrNameLst>
                                          <p:attrName>style.visibility</p:attrName>
                                        </p:attrNameLst>
                                      </p:cBhvr>
                                      <p:to>
                                        <p:strVal val="visible"/>
                                      </p:to>
                                    </p:set>
                                    <p:animEffect transition="in" filter="fade">
                                      <p:cBhvr>
                                        <p:cTn id="124" dur="500"/>
                                        <p:tgtEl>
                                          <p:spTgt spid="410"/>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385"/>
                                        </p:tgtEl>
                                        <p:attrNameLst>
                                          <p:attrName>style.visibility</p:attrName>
                                        </p:attrNameLst>
                                      </p:cBhvr>
                                      <p:to>
                                        <p:strVal val="visible"/>
                                      </p:to>
                                    </p:set>
                                    <p:animEffect transition="in" filter="fade">
                                      <p:cBhvr>
                                        <p:cTn id="127" dur="500"/>
                                        <p:tgtEl>
                                          <p:spTgt spid="385"/>
                                        </p:tgtEl>
                                      </p:cBhvr>
                                    </p:animEffect>
                                  </p:childTnLst>
                                </p:cTn>
                              </p:par>
                              <p:par>
                                <p:cTn id="128" presetID="10" presetClass="entr" presetSubtype="0" fill="hold" nodeType="withEffect">
                                  <p:stCondLst>
                                    <p:cond delay="0"/>
                                  </p:stCondLst>
                                  <p:childTnLst>
                                    <p:set>
                                      <p:cBhvr>
                                        <p:cTn id="129" dur="1" fill="hold">
                                          <p:stCondLst>
                                            <p:cond delay="0"/>
                                          </p:stCondLst>
                                        </p:cTn>
                                        <p:tgtEl>
                                          <p:spTgt spid="3"/>
                                        </p:tgtEl>
                                        <p:attrNameLst>
                                          <p:attrName>style.visibility</p:attrName>
                                        </p:attrNameLst>
                                      </p:cBhvr>
                                      <p:to>
                                        <p:strVal val="visible"/>
                                      </p:to>
                                    </p:set>
                                    <p:animEffect transition="in" filter="fade">
                                      <p:cBhvr>
                                        <p:cTn id="130" dur="500"/>
                                        <p:tgtEl>
                                          <p:spTgt spid="3"/>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382"/>
                                        </p:tgtEl>
                                        <p:attrNameLst>
                                          <p:attrName>style.visibility</p:attrName>
                                        </p:attrNameLst>
                                      </p:cBhvr>
                                      <p:to>
                                        <p:strVal val="visible"/>
                                      </p:to>
                                    </p:set>
                                    <p:animEffect transition="in" filter="fade">
                                      <p:cBhvr>
                                        <p:cTn id="133" dur="500"/>
                                        <p:tgtEl>
                                          <p:spTgt spid="382"/>
                                        </p:tgtEl>
                                      </p:cBhvr>
                                    </p:animEffect>
                                  </p:childTnLst>
                                </p:cTn>
                              </p:par>
                              <p:par>
                                <p:cTn id="134" presetID="1" presetClass="entr" presetSubtype="0" fill="hold" nodeType="withEffect">
                                  <p:stCondLst>
                                    <p:cond delay="0"/>
                                  </p:stCondLst>
                                  <p:childTnLst>
                                    <p:set>
                                      <p:cBhvr>
                                        <p:cTn id="135" dur="1" fill="hold">
                                          <p:stCondLst>
                                            <p:cond delay="0"/>
                                          </p:stCondLst>
                                        </p:cTn>
                                        <p:tgtEl>
                                          <p:spTgt spid="404"/>
                                        </p:tgtEl>
                                        <p:attrNameLst>
                                          <p:attrName>style.visibility</p:attrName>
                                        </p:attrNameLst>
                                      </p:cBhvr>
                                      <p:to>
                                        <p:strVal val="visible"/>
                                      </p:to>
                                    </p:se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412"/>
                                        </p:tgtEl>
                                        <p:attrNameLst>
                                          <p:attrName>style.visibility</p:attrName>
                                        </p:attrNameLst>
                                      </p:cBhvr>
                                      <p:to>
                                        <p:strVal val="visible"/>
                                      </p:to>
                                    </p:set>
                                    <p:animEffect transition="in" filter="fade">
                                      <p:cBhvr>
                                        <p:cTn id="140" dur="500"/>
                                        <p:tgtEl>
                                          <p:spTgt spid="412"/>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414"/>
                                        </p:tgtEl>
                                        <p:attrNameLst>
                                          <p:attrName>style.visibility</p:attrName>
                                        </p:attrNameLst>
                                      </p:cBhvr>
                                      <p:to>
                                        <p:strVal val="visible"/>
                                      </p:to>
                                    </p:set>
                                    <p:animEffect transition="in" filter="fade">
                                      <p:cBhvr>
                                        <p:cTn id="143" dur="500"/>
                                        <p:tgtEl>
                                          <p:spTgt spid="414"/>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420"/>
                                        </p:tgtEl>
                                        <p:attrNameLst>
                                          <p:attrName>style.visibility</p:attrName>
                                        </p:attrNameLst>
                                      </p:cBhvr>
                                      <p:to>
                                        <p:strVal val="visible"/>
                                      </p:to>
                                    </p:set>
                                    <p:animEffect transition="in" filter="fade">
                                      <p:cBhvr>
                                        <p:cTn id="146" dur="500"/>
                                        <p:tgtEl>
                                          <p:spTgt spid="420"/>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413"/>
                                        </p:tgtEl>
                                        <p:attrNameLst>
                                          <p:attrName>style.visibility</p:attrName>
                                        </p:attrNameLst>
                                      </p:cBhvr>
                                      <p:to>
                                        <p:strVal val="visible"/>
                                      </p:to>
                                    </p:set>
                                    <p:animEffect transition="in" filter="fade">
                                      <p:cBhvr>
                                        <p:cTn id="149" dur="500"/>
                                        <p:tgtEl>
                                          <p:spTgt spid="413"/>
                                        </p:tgtEl>
                                      </p:cBhvr>
                                    </p:animEffect>
                                  </p:childTnLst>
                                </p:cTn>
                              </p:par>
                              <p:par>
                                <p:cTn id="150" presetID="1" presetClass="entr" presetSubtype="0" fill="hold" nodeType="withEffect">
                                  <p:stCondLst>
                                    <p:cond delay="0"/>
                                  </p:stCondLst>
                                  <p:childTnLst>
                                    <p:set>
                                      <p:cBhvr>
                                        <p:cTn id="151" dur="1" fill="hold">
                                          <p:stCondLst>
                                            <p:cond delay="0"/>
                                          </p:stCondLst>
                                        </p:cTn>
                                        <p:tgtEl>
                                          <p:spTgt spid="4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2" grpId="0"/>
      <p:bldP spid="333" grpId="0" animBg="1"/>
      <p:bldP spid="334" grpId="0" animBg="1"/>
      <p:bldP spid="364" grpId="0" animBg="1"/>
      <p:bldP spid="365" grpId="0"/>
      <p:bldP spid="366" grpId="0" animBg="1"/>
      <p:bldP spid="367" grpId="0"/>
      <p:bldP spid="368" grpId="0" animBg="1"/>
      <p:bldP spid="369" grpId="0"/>
      <p:bldP spid="377" grpId="0"/>
      <p:bldP spid="378" grpId="0"/>
      <p:bldP spid="379" grpId="0" animBg="1"/>
      <p:bldP spid="381" grpId="0"/>
      <p:bldP spid="382" grpId="0"/>
      <p:bldP spid="385" grpId="0"/>
      <p:bldP spid="410" grpId="0" animBg="1"/>
      <p:bldP spid="411" grpId="0" animBg="1"/>
      <p:bldP spid="413" grpId="0"/>
      <p:bldP spid="414" grpId="0" animBg="1"/>
      <p:bldP spid="415" grpId="0" animBg="1"/>
      <p:bldP spid="416" grpId="0"/>
      <p:bldP spid="417" grpId="0" animBg="1"/>
      <p:bldP spid="418" grpId="0" animBg="1"/>
      <p:bldP spid="419" grpId="0" animBg="1"/>
      <p:bldP spid="420" grpId="0" animBg="1"/>
      <p:bldP spid="421" grpId="0" animBg="1"/>
      <p:bldP spid="422" grpId="0" animBg="1"/>
    </p:bld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a:t>Wrap-Up:</a:t>
            </a:r>
            <a:br>
              <a:rPr lang="de-DE"/>
            </a:br>
            <a:r>
              <a:rPr lang="de-DE"/>
              <a:t>Adoption</a:t>
            </a:r>
            <a:br>
              <a:rPr lang="de-DE"/>
            </a:br>
            <a:r>
              <a:rPr lang="de-DE"/>
              <a:t>Roadmap</a:t>
            </a:r>
          </a:p>
        </p:txBody>
      </p:sp>
      <p:pic>
        <p:nvPicPr>
          <p:cNvPr id="7" name="Grafik 6">
            <a:extLst>
              <a:ext uri="{FF2B5EF4-FFF2-40B4-BE49-F238E27FC236}">
                <a16:creationId xmlns:a16="http://schemas.microsoft.com/office/drawing/2014/main" id="{E372CCCD-2F84-453B-AD03-7A1A368EC8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1480" y="100041"/>
            <a:ext cx="6525421" cy="6657918"/>
          </a:xfrm>
          <a:prstGeom prst="rect">
            <a:avLst/>
          </a:prstGeom>
        </p:spPr>
      </p:pic>
    </p:spTree>
    <p:extLst>
      <p:ext uri="{BB962C8B-B14F-4D97-AF65-F5344CB8AC3E}">
        <p14:creationId xmlns:p14="http://schemas.microsoft.com/office/powerpoint/2010/main" val="416899050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were the main learnings?</a:t>
            </a:r>
          </a:p>
        </p:txBody>
      </p:sp>
    </p:spTree>
    <p:extLst>
      <p:ext uri="{BB962C8B-B14F-4D97-AF65-F5344CB8AC3E}">
        <p14:creationId xmlns:p14="http://schemas.microsoft.com/office/powerpoint/2010/main" val="3830672810"/>
      </p:ext>
    </p:extLst>
  </p:cSld>
  <p:clrMapOvr>
    <a:masterClrMapping/>
  </p:clrMapOvr>
  <mc:AlternateContent xmlns:mc="http://schemas.openxmlformats.org/markup-compatibility/2006" xmlns:p14="http://schemas.microsoft.com/office/powerpoint/2010/main">
    <mc:Choice Requires="p14">
      <p:transition spd="med" p14:dur="700" advTm="53457">
        <p:fade/>
      </p:transition>
    </mc:Choice>
    <mc:Fallback xmlns="">
      <p:transition spd="med" advTm="53457">
        <p:fade/>
      </p:transition>
    </mc:Fallback>
  </mc:AlternateContent>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819749-3156-4AF6-B681-3EC4D271118A}"/>
              </a:ext>
            </a:extLst>
          </p:cNvPr>
          <p:cNvSpPr>
            <a:spLocks noGrp="1"/>
          </p:cNvSpPr>
          <p:nvPr>
            <p:ph type="title"/>
          </p:nvPr>
        </p:nvSpPr>
        <p:spPr/>
        <p:txBody>
          <a:bodyPr/>
          <a:lstStyle/>
          <a:p>
            <a:r>
              <a:rPr lang="de-DE"/>
              <a:t>Next </a:t>
            </a:r>
            <a:r>
              <a:rPr lang="de-DE" err="1"/>
              <a:t>Steps</a:t>
            </a:r>
            <a:r>
              <a:rPr lang="de-DE"/>
              <a:t> in Adoption</a:t>
            </a:r>
            <a:endParaRPr lang="en-US"/>
          </a:p>
        </p:txBody>
      </p:sp>
      <p:sp>
        <p:nvSpPr>
          <p:cNvPr id="3" name="Rectangle 12">
            <a:extLst>
              <a:ext uri="{FF2B5EF4-FFF2-40B4-BE49-F238E27FC236}">
                <a16:creationId xmlns:a16="http://schemas.microsoft.com/office/drawing/2014/main" id="{16272EDD-EFE6-4950-B140-AB84F538E36E}"/>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a:t>
            </a:r>
          </a:p>
        </p:txBody>
      </p:sp>
      <p:grpSp>
        <p:nvGrpSpPr>
          <p:cNvPr id="4" name="Group 17">
            <a:extLst>
              <a:ext uri="{FF2B5EF4-FFF2-40B4-BE49-F238E27FC236}">
                <a16:creationId xmlns:a16="http://schemas.microsoft.com/office/drawing/2014/main" id="{7512B1B6-21A0-4F02-AB40-509DDA0A15D5}"/>
              </a:ext>
            </a:extLst>
          </p:cNvPr>
          <p:cNvGrpSpPr/>
          <p:nvPr/>
        </p:nvGrpSpPr>
        <p:grpSpPr>
          <a:xfrm>
            <a:off x="3202514" y="4778642"/>
            <a:ext cx="2747302" cy="738690"/>
            <a:chOff x="5954577" y="5278852"/>
            <a:chExt cx="2356024" cy="738690"/>
          </a:xfrm>
        </p:grpSpPr>
        <p:sp>
          <p:nvSpPr>
            <p:cNvPr id="5" name="Speech Bubble: Rectangle 18">
              <a:extLst>
                <a:ext uri="{FF2B5EF4-FFF2-40B4-BE49-F238E27FC236}">
                  <a16:creationId xmlns:a16="http://schemas.microsoft.com/office/drawing/2014/main" id="{11E8B78E-7F77-4E80-A11D-0FB6695B1698}"/>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Rectangle 19">
              <a:extLst>
                <a:ext uri="{FF2B5EF4-FFF2-40B4-BE49-F238E27FC236}">
                  <a16:creationId xmlns:a16="http://schemas.microsoft.com/office/drawing/2014/main" id="{B7C82B2A-E811-4C7F-BD40-49F12E2BA59B}"/>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cumentation</a:t>
              </a:r>
            </a:p>
          </p:txBody>
        </p:sp>
      </p:grpSp>
      <p:sp>
        <p:nvSpPr>
          <p:cNvPr id="7" name="Circle: Hollow 22">
            <a:extLst>
              <a:ext uri="{FF2B5EF4-FFF2-40B4-BE49-F238E27FC236}">
                <a16:creationId xmlns:a16="http://schemas.microsoft.com/office/drawing/2014/main" id="{35CC4D2A-279B-49D6-9579-56DB4761C5D7}"/>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8" name="Group 27">
            <a:extLst>
              <a:ext uri="{FF2B5EF4-FFF2-40B4-BE49-F238E27FC236}">
                <a16:creationId xmlns:a16="http://schemas.microsoft.com/office/drawing/2014/main" id="{15E24498-10B4-4EFC-8F3D-12CF7345C497}"/>
              </a:ext>
            </a:extLst>
          </p:cNvPr>
          <p:cNvGrpSpPr/>
          <p:nvPr/>
        </p:nvGrpSpPr>
        <p:grpSpPr>
          <a:xfrm>
            <a:off x="8687482" y="4778642"/>
            <a:ext cx="2747302" cy="738690"/>
            <a:chOff x="5954577" y="5278852"/>
            <a:chExt cx="2356024" cy="738690"/>
          </a:xfrm>
        </p:grpSpPr>
        <p:sp>
          <p:nvSpPr>
            <p:cNvPr id="9" name="Speech Bubble: Rectangle 28">
              <a:extLst>
                <a:ext uri="{FF2B5EF4-FFF2-40B4-BE49-F238E27FC236}">
                  <a16:creationId xmlns:a16="http://schemas.microsoft.com/office/drawing/2014/main" id="{734AAFAB-1912-4B15-842C-A183AAD2CCC3}"/>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Rectangle 29">
              <a:extLst>
                <a:ext uri="{FF2B5EF4-FFF2-40B4-BE49-F238E27FC236}">
                  <a16:creationId xmlns:a16="http://schemas.microsoft.com/office/drawing/2014/main" id="{9D3415B2-A0F9-4AEF-80FB-A25C73546C77}"/>
                </a:ext>
              </a:extLst>
            </p:cNvPr>
            <p:cNvSpPr/>
            <p:nvPr/>
          </p:nvSpPr>
          <p:spPr>
            <a:xfrm>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Plan</a:t>
              </a:r>
            </a:p>
          </p:txBody>
        </p:sp>
      </p:grpSp>
      <p:grpSp>
        <p:nvGrpSpPr>
          <p:cNvPr id="11" name="Group 30">
            <a:extLst>
              <a:ext uri="{FF2B5EF4-FFF2-40B4-BE49-F238E27FC236}">
                <a16:creationId xmlns:a16="http://schemas.microsoft.com/office/drawing/2014/main" id="{D810A1F1-FCCA-4968-A17A-EB82CF5BEBE3}"/>
              </a:ext>
            </a:extLst>
          </p:cNvPr>
          <p:cNvGrpSpPr/>
          <p:nvPr/>
        </p:nvGrpSpPr>
        <p:grpSpPr>
          <a:xfrm flipV="1">
            <a:off x="460030" y="2029074"/>
            <a:ext cx="2747302" cy="738690"/>
            <a:chOff x="5954577" y="5278852"/>
            <a:chExt cx="2356024" cy="738690"/>
          </a:xfrm>
        </p:grpSpPr>
        <p:sp>
          <p:nvSpPr>
            <p:cNvPr id="12" name="Speech Bubble: Rectangle 31">
              <a:extLst>
                <a:ext uri="{FF2B5EF4-FFF2-40B4-BE49-F238E27FC236}">
                  <a16:creationId xmlns:a16="http://schemas.microsoft.com/office/drawing/2014/main" id="{B20C8A01-810A-444B-B7E3-1E040E66D5FD}"/>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Rectangle 32">
              <a:extLst>
                <a:ext uri="{FF2B5EF4-FFF2-40B4-BE49-F238E27FC236}">
                  <a16:creationId xmlns:a16="http://schemas.microsoft.com/office/drawing/2014/main" id="{AC108216-AC42-4626-B9B1-3761259AD9CA}"/>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orkshop</a:t>
              </a:r>
            </a:p>
          </p:txBody>
        </p:sp>
      </p:grpSp>
      <p:grpSp>
        <p:nvGrpSpPr>
          <p:cNvPr id="14" name="Group 34">
            <a:extLst>
              <a:ext uri="{FF2B5EF4-FFF2-40B4-BE49-F238E27FC236}">
                <a16:creationId xmlns:a16="http://schemas.microsoft.com/office/drawing/2014/main" id="{0ECD4456-5525-45E2-B835-E35E4ACECB33}"/>
              </a:ext>
            </a:extLst>
          </p:cNvPr>
          <p:cNvGrpSpPr/>
          <p:nvPr/>
        </p:nvGrpSpPr>
        <p:grpSpPr>
          <a:xfrm flipV="1">
            <a:off x="5944998" y="2029074"/>
            <a:ext cx="2747302" cy="738690"/>
            <a:chOff x="5954577" y="5278852"/>
            <a:chExt cx="2356024" cy="738690"/>
          </a:xfrm>
        </p:grpSpPr>
        <p:sp>
          <p:nvSpPr>
            <p:cNvPr id="15" name="Speech Bubble: Rectangle 35">
              <a:extLst>
                <a:ext uri="{FF2B5EF4-FFF2-40B4-BE49-F238E27FC236}">
                  <a16:creationId xmlns:a16="http://schemas.microsoft.com/office/drawing/2014/main" id="{192B2813-96D9-4A3D-B92C-EA41B103E2A9}"/>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Rectangle 36">
              <a:extLst>
                <a:ext uri="{FF2B5EF4-FFF2-40B4-BE49-F238E27FC236}">
                  <a16:creationId xmlns:a16="http://schemas.microsoft.com/office/drawing/2014/main" id="{BC2EA556-8F19-4CFE-B41A-EB0081B48F9B}"/>
                </a:ext>
              </a:extLst>
            </p:cNvPr>
            <p:cNvSpPr/>
            <p:nvPr/>
          </p:nvSpPr>
          <p:spPr>
            <a:xfrm flipV="1">
              <a:off x="5954577" y="5449913"/>
              <a:ext cx="2356024" cy="369332"/>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ollow-up Discussions</a:t>
              </a:r>
            </a:p>
          </p:txBody>
        </p:sp>
      </p:grpSp>
    </p:spTree>
    <p:extLst>
      <p:ext uri="{BB962C8B-B14F-4D97-AF65-F5344CB8AC3E}">
        <p14:creationId xmlns:p14="http://schemas.microsoft.com/office/powerpoint/2010/main" val="4293076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
        <p:nvSpPr>
          <p:cNvPr id="6" name="Titel 5">
            <a:extLst>
              <a:ext uri="{FF2B5EF4-FFF2-40B4-BE49-F238E27FC236}">
                <a16:creationId xmlns:a16="http://schemas.microsoft.com/office/drawing/2014/main" id="{109F0508-145B-4633-902C-A8EB41D04545}"/>
              </a:ext>
            </a:extLst>
          </p:cNvPr>
          <p:cNvSpPr>
            <a:spLocks noGrp="1"/>
          </p:cNvSpPr>
          <p:nvPr>
            <p:ph type="title"/>
          </p:nvPr>
        </p:nvSpPr>
        <p:spPr/>
        <p:txBody>
          <a:bodyPr/>
          <a:lstStyle/>
          <a:p>
            <a:r>
              <a:rPr lang="de-DE"/>
              <a:t>Adoption Framework - Output</a:t>
            </a:r>
          </a:p>
        </p:txBody>
      </p:sp>
    </p:spTree>
    <p:custDataLst>
      <p:tags r:id="rId1"/>
    </p:custDataLst>
    <p:extLst>
      <p:ext uri="{BB962C8B-B14F-4D97-AF65-F5344CB8AC3E}">
        <p14:creationId xmlns:p14="http://schemas.microsoft.com/office/powerpoint/2010/main" val="1281131488"/>
      </p:ext>
    </p:extLst>
  </p:cSld>
  <p:clrMapOvr>
    <a:masterClrMapping/>
  </p:clrMapOvr>
  <mc:AlternateContent xmlns:mc="http://schemas.openxmlformats.org/markup-compatibility/2006" xmlns:p14="http://schemas.microsoft.com/office/powerpoint/2010/main">
    <mc:Choice Requires="p14">
      <p:transition spd="med" p14:dur="700" advTm="47616">
        <p:fade/>
      </p:transition>
    </mc:Choice>
    <mc:Fallback xmlns="">
      <p:transition spd="med" advTm="47616">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C8A38-BA68-465C-83AF-92F7F1D45838}"/>
              </a:ext>
            </a:extLst>
          </p:cNvPr>
          <p:cNvSpPr>
            <a:spLocks noGrp="1"/>
          </p:cNvSpPr>
          <p:nvPr>
            <p:ph type="title"/>
          </p:nvPr>
        </p:nvSpPr>
        <p:spPr/>
        <p:txBody>
          <a:bodyPr/>
          <a:lstStyle/>
          <a:p>
            <a:r>
              <a:rPr lang="en-GB"/>
              <a:t>Envision – Key Learning</a:t>
            </a:r>
          </a:p>
        </p:txBody>
      </p:sp>
      <p:graphicFrame>
        <p:nvGraphicFramePr>
          <p:cNvPr id="4" name="Diagram 3"/>
          <p:cNvGraphicFramePr/>
          <p:nvPr/>
        </p:nvGraphicFramePr>
        <p:xfrm>
          <a:off x="270066" y="1189495"/>
          <a:ext cx="11651870" cy="24512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9260BC4D-D2E9-4FF5-9E95-08CD83CEAB3A}"/>
              </a:ext>
            </a:extLst>
          </p:cNvPr>
          <p:cNvGraphicFramePr/>
          <p:nvPr/>
        </p:nvGraphicFramePr>
        <p:xfrm>
          <a:off x="269241" y="3923147"/>
          <a:ext cx="11651870" cy="24512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3925052038"/>
      </p:ext>
    </p:extLst>
  </p:cSld>
  <p:clrMapOvr>
    <a:masterClrMapping/>
  </p:clrMapOvr>
  <mc:AlternateContent xmlns:mc="http://schemas.openxmlformats.org/markup-compatibility/2006" xmlns:p14="http://schemas.microsoft.com/office/powerpoint/2010/main">
    <mc:Choice Requires="p14">
      <p:transition spd="med" p14:dur="700" advTm="203511">
        <p:fade/>
      </p:transition>
    </mc:Choice>
    <mc:Fallback xmlns="">
      <p:transition spd="med" advTm="20351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AB960692-88E2-4F1E-8B0D-E3245F812F19}"/>
                                            </p:graphicEl>
                                          </p:spTgt>
                                        </p:tgtEl>
                                        <p:attrNameLst>
                                          <p:attrName>style.visibility</p:attrName>
                                        </p:attrNameLst>
                                      </p:cBhvr>
                                      <p:to>
                                        <p:strVal val="visible"/>
                                      </p:to>
                                    </p:set>
                                    <p:animEffect transition="in" filter="fade">
                                      <p:cBhvr>
                                        <p:cTn id="7" dur="500"/>
                                        <p:tgtEl>
                                          <p:spTgt spid="4">
                                            <p:graphicEl>
                                              <a:dgm id="{AB960692-88E2-4F1E-8B0D-E3245F812F1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93642A3F-CD30-4862-9676-1B5A1DE169E6}"/>
                                            </p:graphicEl>
                                          </p:spTgt>
                                        </p:tgtEl>
                                        <p:attrNameLst>
                                          <p:attrName>style.visibility</p:attrName>
                                        </p:attrNameLst>
                                      </p:cBhvr>
                                      <p:to>
                                        <p:strVal val="visible"/>
                                      </p:to>
                                    </p:set>
                                    <p:animEffect transition="in" filter="fade">
                                      <p:cBhvr>
                                        <p:cTn id="10" dur="500"/>
                                        <p:tgtEl>
                                          <p:spTgt spid="4">
                                            <p:graphicEl>
                                              <a:dgm id="{93642A3F-CD30-4862-9676-1B5A1DE169E6}"/>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BEE96E92-FF1B-4AB0-B443-65D128C9DCE1}"/>
                                            </p:graphicEl>
                                          </p:spTgt>
                                        </p:tgtEl>
                                        <p:attrNameLst>
                                          <p:attrName>style.visibility</p:attrName>
                                        </p:attrNameLst>
                                      </p:cBhvr>
                                      <p:to>
                                        <p:strVal val="visible"/>
                                      </p:to>
                                    </p:set>
                                    <p:animEffect transition="in" filter="fade">
                                      <p:cBhvr>
                                        <p:cTn id="13" dur="500"/>
                                        <p:tgtEl>
                                          <p:spTgt spid="4">
                                            <p:graphicEl>
                                              <a:dgm id="{BEE96E92-FF1B-4AB0-B443-65D128C9DCE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graphicEl>
                                              <a:dgm id="{EFBCECC8-CA55-4092-A1A4-48009678FB80}"/>
                                            </p:graphicEl>
                                          </p:spTgt>
                                        </p:tgtEl>
                                        <p:attrNameLst>
                                          <p:attrName>style.visibility</p:attrName>
                                        </p:attrNameLst>
                                      </p:cBhvr>
                                      <p:to>
                                        <p:strVal val="visible"/>
                                      </p:to>
                                    </p:set>
                                    <p:animEffect transition="in" filter="fade">
                                      <p:cBhvr>
                                        <p:cTn id="18" dur="500"/>
                                        <p:tgtEl>
                                          <p:spTgt spid="4">
                                            <p:graphicEl>
                                              <a:dgm id="{EFBCECC8-CA55-4092-A1A4-48009678FB8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graphicEl>
                                              <a:dgm id="{75F042FE-5A8E-4D45-8938-06486985E68B}"/>
                                            </p:graphicEl>
                                          </p:spTgt>
                                        </p:tgtEl>
                                        <p:attrNameLst>
                                          <p:attrName>style.visibility</p:attrName>
                                        </p:attrNameLst>
                                      </p:cBhvr>
                                      <p:to>
                                        <p:strVal val="visible"/>
                                      </p:to>
                                    </p:set>
                                    <p:animEffect transition="in" filter="fade">
                                      <p:cBhvr>
                                        <p:cTn id="21" dur="500"/>
                                        <p:tgtEl>
                                          <p:spTgt spid="4">
                                            <p:graphicEl>
                                              <a:dgm id="{75F042FE-5A8E-4D45-8938-06486985E68B}"/>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graphicEl>
                                              <a:dgm id="{04CD67E7-208D-46C4-AF0E-E35A6F865705}"/>
                                            </p:graphicEl>
                                          </p:spTgt>
                                        </p:tgtEl>
                                        <p:attrNameLst>
                                          <p:attrName>style.visibility</p:attrName>
                                        </p:attrNameLst>
                                      </p:cBhvr>
                                      <p:to>
                                        <p:strVal val="visible"/>
                                      </p:to>
                                    </p:set>
                                    <p:animEffect transition="in" filter="fade">
                                      <p:cBhvr>
                                        <p:cTn id="24" dur="500"/>
                                        <p:tgtEl>
                                          <p:spTgt spid="4">
                                            <p:graphicEl>
                                              <a:dgm id="{04CD67E7-208D-46C4-AF0E-E35A6F865705}"/>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graphicEl>
                                              <a:dgm id="{78FDE28F-AC5D-4145-AA52-F41BF12E4EFA}"/>
                                            </p:graphicEl>
                                          </p:spTgt>
                                        </p:tgtEl>
                                        <p:attrNameLst>
                                          <p:attrName>style.visibility</p:attrName>
                                        </p:attrNameLst>
                                      </p:cBhvr>
                                      <p:to>
                                        <p:strVal val="visible"/>
                                      </p:to>
                                    </p:set>
                                    <p:animEffect transition="in" filter="fade">
                                      <p:cBhvr>
                                        <p:cTn id="29" dur="500"/>
                                        <p:tgtEl>
                                          <p:spTgt spid="5">
                                            <p:graphicEl>
                                              <a:dgm id="{78FDE28F-AC5D-4145-AA52-F41BF12E4EFA}"/>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graphicEl>
                                              <a:dgm id="{12634C02-4855-4AD1-AAD1-1EA3418B8F0E}"/>
                                            </p:graphicEl>
                                          </p:spTgt>
                                        </p:tgtEl>
                                        <p:attrNameLst>
                                          <p:attrName>style.visibility</p:attrName>
                                        </p:attrNameLst>
                                      </p:cBhvr>
                                      <p:to>
                                        <p:strVal val="visible"/>
                                      </p:to>
                                    </p:set>
                                    <p:animEffect transition="in" filter="fade">
                                      <p:cBhvr>
                                        <p:cTn id="32" dur="500"/>
                                        <p:tgtEl>
                                          <p:spTgt spid="5">
                                            <p:graphicEl>
                                              <a:dgm id="{12634C02-4855-4AD1-AAD1-1EA3418B8F0E}"/>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graphicEl>
                                              <a:dgm id="{FAD3068B-D09B-4BE0-A02D-392F4ED9D523}"/>
                                            </p:graphicEl>
                                          </p:spTgt>
                                        </p:tgtEl>
                                        <p:attrNameLst>
                                          <p:attrName>style.visibility</p:attrName>
                                        </p:attrNameLst>
                                      </p:cBhvr>
                                      <p:to>
                                        <p:strVal val="visible"/>
                                      </p:to>
                                    </p:set>
                                    <p:animEffect transition="in" filter="fade">
                                      <p:cBhvr>
                                        <p:cTn id="35" dur="500"/>
                                        <p:tgtEl>
                                          <p:spTgt spid="5">
                                            <p:graphicEl>
                                              <a:dgm id="{FAD3068B-D09B-4BE0-A02D-392F4ED9D52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
                                            <p:graphicEl>
                                              <a:dgm id="{EE209DBE-9E58-4C16-AF70-D35331A374CB}"/>
                                            </p:graphicEl>
                                          </p:spTgt>
                                        </p:tgtEl>
                                        <p:attrNameLst>
                                          <p:attrName>style.visibility</p:attrName>
                                        </p:attrNameLst>
                                      </p:cBhvr>
                                      <p:to>
                                        <p:strVal val="visible"/>
                                      </p:to>
                                    </p:set>
                                    <p:animEffect transition="in" filter="fade">
                                      <p:cBhvr>
                                        <p:cTn id="40" dur="500"/>
                                        <p:tgtEl>
                                          <p:spTgt spid="5">
                                            <p:graphicEl>
                                              <a:dgm id="{EE209DBE-9E58-4C16-AF70-D35331A374C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
                                            <p:graphicEl>
                                              <a:dgm id="{4364D7B0-DF44-4ED5-9346-488877CA773E}"/>
                                            </p:graphicEl>
                                          </p:spTgt>
                                        </p:tgtEl>
                                        <p:attrNameLst>
                                          <p:attrName>style.visibility</p:attrName>
                                        </p:attrNameLst>
                                      </p:cBhvr>
                                      <p:to>
                                        <p:strVal val="visible"/>
                                      </p:to>
                                    </p:set>
                                    <p:animEffect transition="in" filter="fade">
                                      <p:cBhvr>
                                        <p:cTn id="43" dur="500"/>
                                        <p:tgtEl>
                                          <p:spTgt spid="5">
                                            <p:graphicEl>
                                              <a:dgm id="{4364D7B0-DF44-4ED5-9346-488877CA773E}"/>
                                            </p:graphic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
                                            <p:graphicEl>
                                              <a:dgm id="{3D5FE2AA-9340-4FF3-BB8B-A844B89298FD}"/>
                                            </p:graphicEl>
                                          </p:spTgt>
                                        </p:tgtEl>
                                        <p:attrNameLst>
                                          <p:attrName>style.visibility</p:attrName>
                                        </p:attrNameLst>
                                      </p:cBhvr>
                                      <p:to>
                                        <p:strVal val="visible"/>
                                      </p:to>
                                    </p:set>
                                    <p:animEffect transition="in" filter="fade">
                                      <p:cBhvr>
                                        <p:cTn id="46" dur="500"/>
                                        <p:tgtEl>
                                          <p:spTgt spid="5">
                                            <p:graphicEl>
                                              <a:dgm id="{3D5FE2AA-9340-4FF3-BB8B-A844B89298F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5" grpId="0">
        <p:bldSub>
          <a:bldDgm bld="one"/>
        </p:bldSub>
      </p:bldGraphic>
    </p:bldLst>
  </p:timing>
</p:sld>
</file>

<file path=ppt/slides/slide330.xml><?xml version="1.0" encoding="utf-8"?>
<p:sld xmlns:a="http://schemas.openxmlformats.org/drawingml/2006/main" xmlns:r="http://schemas.openxmlformats.org/officeDocument/2006/relationships" xmlns:p="http://schemas.openxmlformats.org/presentationml/2006/main" show="0">
  <p:cSld>
    <p:bg>
      <p:bgPr>
        <a:solidFill>
          <a:srgbClr val="F2C81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32269-2646-4E69-B292-44CEB2100E8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75436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0141222-C00D-4195-A541-7FB62A5BF742}"/>
              </a:ext>
            </a:extLst>
          </p:cNvPr>
          <p:cNvGrpSpPr>
            <a:grpSpLocks noChangeAspect="1"/>
          </p:cNvGrpSpPr>
          <p:nvPr/>
        </p:nvGrpSpPr>
        <p:grpSpPr>
          <a:xfrm>
            <a:off x="800831" y="2147521"/>
            <a:ext cx="3178551" cy="2844101"/>
            <a:chOff x="4381805" y="2147522"/>
            <a:chExt cx="3178551" cy="2844101"/>
          </a:xfrm>
        </p:grpSpPr>
        <p:sp>
          <p:nvSpPr>
            <p:cNvPr id="19" name="Oval 18">
              <a:extLst>
                <a:ext uri="{FF2B5EF4-FFF2-40B4-BE49-F238E27FC236}">
                  <a16:creationId xmlns:a16="http://schemas.microsoft.com/office/drawing/2014/main" id="{89AD4E4E-D78C-4944-9694-F4A0158C8AB2}"/>
                </a:ext>
              </a:extLst>
            </p:cNvPr>
            <p:cNvSpPr/>
            <p:nvPr/>
          </p:nvSpPr>
          <p:spPr>
            <a:xfrm>
              <a:off x="5001623" y="3010037"/>
              <a:ext cx="1938914" cy="1981586"/>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2" name="Rectangle 21" descr="Meeting">
              <a:extLst>
                <a:ext uri="{FF2B5EF4-FFF2-40B4-BE49-F238E27FC236}">
                  <a16:creationId xmlns:a16="http://schemas.microsoft.com/office/drawing/2014/main" id="{7D1EFF77-44A7-4C38-ACB6-64533D7C12B4}"/>
                </a:ext>
              </a:extLst>
            </p:cNvPr>
            <p:cNvSpPr/>
            <p:nvPr/>
          </p:nvSpPr>
          <p:spPr>
            <a:xfrm>
              <a:off x="5399903" y="3432342"/>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4" name="Freeform: Shape 23">
              <a:extLst>
                <a:ext uri="{FF2B5EF4-FFF2-40B4-BE49-F238E27FC236}">
                  <a16:creationId xmlns:a16="http://schemas.microsoft.com/office/drawing/2014/main" id="{17922DB8-82DA-4C15-B417-ADE340533101}"/>
                </a:ext>
              </a:extLst>
            </p:cNvPr>
            <p:cNvSpPr/>
            <p:nvPr/>
          </p:nvSpPr>
          <p:spPr>
            <a:xfrm>
              <a:off x="4381805" y="2147522"/>
              <a:ext cx="3178551"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34" name="Group 33">
            <a:extLst>
              <a:ext uri="{FF2B5EF4-FFF2-40B4-BE49-F238E27FC236}">
                <a16:creationId xmlns:a16="http://schemas.microsoft.com/office/drawing/2014/main" id="{04062C66-C362-4696-AAC8-CDCBFED8C75B}"/>
              </a:ext>
            </a:extLst>
          </p:cNvPr>
          <p:cNvGrpSpPr/>
          <p:nvPr/>
        </p:nvGrpSpPr>
        <p:grpSpPr>
          <a:xfrm>
            <a:off x="5198686" y="1693754"/>
            <a:ext cx="2097177" cy="1473901"/>
            <a:chOff x="5198686" y="1693754"/>
            <a:chExt cx="2097177" cy="1473901"/>
          </a:xfrm>
        </p:grpSpPr>
        <p:pic>
          <p:nvPicPr>
            <p:cNvPr id="15" name="Graphic 14" descr="Decision chart">
              <a:extLst>
                <a:ext uri="{FF2B5EF4-FFF2-40B4-BE49-F238E27FC236}">
                  <a16:creationId xmlns:a16="http://schemas.microsoft.com/office/drawing/2014/main" id="{CE35A16D-29B5-460E-A79C-E67B4ECF3C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06871" y="1693754"/>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5198686" y="2595191"/>
              <a:ext cx="2097177"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elect a Project</a:t>
              </a:r>
            </a:p>
          </p:txBody>
        </p:sp>
      </p:grpSp>
      <p:grpSp>
        <p:nvGrpSpPr>
          <p:cNvPr id="35" name="Group 34">
            <a:extLst>
              <a:ext uri="{FF2B5EF4-FFF2-40B4-BE49-F238E27FC236}">
                <a16:creationId xmlns:a16="http://schemas.microsoft.com/office/drawing/2014/main" id="{6D64B850-7CFB-4D24-8AC3-2C687B014F60}"/>
              </a:ext>
            </a:extLst>
          </p:cNvPr>
          <p:cNvGrpSpPr/>
          <p:nvPr/>
        </p:nvGrpSpPr>
        <p:grpSpPr>
          <a:xfrm>
            <a:off x="8024423" y="1823250"/>
            <a:ext cx="2660280" cy="1365482"/>
            <a:chOff x="8024423" y="1823250"/>
            <a:chExt cx="2660280" cy="1365482"/>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34801" y="1823250"/>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024423" y="2616268"/>
              <a:ext cx="266028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option Workshop</a:t>
              </a:r>
            </a:p>
          </p:txBody>
        </p:sp>
      </p:grpSp>
      <p:grpSp>
        <p:nvGrpSpPr>
          <p:cNvPr id="36" name="Group 35">
            <a:extLst>
              <a:ext uri="{FF2B5EF4-FFF2-40B4-BE49-F238E27FC236}">
                <a16:creationId xmlns:a16="http://schemas.microsoft.com/office/drawing/2014/main" id="{29537364-FA42-4B4F-8B8A-6AB1CE2B0E3B}"/>
              </a:ext>
            </a:extLst>
          </p:cNvPr>
          <p:cNvGrpSpPr/>
          <p:nvPr/>
        </p:nvGrpSpPr>
        <p:grpSpPr>
          <a:xfrm>
            <a:off x="4874077" y="3943742"/>
            <a:ext cx="2746393" cy="1486864"/>
            <a:chOff x="4874077" y="3943742"/>
            <a:chExt cx="2746393" cy="1486864"/>
          </a:xfrm>
        </p:grpSpPr>
        <p:pic>
          <p:nvPicPr>
            <p:cNvPr id="25" name="Graphic 24" descr="Scales of justice">
              <a:extLst>
                <a:ext uri="{FF2B5EF4-FFF2-40B4-BE49-F238E27FC236}">
                  <a16:creationId xmlns:a16="http://schemas.microsoft.com/office/drawing/2014/main" id="{D5C6D695-3777-4464-BD88-11B423C5F91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0333" y="3943742"/>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4874077" y="4858142"/>
              <a:ext cx="274639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dress Data Quality</a:t>
              </a:r>
            </a:p>
          </p:txBody>
        </p:sp>
      </p:grpSp>
      <p:grpSp>
        <p:nvGrpSpPr>
          <p:cNvPr id="37" name="Group 36">
            <a:extLst>
              <a:ext uri="{FF2B5EF4-FFF2-40B4-BE49-F238E27FC236}">
                <a16:creationId xmlns:a16="http://schemas.microsoft.com/office/drawing/2014/main" id="{C40468E1-AC31-4F6B-A732-57EA40F68112}"/>
              </a:ext>
            </a:extLst>
          </p:cNvPr>
          <p:cNvGrpSpPr/>
          <p:nvPr/>
        </p:nvGrpSpPr>
        <p:grpSpPr>
          <a:xfrm>
            <a:off x="8129644" y="3943764"/>
            <a:ext cx="2449838" cy="1486842"/>
            <a:chOff x="8129644" y="3943764"/>
            <a:chExt cx="2449838" cy="1486842"/>
          </a:xfrm>
        </p:grpSpPr>
        <p:pic>
          <p:nvPicPr>
            <p:cNvPr id="28" name="Graphic 27" descr="Circular flowchart">
              <a:extLst>
                <a:ext uri="{FF2B5EF4-FFF2-40B4-BE49-F238E27FC236}">
                  <a16:creationId xmlns:a16="http://schemas.microsoft.com/office/drawing/2014/main" id="{60AA20CE-EF12-4A29-B7D6-7DD69CFDA81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30531" y="3943764"/>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8129644" y="4858142"/>
              <a:ext cx="2449838"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mplement Project</a:t>
              </a:r>
            </a:p>
          </p:txBody>
        </p:sp>
      </p:grpSp>
    </p:spTree>
    <p:custDataLst>
      <p:tags r:id="rId1"/>
    </p:custDataLst>
    <p:extLst>
      <p:ext uri="{BB962C8B-B14F-4D97-AF65-F5344CB8AC3E}">
        <p14:creationId xmlns:p14="http://schemas.microsoft.com/office/powerpoint/2010/main" val="918646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75183">
        <p159:morph option="byObject"/>
      </p:transition>
    </mc:Choice>
    <mc:Fallback xmlns="">
      <p:transition spd="slow" advTm="7518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4B15AB35-CD9C-44FD-AE9E-DA664356179D}"/>
              </a:ext>
            </a:extLst>
          </p:cNvPr>
          <p:cNvGrpSpPr>
            <a:grpSpLocks noChangeAspect="1"/>
          </p:cNvGrpSpPr>
          <p:nvPr/>
        </p:nvGrpSpPr>
        <p:grpSpPr>
          <a:xfrm>
            <a:off x="800832" y="2141893"/>
            <a:ext cx="3178550" cy="2849729"/>
            <a:chOff x="7960817" y="2141894"/>
            <a:chExt cx="3178550" cy="2849729"/>
          </a:xfrm>
        </p:grpSpPr>
        <p:sp>
          <p:nvSpPr>
            <p:cNvPr id="21" name="Oval 20">
              <a:extLst>
                <a:ext uri="{FF2B5EF4-FFF2-40B4-BE49-F238E27FC236}">
                  <a16:creationId xmlns:a16="http://schemas.microsoft.com/office/drawing/2014/main" id="{1CA7D544-DF36-4800-89BF-88C5118EC8CF}"/>
                </a:ext>
              </a:extLst>
            </p:cNvPr>
            <p:cNvSpPr/>
            <p:nvPr/>
          </p:nvSpPr>
          <p:spPr>
            <a:xfrm>
              <a:off x="8580635" y="3010038"/>
              <a:ext cx="1938914" cy="1981585"/>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3" name="Rectangle 22" descr="Head with Gears">
              <a:extLst>
                <a:ext uri="{FF2B5EF4-FFF2-40B4-BE49-F238E27FC236}">
                  <a16:creationId xmlns:a16="http://schemas.microsoft.com/office/drawing/2014/main" id="{16E2B148-CCEC-46B1-999F-B20903E8CB9F}"/>
                </a:ext>
              </a:extLst>
            </p:cNvPr>
            <p:cNvSpPr/>
            <p:nvPr/>
          </p:nvSpPr>
          <p:spPr>
            <a:xfrm>
              <a:off x="8993847" y="3432343"/>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EBD79E2F-A3E5-4DFF-B41B-559610C10CDA}"/>
                </a:ext>
              </a:extLst>
            </p:cNvPr>
            <p:cNvSpPr/>
            <p:nvPr/>
          </p:nvSpPr>
          <p:spPr>
            <a:xfrm>
              <a:off x="7960817" y="2141894"/>
              <a:ext cx="3178550"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7" name="Group 26">
            <a:extLst>
              <a:ext uri="{FF2B5EF4-FFF2-40B4-BE49-F238E27FC236}">
                <a16:creationId xmlns:a16="http://schemas.microsoft.com/office/drawing/2014/main" id="{B2B3E277-15F6-426D-BEBB-94E6B44585E9}"/>
              </a:ext>
            </a:extLst>
          </p:cNvPr>
          <p:cNvGrpSpPr/>
          <p:nvPr/>
        </p:nvGrpSpPr>
        <p:grpSpPr>
          <a:xfrm>
            <a:off x="5064017" y="1802036"/>
            <a:ext cx="2640403" cy="1370918"/>
            <a:chOff x="5064017" y="1802036"/>
            <a:chExt cx="2640403" cy="1370918"/>
          </a:xfrm>
        </p:grpSpPr>
        <p:pic>
          <p:nvPicPr>
            <p:cNvPr id="6" name="Graphic 5" descr="Bullseye">
              <a:extLst>
                <a:ext uri="{FF2B5EF4-FFF2-40B4-BE49-F238E27FC236}">
                  <a16:creationId xmlns:a16="http://schemas.microsoft.com/office/drawing/2014/main" id="{767AFF36-DBD4-4796-87D0-3F314C04836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0333" y="1802036"/>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5064017" y="2600490"/>
              <a:ext cx="264040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enter</a:t>
              </a: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of Excellence</a:t>
              </a:r>
            </a:p>
          </p:txBody>
        </p:sp>
      </p:grpSp>
      <p:grpSp>
        <p:nvGrpSpPr>
          <p:cNvPr id="28" name="Group 27">
            <a:extLst>
              <a:ext uri="{FF2B5EF4-FFF2-40B4-BE49-F238E27FC236}">
                <a16:creationId xmlns:a16="http://schemas.microsoft.com/office/drawing/2014/main" id="{613A1E65-69D2-498D-A541-A819528F2467}"/>
              </a:ext>
            </a:extLst>
          </p:cNvPr>
          <p:cNvGrpSpPr/>
          <p:nvPr/>
        </p:nvGrpSpPr>
        <p:grpSpPr>
          <a:xfrm>
            <a:off x="8145501" y="1804611"/>
            <a:ext cx="2455224" cy="1379242"/>
            <a:chOff x="8145501" y="1804611"/>
            <a:chExt cx="2455224" cy="1379242"/>
          </a:xfrm>
        </p:grpSpPr>
        <p:pic>
          <p:nvPicPr>
            <p:cNvPr id="17" name="Graphic 16" descr="Marketing">
              <a:extLst>
                <a:ext uri="{FF2B5EF4-FFF2-40B4-BE49-F238E27FC236}">
                  <a16:creationId xmlns:a16="http://schemas.microsoft.com/office/drawing/2014/main" id="{43E34937-BA76-4DD2-8890-E6BA358EBF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15913" y="1804611"/>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145501" y="2611389"/>
              <a:ext cx="245522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rnal Marketing</a:t>
              </a:r>
            </a:p>
          </p:txBody>
        </p:sp>
      </p:grpSp>
      <p:grpSp>
        <p:nvGrpSpPr>
          <p:cNvPr id="35" name="Group 34">
            <a:extLst>
              <a:ext uri="{FF2B5EF4-FFF2-40B4-BE49-F238E27FC236}">
                <a16:creationId xmlns:a16="http://schemas.microsoft.com/office/drawing/2014/main" id="{6E6A7933-6ED6-42E0-96EE-ECB78980E2F6}"/>
              </a:ext>
            </a:extLst>
          </p:cNvPr>
          <p:cNvGrpSpPr/>
          <p:nvPr/>
        </p:nvGrpSpPr>
        <p:grpSpPr>
          <a:xfrm>
            <a:off x="5211551" y="3943764"/>
            <a:ext cx="2345963" cy="1486864"/>
            <a:chOff x="5211551" y="3943764"/>
            <a:chExt cx="2345963" cy="1486864"/>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0648" y="3943764"/>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5211551" y="4858164"/>
              <a:ext cx="234596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nd User Training</a:t>
              </a:r>
            </a:p>
          </p:txBody>
        </p:sp>
      </p:grpSp>
      <p:grpSp>
        <p:nvGrpSpPr>
          <p:cNvPr id="36" name="Group 35">
            <a:extLst>
              <a:ext uri="{FF2B5EF4-FFF2-40B4-BE49-F238E27FC236}">
                <a16:creationId xmlns:a16="http://schemas.microsoft.com/office/drawing/2014/main" id="{C4A07A57-A16D-40E5-9338-9193E30EB785}"/>
              </a:ext>
            </a:extLst>
          </p:cNvPr>
          <p:cNvGrpSpPr/>
          <p:nvPr/>
        </p:nvGrpSpPr>
        <p:grpSpPr>
          <a:xfrm>
            <a:off x="7983277" y="3943764"/>
            <a:ext cx="2617448" cy="1486864"/>
            <a:chOff x="7983277" y="3943764"/>
            <a:chExt cx="2617448" cy="1486864"/>
          </a:xfrm>
        </p:grpSpPr>
        <p:pic>
          <p:nvPicPr>
            <p:cNvPr id="14" name="Graphic 13" descr="Group brainstorm">
              <a:extLst>
                <a:ext uri="{FF2B5EF4-FFF2-40B4-BE49-F238E27FC236}">
                  <a16:creationId xmlns:a16="http://schemas.microsoft.com/office/drawing/2014/main" id="{CEC6A80A-1EAD-4505-BC57-83C109E5535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34802" y="3943764"/>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7983277" y="4858164"/>
              <a:ext cx="2617448"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rnal Community</a:t>
              </a:r>
            </a:p>
          </p:txBody>
        </p:sp>
      </p:grpSp>
    </p:spTree>
    <p:custDataLst>
      <p:tags r:id="rId1"/>
    </p:custDataLst>
    <p:extLst>
      <p:ext uri="{BB962C8B-B14F-4D97-AF65-F5344CB8AC3E}">
        <p14:creationId xmlns:p14="http://schemas.microsoft.com/office/powerpoint/2010/main" val="8322050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83180">
        <p159:morph option="byObject"/>
      </p:transition>
    </mc:Choice>
    <mc:Fallback xmlns="">
      <p:transition spd="slow" advTm="8318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Adoption Framework Workshops</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DF6D0E9B-4D77-4235-A6CF-7E43991DCD41}"/>
              </a:ext>
            </a:extLst>
          </p:cNvPr>
          <p:cNvGrpSpPr/>
          <p:nvPr/>
        </p:nvGrpSpPr>
        <p:grpSpPr>
          <a:xfrm>
            <a:off x="395404" y="1241701"/>
            <a:ext cx="2717123" cy="5406395"/>
            <a:chOff x="395404" y="1241701"/>
            <a:chExt cx="2717123" cy="5406395"/>
          </a:xfrm>
        </p:grpSpPr>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urrent State</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Why Govern?</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overnance Considerations</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overnance Model</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Sources</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governance</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Master Data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Enterprise Data Catalo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Enterprise Data Dictionary</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Governanc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29" name="Graphic 28" descr="Meeting">
              <a:extLst>
                <a:ext uri="{FF2B5EF4-FFF2-40B4-BE49-F238E27FC236}">
                  <a16:creationId xmlns:a16="http://schemas.microsoft.com/office/drawing/2014/main" id="{3C573F0E-6064-446A-90D2-2AF8DB35B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8291" y="1291719"/>
              <a:ext cx="785661" cy="785661"/>
            </a:xfrm>
            <a:prstGeom prst="rect">
              <a:avLst/>
            </a:prstGeom>
          </p:spPr>
        </p:pic>
      </p:grpSp>
      <p:grpSp>
        <p:nvGrpSpPr>
          <p:cNvPr id="26" name="Group 25">
            <a:extLst>
              <a:ext uri="{FF2B5EF4-FFF2-40B4-BE49-F238E27FC236}">
                <a16:creationId xmlns:a16="http://schemas.microsoft.com/office/drawing/2014/main" id="{5B586A3D-648A-43EE-B80A-FBE2ACB88D24}"/>
              </a:ext>
            </a:extLst>
          </p:cNvPr>
          <p:cNvGrpSpPr/>
          <p:nvPr/>
        </p:nvGrpSpPr>
        <p:grpSpPr>
          <a:xfrm>
            <a:off x="9201918" y="1241701"/>
            <a:ext cx="2717123" cy="5406395"/>
            <a:chOff x="9201918" y="1241701"/>
            <a:chExt cx="2717123" cy="5406395"/>
          </a:xfrm>
        </p:grpSpPr>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Roles and responsibilitie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hased vs organization wide roll out</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Rollout Planning</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Training requirement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mmunication</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upport Scenario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Ways of working</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enter</a:t>
                </a:r>
                <a:r>
                  <a:rPr kumimoji="0" lang="en-GB" sz="1600" b="0" i="0" u="none" strike="noStrike" kern="1200" cap="none" spc="0" normalizeH="0" baseline="0" noProof="0">
                    <a:ln>
                      <a:noFill/>
                    </a:ln>
                    <a:solidFill>
                      <a:prstClr val="black"/>
                    </a:solidFill>
                    <a:effectLst/>
                    <a:uLnTx/>
                    <a:uFillTx/>
                    <a:latin typeface="Segoe UI"/>
                    <a:ea typeface="+mn-ea"/>
                    <a:cs typeface="+mn-cs"/>
                  </a:rPr>
                  <a:t> of Excellence</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IN" sz="16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ollout &amp; </a:t>
                </a:r>
              </a:p>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upport</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31" name="Graphic 30" descr="Call center">
              <a:extLst>
                <a:ext uri="{FF2B5EF4-FFF2-40B4-BE49-F238E27FC236}">
                  <a16:creationId xmlns:a16="http://schemas.microsoft.com/office/drawing/2014/main" id="{D6C3173E-CB29-416E-801B-2C0F1E4BCD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25" y="1446854"/>
              <a:ext cx="553770" cy="553770"/>
            </a:xfrm>
            <a:prstGeom prst="rect">
              <a:avLst/>
            </a:prstGeom>
          </p:spPr>
        </p:pic>
      </p:grpSp>
      <p:grpSp>
        <p:nvGrpSpPr>
          <p:cNvPr id="15" name="Group 14">
            <a:extLst>
              <a:ext uri="{FF2B5EF4-FFF2-40B4-BE49-F238E27FC236}">
                <a16:creationId xmlns:a16="http://schemas.microsoft.com/office/drawing/2014/main" id="{9619C255-D6AC-4FFB-ACBF-838F6FDFA96A}"/>
              </a:ext>
            </a:extLst>
          </p:cNvPr>
          <p:cNvGrpSpPr/>
          <p:nvPr/>
        </p:nvGrpSpPr>
        <p:grpSpPr>
          <a:xfrm>
            <a:off x="3330909" y="1241701"/>
            <a:ext cx="2717123" cy="5406395"/>
            <a:chOff x="3330909" y="1241701"/>
            <a:chExt cx="2717123" cy="5406395"/>
          </a:xfrm>
        </p:grpSpPr>
        <p:grpSp>
          <p:nvGrpSpPr>
            <p:cNvPr id="11" name="Group 10"/>
            <p:cNvGrpSpPr/>
            <p:nvPr/>
          </p:nvGrpSpPr>
          <p:grpSpPr>
            <a:xfrm>
              <a:off x="3330909" y="1241701"/>
              <a:ext cx="2717123"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Licensin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etup</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Group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Tenant Administration</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pplication Management</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Monitoring</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nnectivity</a:t>
                </a: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rvice Management </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3" name="Graphic 2" descr="Single gear">
              <a:extLst>
                <a:ext uri="{FF2B5EF4-FFF2-40B4-BE49-F238E27FC236}">
                  <a16:creationId xmlns:a16="http://schemas.microsoft.com/office/drawing/2014/main" id="{906019C9-5409-4D1F-944F-8746F73BEFB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3134" y="1257094"/>
              <a:ext cx="914400" cy="914400"/>
            </a:xfrm>
            <a:prstGeom prst="rect">
              <a:avLst/>
            </a:prstGeom>
          </p:spPr>
        </p:pic>
      </p:grpSp>
      <p:grpSp>
        <p:nvGrpSpPr>
          <p:cNvPr id="25" name="Group 24">
            <a:extLst>
              <a:ext uri="{FF2B5EF4-FFF2-40B4-BE49-F238E27FC236}">
                <a16:creationId xmlns:a16="http://schemas.microsoft.com/office/drawing/2014/main" id="{330AEFA9-D119-459D-8EA1-348762230879}"/>
              </a:ext>
            </a:extLst>
          </p:cNvPr>
          <p:cNvGrpSpPr/>
          <p:nvPr/>
        </p:nvGrpSpPr>
        <p:grpSpPr>
          <a:xfrm>
            <a:off x="6266415" y="1247165"/>
            <a:ext cx="2717123" cy="5406395"/>
            <a:chOff x="6266415" y="1247165"/>
            <a:chExt cx="2717123" cy="5406395"/>
          </a:xfrm>
        </p:grpSpPr>
        <p:grpSp>
          <p:nvGrpSpPr>
            <p:cNvPr id="16" name="Group 15"/>
            <p:cNvGrpSpPr/>
            <p:nvPr/>
          </p:nvGrpSpPr>
          <p:grpSpPr>
            <a:xfrm>
              <a:off x="6266415" y="1247165"/>
              <a:ext cx="2717123"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Ident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Power BI Architecture</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Access Controls</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Connectiv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Data Security</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prstClr val="black"/>
                    </a:solidFill>
                    <a:effectLst/>
                    <a:uLnTx/>
                    <a:uFillTx/>
                    <a:latin typeface="Segoe UI"/>
                    <a:ea typeface="+mn-ea"/>
                    <a:cs typeface="+mn-cs"/>
                  </a:rPr>
                  <a:t>Sharing</a:t>
                </a: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curity</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6" name="Graphic 5" descr="Key">
              <a:extLst>
                <a:ext uri="{FF2B5EF4-FFF2-40B4-BE49-F238E27FC236}">
                  <a16:creationId xmlns:a16="http://schemas.microsoft.com/office/drawing/2014/main" id="{B6176922-A04F-48A2-9D9D-5AD66DB7EC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4739" y="1291719"/>
              <a:ext cx="914400" cy="914400"/>
            </a:xfrm>
            <a:prstGeom prst="rect">
              <a:avLst/>
            </a:prstGeom>
          </p:spPr>
        </p:pic>
      </p:grpSp>
    </p:spTree>
    <p:custDataLst>
      <p:tags r:id="rId1"/>
    </p:custDataLst>
    <p:extLst>
      <p:ext uri="{BB962C8B-B14F-4D97-AF65-F5344CB8AC3E}">
        <p14:creationId xmlns:p14="http://schemas.microsoft.com/office/powerpoint/2010/main" val="2240163915"/>
      </p:ext>
    </p:extLst>
  </p:cSld>
  <p:clrMapOvr>
    <a:masterClrMapping/>
  </p:clrMapOvr>
  <p:transition advTm="4409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solidFill>
                  <a:srgbClr val="000000"/>
                </a:solidFill>
                <a:effectLst/>
                <a:uLnTx/>
                <a:uFillTx/>
                <a:latin typeface="Segoe UI"/>
                <a:ea typeface="+mn-ea"/>
                <a:cs typeface="Segoe UI Light" panose="020B0502040204020203" pitchFamily="34" charset="0"/>
              </a:rPr>
              <a:t>Adoption Framework Workshop Attendees</a:t>
            </a:r>
            <a:endParaRPr kumimoji="0" lang="en-US" sz="1800" b="0" i="0" u="none" strike="noStrike" kern="1200" cap="none" spc="-102" normalizeH="0" baseline="0" noProof="0">
              <a:ln w="3175">
                <a:noFill/>
              </a:ln>
              <a:solidFill>
                <a:srgbClr val="000000"/>
              </a:solidFill>
              <a:effectLst/>
              <a:uLnTx/>
              <a:uFillTx/>
              <a:latin typeface="Segoe UI"/>
              <a:ea typeface="+mn-ea"/>
              <a:cs typeface="Segoe UI" pitchFamily="34" charset="0"/>
            </a:endParaRPr>
          </a:p>
        </p:txBody>
      </p:sp>
      <p:grpSp>
        <p:nvGrpSpPr>
          <p:cNvPr id="7" name="Group 6"/>
          <p:cNvGrpSpPr/>
          <p:nvPr/>
        </p:nvGrpSpPr>
        <p:grpSpPr>
          <a:xfrm>
            <a:off x="395404" y="1241701"/>
            <a:ext cx="2717123" cy="5406395"/>
            <a:chOff x="427038" y="2889495"/>
            <a:chExt cx="2898090" cy="5276266"/>
          </a:xfrm>
          <a:solidFill>
            <a:schemeClr val="tx1"/>
          </a:solidFill>
        </p:grpSpPr>
        <p:sp>
          <p:nvSpPr>
            <p:cNvPr id="8" name="Text Placeholder 1"/>
            <p:cNvSpPr txBox="1">
              <a:spLocks/>
            </p:cNvSpPr>
            <p:nvPr/>
          </p:nvSpPr>
          <p:spPr>
            <a:xfrm>
              <a:off x="427038" y="3811930"/>
              <a:ext cx="2898090" cy="4334149"/>
            </a:xfrm>
            <a:prstGeom prst="rect">
              <a:avLst/>
            </a:prstGeom>
            <a:solidFill>
              <a:schemeClr val="bg1"/>
            </a:solidFill>
            <a:ln w="3175">
              <a:solidFill>
                <a:srgbClr val="000000"/>
              </a:solidFill>
            </a:ln>
          </p:spPr>
          <p:txBody>
            <a:bodyPr vert="horz" lIns="134445" tIns="89630" rIns="8963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Corporate Sponso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Steward</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896350" rtl="0" eaLnBrk="1" fontAlgn="auto" latinLnBrk="0" hangingPunct="1">
                <a:lnSpc>
                  <a:spcPct val="100000"/>
                </a:lnSpc>
                <a:spcBef>
                  <a:spcPts val="0"/>
                </a:spcBef>
                <a:spcAft>
                  <a:spcPts val="0"/>
                </a:spcAft>
                <a:buClrTx/>
                <a:buSzPct val="80000"/>
                <a:buFont typeface="Arial" pitchFamily="34" charset="0"/>
                <a:buNone/>
                <a:tabLst/>
                <a:defRPr/>
              </a:pPr>
              <a:endParaRPr kumimoji="0" lang="en-GB"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 Placeholder 1"/>
            <p:cNvSpPr txBox="1">
              <a:spLocks/>
            </p:cNvSpPr>
            <p:nvPr/>
          </p:nvSpPr>
          <p:spPr>
            <a:xfrm>
              <a:off x="427038"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US"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Governance</a:t>
              </a:r>
            </a:p>
          </p:txBody>
        </p:sp>
        <p:sp>
          <p:nvSpPr>
            <p:cNvPr id="10" name="Text Placeholder 1"/>
            <p:cNvSpPr txBox="1">
              <a:spLocks/>
            </p:cNvSpPr>
            <p:nvPr/>
          </p:nvSpPr>
          <p:spPr>
            <a:xfrm>
              <a:off x="427038"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1" name="Group 10"/>
          <p:cNvGrpSpPr/>
          <p:nvPr/>
        </p:nvGrpSpPr>
        <p:grpSpPr>
          <a:xfrm>
            <a:off x="3330909" y="1241701"/>
            <a:ext cx="2769182" cy="5406395"/>
            <a:chOff x="3422199" y="2889495"/>
            <a:chExt cx="2898090" cy="5276266"/>
          </a:xfrm>
          <a:solidFill>
            <a:schemeClr val="tx1"/>
          </a:solidFill>
        </p:grpSpPr>
        <p:sp>
          <p:nvSpPr>
            <p:cNvPr id="12"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rvice Delivery Manage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usiness Support Specialist</a:t>
              </a:r>
            </a:p>
            <a:p>
              <a:pPr marL="0" marR="0" lvl="0" indent="0" algn="l" defTabSz="896350"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I Developer</a:t>
              </a:r>
            </a:p>
          </p:txBody>
        </p:sp>
        <p:sp>
          <p:nvSpPr>
            <p:cNvPr id="13"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rvice Management </a:t>
              </a:r>
            </a:p>
          </p:txBody>
        </p:sp>
        <p:sp>
          <p:nvSpPr>
            <p:cNvPr id="14"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16" name="Group 15"/>
          <p:cNvGrpSpPr/>
          <p:nvPr/>
        </p:nvGrpSpPr>
        <p:grpSpPr>
          <a:xfrm>
            <a:off x="6266415" y="1247165"/>
            <a:ext cx="2769182" cy="5406395"/>
            <a:chOff x="3422199" y="2889495"/>
            <a:chExt cx="2898090" cy="5276266"/>
          </a:xfrm>
          <a:solidFill>
            <a:schemeClr val="tx1"/>
          </a:solidFill>
        </p:grpSpPr>
        <p:sp>
          <p:nvSpPr>
            <p:cNvPr id="17"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Info Security Manag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Data Steward</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Business Support Specialist</a:t>
              </a:r>
            </a:p>
          </p:txBody>
        </p:sp>
        <p:sp>
          <p:nvSpPr>
            <p:cNvPr id="18"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ecurity</a:t>
              </a:r>
            </a:p>
          </p:txBody>
        </p:sp>
        <p:sp>
          <p:nvSpPr>
            <p:cNvPr id="19"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grpSp>
        <p:nvGrpSpPr>
          <p:cNvPr id="20" name="Group 19"/>
          <p:cNvGrpSpPr/>
          <p:nvPr/>
        </p:nvGrpSpPr>
        <p:grpSpPr>
          <a:xfrm>
            <a:off x="9201918" y="1241701"/>
            <a:ext cx="2717123" cy="5406395"/>
            <a:chOff x="3422199" y="2889495"/>
            <a:chExt cx="2898090" cy="5276266"/>
          </a:xfrm>
          <a:solidFill>
            <a:schemeClr val="tx1"/>
          </a:solidFill>
        </p:grpSpPr>
        <p:sp>
          <p:nvSpPr>
            <p:cNvPr id="21" name="Text Placeholder 1"/>
            <p:cNvSpPr txBox="1">
              <a:spLocks/>
            </p:cNvSpPr>
            <p:nvPr/>
          </p:nvSpPr>
          <p:spPr>
            <a:xfrm>
              <a:off x="3422199" y="3811930"/>
              <a:ext cx="2898090" cy="4353831"/>
            </a:xfrm>
            <a:prstGeom prst="rect">
              <a:avLst/>
            </a:prstGeom>
            <a:solidFill>
              <a:schemeClr val="bg1"/>
            </a:solidFill>
            <a:ln w="3175">
              <a:solidFill>
                <a:srgbClr val="000000"/>
              </a:solidFill>
            </a:ln>
          </p:spPr>
          <p:txBody>
            <a:bodyPr vert="horz" lIns="134445" tIns="89630" rIns="134445"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Champion(s)</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ta Architect</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I Develop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ower BI Administrato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rvice Delivery Manager</a:t>
              </a:r>
            </a:p>
            <a:p>
              <a:pPr marL="0" marR="0" lvl="0" indent="0" algn="l" defTabSz="914187" rtl="0" eaLnBrk="1" fontAlgn="auto" latinLnBrk="0" hangingPunct="1">
                <a:lnSpc>
                  <a:spcPct val="200000"/>
                </a:lnSpc>
                <a:spcBef>
                  <a:spcPts val="0"/>
                </a:spcBef>
                <a:spcAft>
                  <a:spcPts val="0"/>
                </a:spcAft>
                <a:buClrTx/>
                <a:buSzPct val="8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Business Support Specialist</a:t>
              </a:r>
            </a:p>
            <a:p>
              <a:pPr marL="0" marR="0" lvl="0" indent="0" algn="l" defTabSz="914187" rtl="0" eaLnBrk="1" fontAlgn="auto" latinLnBrk="0" hangingPunct="1">
                <a:lnSpc>
                  <a:spcPct val="100000"/>
                </a:lnSpc>
                <a:spcBef>
                  <a:spcPts val="0"/>
                </a:spcBef>
                <a:spcAft>
                  <a:spcPts val="0"/>
                </a:spcAft>
                <a:buClrTx/>
                <a:buSzPct val="80000"/>
                <a:buFont typeface="Arial" pitchFamily="34" charset="0"/>
                <a:buNone/>
                <a:tabLst/>
                <a:defRPr/>
              </a:pPr>
              <a:endParaRPr kumimoji="0" lang="en-IN" sz="16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 Placeholder 1"/>
            <p:cNvSpPr txBox="1">
              <a:spLocks/>
            </p:cNvSpPr>
            <p:nvPr/>
          </p:nvSpPr>
          <p:spPr>
            <a:xfrm>
              <a:off x="3422199" y="2889495"/>
              <a:ext cx="2898090" cy="922436"/>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ollout &amp; </a:t>
              </a:r>
            </a:p>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r>
                <a:rPr kumimoji="0" lang="en-IN" sz="2157"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upport</a:t>
              </a:r>
            </a:p>
          </p:txBody>
        </p:sp>
        <p:sp>
          <p:nvSpPr>
            <p:cNvPr id="23" name="Text Placeholder 1"/>
            <p:cNvSpPr txBox="1">
              <a:spLocks/>
            </p:cNvSpPr>
            <p:nvPr/>
          </p:nvSpPr>
          <p:spPr>
            <a:xfrm>
              <a:off x="3422199" y="8101753"/>
              <a:ext cx="2898090" cy="64008"/>
            </a:xfrm>
            <a:prstGeom prst="rect">
              <a:avLst/>
            </a:prstGeom>
            <a:solidFill>
              <a:srgbClr val="000000"/>
            </a:solidFill>
            <a:ln w="3175">
              <a:solidFill>
                <a:srgbClr val="000000"/>
              </a:solidFill>
            </a:ln>
          </p:spPr>
          <p:txBody>
            <a:bodyPr vert="horz" lIns="134445" tIns="89630" rIns="134445" bIns="89630" rtlCol="0" anchor="ctr">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Pct val="80000"/>
                <a:buFont typeface="Arial" pitchFamily="34" charset="0"/>
                <a:buNone/>
                <a:tabLst/>
                <a:defRPr/>
              </a:pPr>
              <a:endParaRPr kumimoji="0" lang="en-IN" sz="2353" b="0" i="0" u="none" strike="noStrike" kern="1200" cap="none" spc="0" normalizeH="0" baseline="0" noProof="0">
                <a:ln>
                  <a:noFill/>
                </a:ln>
                <a:solidFill>
                  <a:srgbClr val="FFFFFF"/>
                </a:solidFill>
                <a:effectLst/>
                <a:uLnTx/>
                <a:uFillTx/>
                <a:latin typeface="Segoe UI Light"/>
                <a:ea typeface="+mn-ea"/>
                <a:cs typeface="Segoe UI Semibold" panose="020B0702040204020203" pitchFamily="34" charset="0"/>
              </a:endParaRPr>
            </a:p>
          </p:txBody>
        </p:sp>
      </p:grpSp>
      <p:pic>
        <p:nvPicPr>
          <p:cNvPr id="29" name="Graphic 28" descr="Meeting">
            <a:extLst>
              <a:ext uri="{FF2B5EF4-FFF2-40B4-BE49-F238E27FC236}">
                <a16:creationId xmlns:a16="http://schemas.microsoft.com/office/drawing/2014/main" id="{3C573F0E-6064-446A-90D2-2AF8DB35B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8291" y="1291719"/>
            <a:ext cx="785661" cy="785661"/>
          </a:xfrm>
          <a:prstGeom prst="rect">
            <a:avLst/>
          </a:prstGeom>
        </p:spPr>
      </p:pic>
      <p:pic>
        <p:nvPicPr>
          <p:cNvPr id="31" name="Graphic 30" descr="Call center">
            <a:extLst>
              <a:ext uri="{FF2B5EF4-FFF2-40B4-BE49-F238E27FC236}">
                <a16:creationId xmlns:a16="http://schemas.microsoft.com/office/drawing/2014/main" id="{D6C3173E-CB29-416E-801B-2C0F1E4BCD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25" y="1446854"/>
            <a:ext cx="553770" cy="553770"/>
          </a:xfrm>
          <a:prstGeom prst="rect">
            <a:avLst/>
          </a:prstGeom>
        </p:spPr>
      </p:pic>
      <p:pic>
        <p:nvPicPr>
          <p:cNvPr id="3" name="Graphic 2" descr="Single gear">
            <a:extLst>
              <a:ext uri="{FF2B5EF4-FFF2-40B4-BE49-F238E27FC236}">
                <a16:creationId xmlns:a16="http://schemas.microsoft.com/office/drawing/2014/main" id="{906019C9-5409-4D1F-944F-8746F73BEFB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03134" y="1257094"/>
            <a:ext cx="914400" cy="914400"/>
          </a:xfrm>
          <a:prstGeom prst="rect">
            <a:avLst/>
          </a:prstGeom>
        </p:spPr>
      </p:pic>
      <p:pic>
        <p:nvPicPr>
          <p:cNvPr id="6" name="Graphic 5" descr="Key">
            <a:extLst>
              <a:ext uri="{FF2B5EF4-FFF2-40B4-BE49-F238E27FC236}">
                <a16:creationId xmlns:a16="http://schemas.microsoft.com/office/drawing/2014/main" id="{B6176922-A04F-48A2-9D9D-5AD66DB7EC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4739" y="1291719"/>
            <a:ext cx="914400" cy="914400"/>
          </a:xfrm>
          <a:prstGeom prst="rect">
            <a:avLst/>
          </a:prstGeom>
        </p:spPr>
      </p:pic>
    </p:spTree>
    <p:custDataLst>
      <p:tags r:id="rId1"/>
    </p:custDataLst>
    <p:extLst>
      <p:ext uri="{BB962C8B-B14F-4D97-AF65-F5344CB8AC3E}">
        <p14:creationId xmlns:p14="http://schemas.microsoft.com/office/powerpoint/2010/main" val="977468245"/>
      </p:ext>
    </p:extLst>
  </p:cSld>
  <p:clrMapOvr>
    <a:masterClrMapping/>
  </p:clrMapOvr>
  <mc:AlternateContent xmlns:mc="http://schemas.openxmlformats.org/markup-compatibility/2006" xmlns:p14="http://schemas.microsoft.com/office/powerpoint/2010/main">
    <mc:Choice Requires="p14">
      <p:transition spd="med" p14:dur="700" advTm="47202">
        <p:fade/>
      </p:transition>
    </mc:Choice>
    <mc:Fallback xmlns="">
      <p:transition spd="med" advTm="47202">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C8A38-BA68-465C-83AF-92F7F1D45838}"/>
              </a:ext>
            </a:extLst>
          </p:cNvPr>
          <p:cNvSpPr>
            <a:spLocks noGrp="1"/>
          </p:cNvSpPr>
          <p:nvPr>
            <p:ph type="title"/>
          </p:nvPr>
        </p:nvSpPr>
        <p:spPr/>
        <p:txBody>
          <a:bodyPr/>
          <a:lstStyle/>
          <a:p>
            <a:r>
              <a:rPr lang="en-GB"/>
              <a:t>Adoption Framework Workshop Key Learnings</a:t>
            </a:r>
          </a:p>
        </p:txBody>
      </p:sp>
      <p:graphicFrame>
        <p:nvGraphicFramePr>
          <p:cNvPr id="4" name="Diagram 3"/>
          <p:cNvGraphicFramePr/>
          <p:nvPr/>
        </p:nvGraphicFramePr>
        <p:xfrm>
          <a:off x="270066" y="1189495"/>
          <a:ext cx="11651870" cy="24512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9260BC4D-D2E9-4FF5-9E95-08CD83CEAB3A}"/>
              </a:ext>
            </a:extLst>
          </p:cNvPr>
          <p:cNvGraphicFramePr/>
          <p:nvPr/>
        </p:nvGraphicFramePr>
        <p:xfrm>
          <a:off x="269241" y="3923147"/>
          <a:ext cx="11651870" cy="24512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124077573"/>
      </p:ext>
    </p:extLst>
  </p:cSld>
  <p:clrMapOvr>
    <a:masterClrMapping/>
  </p:clrMapOvr>
  <mc:AlternateContent xmlns:mc="http://schemas.openxmlformats.org/markup-compatibility/2006" xmlns:p14="http://schemas.microsoft.com/office/powerpoint/2010/main">
    <mc:Choice Requires="p14">
      <p:transition spd="med" p14:dur="700" advTm="56022">
        <p:fade/>
      </p:transition>
    </mc:Choice>
    <mc:Fallback xmlns="">
      <p:transition spd="med" advTm="5602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AB960692-88E2-4F1E-8B0D-E3245F812F19}"/>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93642A3F-CD30-4862-9676-1B5A1DE169E6}"/>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BEE96E92-FF1B-4AB0-B443-65D128C9DCE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8081E4B8-1EEE-4DE6-AC6D-9833C48E8249}"/>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1EDDBD0A-721F-41A3-9E5C-F9636709EBD3}"/>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8DACB5A-7A81-4FF7-A070-354FA6DD0E6F}"/>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12B642E5-FDBC-4A7F-8826-BE1C0AE0E379}"/>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graphicEl>
                                              <a:dgm id="{29BDE07B-7138-4809-91D7-B2EE84BE9312}"/>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graphicEl>
                                              <a:dgm id="{0F9129E4-DC45-4D15-AA12-27E376B7EAB8}"/>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dgm id="{28FF2323-7D7A-4C0D-B719-41A49B6F3C4E}"/>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graphicEl>
                                              <a:dgm id="{100E1FC2-D2D6-4E81-AFB2-6BD82CA202B7}"/>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74BC1007-3C93-4E64-AE77-0DB155200ED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Graphic spid="5" grpId="0">
        <p:bldSub>
          <a:bldDgm bld="lvlOne"/>
        </p:bldSub>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052320" y="1240780"/>
            <a:ext cx="10408581" cy="1655108"/>
          </a:xfrm>
        </p:spPr>
        <p:txBody>
          <a:bodyPr/>
          <a:lstStyle/>
          <a:p>
            <a:r>
              <a:rPr lang="de-DE" sz="6000"/>
              <a:t>  Executive Sponsor</a:t>
            </a:r>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2</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4475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Stages of Technology Adoption</a:t>
            </a:r>
          </a:p>
        </p:txBody>
      </p:sp>
      <p:sp>
        <p:nvSpPr>
          <p:cNvPr id="3" name="Content Placeholder 2"/>
          <p:cNvSpPr>
            <a:spLocks noGrp="1"/>
          </p:cNvSpPr>
          <p:nvPr>
            <p:ph idx="4294967295"/>
          </p:nvPr>
        </p:nvSpPr>
        <p:spPr>
          <a:xfrm>
            <a:off x="1014413" y="4291013"/>
            <a:ext cx="11177587" cy="3640137"/>
          </a:xfrm>
        </p:spPr>
        <p:txBody>
          <a:bodyPr anchor="ctr">
            <a:normAutofit/>
          </a:bodyPr>
          <a:lstStyle/>
          <a:p>
            <a:endParaRPr lang="en-US" sz="2000"/>
          </a:p>
          <a:p>
            <a:endParaRPr lang="en-US" sz="2000"/>
          </a:p>
        </p:txBody>
      </p:sp>
      <p:graphicFrame>
        <p:nvGraphicFramePr>
          <p:cNvPr id="6" name="Diagram 5">
            <a:extLst>
              <a:ext uri="{FF2B5EF4-FFF2-40B4-BE49-F238E27FC236}">
                <a16:creationId xmlns:a16="http://schemas.microsoft.com/office/drawing/2014/main" id="{D3814804-2E8D-4F79-B752-AFA60860947F}"/>
              </a:ext>
            </a:extLst>
          </p:cNvPr>
          <p:cNvGraphicFramePr/>
          <p:nvPr/>
        </p:nvGraphicFramePr>
        <p:xfrm>
          <a:off x="-108882" y="2722642"/>
          <a:ext cx="11655840" cy="3388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7451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9E8B13FB-C175-43C8-9A82-D1F3806A9FD4}"/>
                                            </p:graphicEl>
                                          </p:spTgt>
                                        </p:tgtEl>
                                        <p:attrNameLst>
                                          <p:attrName>style.visibility</p:attrName>
                                        </p:attrNameLst>
                                      </p:cBhvr>
                                      <p:to>
                                        <p:strVal val="visible"/>
                                      </p:to>
                                    </p:set>
                                    <p:animEffect transition="in" filter="fade">
                                      <p:cBhvr>
                                        <p:cTn id="7" dur="500"/>
                                        <p:tgtEl>
                                          <p:spTgt spid="6">
                                            <p:graphicEl>
                                              <a:dgm id="{9E8B13FB-C175-43C8-9A82-D1F3806A9FD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graphicEl>
                                              <a:dgm id="{A13FD09B-E81E-4C82-ABEB-743DDB7B197F}"/>
                                            </p:graphicEl>
                                          </p:spTgt>
                                        </p:tgtEl>
                                        <p:attrNameLst>
                                          <p:attrName>style.visibility</p:attrName>
                                        </p:attrNameLst>
                                      </p:cBhvr>
                                      <p:to>
                                        <p:strVal val="visible"/>
                                      </p:to>
                                    </p:set>
                                    <p:animEffect transition="in" filter="fade">
                                      <p:cBhvr>
                                        <p:cTn id="10" dur="500"/>
                                        <p:tgtEl>
                                          <p:spTgt spid="6">
                                            <p:graphicEl>
                                              <a:dgm id="{A13FD09B-E81E-4C82-ABEB-743DDB7B197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graphicEl>
                                              <a:dgm id="{824A309D-CD76-47D0-9FEB-D4A4C8104933}"/>
                                            </p:graphicEl>
                                          </p:spTgt>
                                        </p:tgtEl>
                                        <p:attrNameLst>
                                          <p:attrName>style.visibility</p:attrName>
                                        </p:attrNameLst>
                                      </p:cBhvr>
                                      <p:to>
                                        <p:strVal val="visible"/>
                                      </p:to>
                                    </p:set>
                                    <p:animEffect transition="in" filter="fade">
                                      <p:cBhvr>
                                        <p:cTn id="13" dur="500"/>
                                        <p:tgtEl>
                                          <p:spTgt spid="6">
                                            <p:graphicEl>
                                              <a:dgm id="{824A309D-CD76-47D0-9FEB-D4A4C8104933}"/>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graphicEl>
                                              <a:dgm id="{42F54CD2-B31B-4819-913D-89EC340297F0}"/>
                                            </p:graphicEl>
                                          </p:spTgt>
                                        </p:tgtEl>
                                        <p:attrNameLst>
                                          <p:attrName>style.visibility</p:attrName>
                                        </p:attrNameLst>
                                      </p:cBhvr>
                                      <p:to>
                                        <p:strVal val="visible"/>
                                      </p:to>
                                    </p:set>
                                    <p:animEffect transition="in" filter="fade">
                                      <p:cBhvr>
                                        <p:cTn id="18" dur="500"/>
                                        <p:tgtEl>
                                          <p:spTgt spid="6">
                                            <p:graphicEl>
                                              <a:dgm id="{42F54CD2-B31B-4819-913D-89EC340297F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graphicEl>
                                              <a:dgm id="{02128CB3-EB23-4448-97A8-7F6DA8EB47A5}"/>
                                            </p:graphicEl>
                                          </p:spTgt>
                                        </p:tgtEl>
                                        <p:attrNameLst>
                                          <p:attrName>style.visibility</p:attrName>
                                        </p:attrNameLst>
                                      </p:cBhvr>
                                      <p:to>
                                        <p:strVal val="visible"/>
                                      </p:to>
                                    </p:set>
                                    <p:animEffect transition="in" filter="fade">
                                      <p:cBhvr>
                                        <p:cTn id="21" dur="500"/>
                                        <p:tgtEl>
                                          <p:spTgt spid="6">
                                            <p:graphicEl>
                                              <a:dgm id="{02128CB3-EB23-4448-97A8-7F6DA8EB47A5}"/>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graphicEl>
                                              <a:dgm id="{675C4198-D625-466B-BFF9-B894A694AA10}"/>
                                            </p:graphicEl>
                                          </p:spTgt>
                                        </p:tgtEl>
                                        <p:attrNameLst>
                                          <p:attrName>style.visibility</p:attrName>
                                        </p:attrNameLst>
                                      </p:cBhvr>
                                      <p:to>
                                        <p:strVal val="visible"/>
                                      </p:to>
                                    </p:set>
                                    <p:animEffect transition="in" filter="fade">
                                      <p:cBhvr>
                                        <p:cTn id="24" dur="500"/>
                                        <p:tgtEl>
                                          <p:spTgt spid="6">
                                            <p:graphicEl>
                                              <a:dgm id="{675C4198-D625-466B-BFF9-B894A694AA10}"/>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graphicEl>
                                              <a:dgm id="{81D15E99-D550-4B39-A864-34A6E38FCB65}"/>
                                            </p:graphicEl>
                                          </p:spTgt>
                                        </p:tgtEl>
                                        <p:attrNameLst>
                                          <p:attrName>style.visibility</p:attrName>
                                        </p:attrNameLst>
                                      </p:cBhvr>
                                      <p:to>
                                        <p:strVal val="visible"/>
                                      </p:to>
                                    </p:set>
                                    <p:animEffect transition="in" filter="fade">
                                      <p:cBhvr>
                                        <p:cTn id="29" dur="500"/>
                                        <p:tgtEl>
                                          <p:spTgt spid="6">
                                            <p:graphicEl>
                                              <a:dgm id="{81D15E99-D550-4B39-A864-34A6E38FCB65}"/>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graphicEl>
                                              <a:dgm id="{66F5A256-266D-4BE7-AFD3-BCD01C5DAD2B}"/>
                                            </p:graphicEl>
                                          </p:spTgt>
                                        </p:tgtEl>
                                        <p:attrNameLst>
                                          <p:attrName>style.visibility</p:attrName>
                                        </p:attrNameLst>
                                      </p:cBhvr>
                                      <p:to>
                                        <p:strVal val="visible"/>
                                      </p:to>
                                    </p:set>
                                    <p:animEffect transition="in" filter="fade">
                                      <p:cBhvr>
                                        <p:cTn id="32" dur="500"/>
                                        <p:tgtEl>
                                          <p:spTgt spid="6">
                                            <p:graphicEl>
                                              <a:dgm id="{66F5A256-266D-4BE7-AFD3-BCD01C5DAD2B}"/>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graphicEl>
                                              <a:dgm id="{C40F3DFB-641A-4E3F-AB78-BBB58F9DA603}"/>
                                            </p:graphicEl>
                                          </p:spTgt>
                                        </p:tgtEl>
                                        <p:attrNameLst>
                                          <p:attrName>style.visibility</p:attrName>
                                        </p:attrNameLst>
                                      </p:cBhvr>
                                      <p:to>
                                        <p:strVal val="visible"/>
                                      </p:to>
                                    </p:set>
                                    <p:animEffect transition="in" filter="fade">
                                      <p:cBhvr>
                                        <p:cTn id="35" dur="500"/>
                                        <p:tgtEl>
                                          <p:spTgt spid="6">
                                            <p:graphicEl>
                                              <a:dgm id="{C40F3DFB-641A-4E3F-AB78-BBB58F9DA60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graphicEl>
                                              <a:dgm id="{4FF426B4-E48A-4252-BAAD-B02755E253BB}"/>
                                            </p:graphicEl>
                                          </p:spTgt>
                                        </p:tgtEl>
                                        <p:attrNameLst>
                                          <p:attrName>style.visibility</p:attrName>
                                        </p:attrNameLst>
                                      </p:cBhvr>
                                      <p:to>
                                        <p:strVal val="visible"/>
                                      </p:to>
                                    </p:set>
                                    <p:animEffect transition="in" filter="fade">
                                      <p:cBhvr>
                                        <p:cTn id="40" dur="500"/>
                                        <p:tgtEl>
                                          <p:spTgt spid="6">
                                            <p:graphicEl>
                                              <a:dgm id="{4FF426B4-E48A-4252-BAAD-B02755E253B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graphicEl>
                                              <a:dgm id="{47EFA488-19BB-4254-8BDC-9FD2C7E7B549}"/>
                                            </p:graphicEl>
                                          </p:spTgt>
                                        </p:tgtEl>
                                        <p:attrNameLst>
                                          <p:attrName>style.visibility</p:attrName>
                                        </p:attrNameLst>
                                      </p:cBhvr>
                                      <p:to>
                                        <p:strVal val="visible"/>
                                      </p:to>
                                    </p:set>
                                    <p:animEffect transition="in" filter="fade">
                                      <p:cBhvr>
                                        <p:cTn id="43" dur="500"/>
                                        <p:tgtEl>
                                          <p:spTgt spid="6">
                                            <p:graphicEl>
                                              <a:dgm id="{47EFA488-19BB-4254-8BDC-9FD2C7E7B54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F4B3A-D940-4823-A096-27512C9B74B7}"/>
              </a:ext>
            </a:extLst>
          </p:cNvPr>
          <p:cNvSpPr>
            <a:spLocks noGrp="1"/>
          </p:cNvSpPr>
          <p:nvPr>
            <p:ph type="title"/>
          </p:nvPr>
        </p:nvSpPr>
        <p:spPr/>
        <p:txBody>
          <a:bodyPr vert="horz" lIns="91440" tIns="45720" rIns="91440" bIns="45720" rtlCol="0" anchor="ctr">
            <a:normAutofit fontScale="90000"/>
          </a:bodyPr>
          <a:lstStyle/>
          <a:p>
            <a:pPr defTabSz="914400"/>
            <a:r>
              <a:rPr lang="en-US" sz="4900"/>
              <a:t>Funding</a:t>
            </a:r>
            <a:r>
              <a:rPr lang="en-US" sz="4400" kern="1200">
                <a:solidFill>
                  <a:schemeClr val="tx1"/>
                </a:solidFill>
                <a:latin typeface="+mj-lt"/>
                <a:ea typeface="+mj-ea"/>
                <a:cs typeface="+mj-cs"/>
              </a:rPr>
              <a:t> </a:t>
            </a:r>
            <a:r>
              <a:rPr lang="en-US" sz="4900"/>
              <a:t>Approach</a:t>
            </a:r>
          </a:p>
        </p:txBody>
      </p:sp>
      <p:graphicFrame>
        <p:nvGraphicFramePr>
          <p:cNvPr id="5" name="Text Placeholder 2">
            <a:extLst>
              <a:ext uri="{FF2B5EF4-FFF2-40B4-BE49-F238E27FC236}">
                <a16:creationId xmlns:a16="http://schemas.microsoft.com/office/drawing/2014/main" id="{832A5D8A-283A-4298-9957-AD6FA61D7807}"/>
              </a:ext>
            </a:extLst>
          </p:cNvPr>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2"/>
    </p:custDataLst>
    <p:extLst>
      <p:ext uri="{BB962C8B-B14F-4D97-AF65-F5344CB8AC3E}">
        <p14:creationId xmlns:p14="http://schemas.microsoft.com/office/powerpoint/2010/main" val="3934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35123">
        <p:fade/>
      </p:transition>
    </mc:Choice>
    <mc:Fallback xmlns="">
      <p:transition spd="med" advTm="35123">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0440E-58B4-428D-98CB-90337BEEF9D8}"/>
              </a:ext>
            </a:extLst>
          </p:cNvPr>
          <p:cNvSpPr>
            <a:spLocks noGrp="1"/>
          </p:cNvSpPr>
          <p:nvPr>
            <p:ph type="title"/>
          </p:nvPr>
        </p:nvSpPr>
        <p:spPr/>
        <p:txBody>
          <a:bodyPr/>
          <a:lstStyle/>
          <a:p>
            <a:r>
              <a:rPr lang="de-DE" sz="4400" err="1"/>
              <a:t>Responsibilities</a:t>
            </a:r>
            <a:r>
              <a:rPr lang="de-DE" sz="4400"/>
              <a:t> </a:t>
            </a:r>
            <a:r>
              <a:rPr lang="de-DE" sz="4400" err="1"/>
              <a:t>of</a:t>
            </a:r>
            <a:r>
              <a:rPr lang="de-DE" sz="4400"/>
              <a:t> Executive Sponsor</a:t>
            </a:r>
          </a:p>
        </p:txBody>
      </p:sp>
      <p:sp>
        <p:nvSpPr>
          <p:cNvPr id="3" name="Textplatzhalter 2">
            <a:extLst>
              <a:ext uri="{FF2B5EF4-FFF2-40B4-BE49-F238E27FC236}">
                <a16:creationId xmlns:a16="http://schemas.microsoft.com/office/drawing/2014/main" id="{FDF397D8-EC2B-4139-91E8-5302D3D4DFC1}"/>
              </a:ext>
            </a:extLst>
          </p:cNvPr>
          <p:cNvSpPr>
            <a:spLocks noGrp="1"/>
          </p:cNvSpPr>
          <p:nvPr>
            <p:ph type="body" sz="quarter" idx="10"/>
          </p:nvPr>
        </p:nvSpPr>
        <p:spPr>
          <a:xfrm>
            <a:off x="5721265" y="726536"/>
            <a:ext cx="5956077" cy="6260175"/>
          </a:xfrm>
        </p:spPr>
        <p:txBody>
          <a:bodyPr/>
          <a:lstStyle/>
          <a:p>
            <a:pPr marL="171450" indent="-171450" algn="l">
              <a:lnSpc>
                <a:spcPct val="100000"/>
              </a:lnSpc>
              <a:buFont typeface="Arial" panose="020B0604020202020204" pitchFamily="34" charset="0"/>
              <a:buChar char="•"/>
            </a:pPr>
            <a:r>
              <a:rPr lang="en-US" sz="2000"/>
              <a:t>Formulating a strategic vision and priorities for BI and analytics.</a:t>
            </a:r>
          </a:p>
          <a:p>
            <a:pPr marL="171450" indent="-171450" algn="l">
              <a:lnSpc>
                <a:spcPct val="100000"/>
              </a:lnSpc>
              <a:buFont typeface="Arial" panose="020B0604020202020204" pitchFamily="34" charset="0"/>
              <a:buChar char="•"/>
            </a:pPr>
            <a:r>
              <a:rPr lang="en-US" sz="2000"/>
              <a:t>Leading by example by actively using Power BI in a way that's consistent with data culture and adoption goals.</a:t>
            </a:r>
          </a:p>
          <a:p>
            <a:pPr marL="171450" indent="-171450" algn="l">
              <a:lnSpc>
                <a:spcPct val="100000"/>
              </a:lnSpc>
              <a:buFont typeface="Arial" panose="020B0604020202020204" pitchFamily="34" charset="0"/>
              <a:buChar char="•"/>
            </a:pPr>
            <a:r>
              <a:rPr lang="en-US" sz="2000"/>
              <a:t>Allocating staffing and prioritizing resources.</a:t>
            </a:r>
          </a:p>
          <a:p>
            <a:pPr marL="171450" indent="-171450" algn="l">
              <a:lnSpc>
                <a:spcPct val="100000"/>
              </a:lnSpc>
              <a:buFont typeface="Arial" panose="020B0604020202020204" pitchFamily="34" charset="0"/>
              <a:buChar char="•"/>
            </a:pPr>
            <a:r>
              <a:rPr lang="en-US" sz="2000"/>
              <a:t>Approving funding (for example, Power BI licenses).</a:t>
            </a:r>
          </a:p>
          <a:p>
            <a:pPr marL="171450" indent="-171450" algn="l">
              <a:lnSpc>
                <a:spcPct val="100000"/>
              </a:lnSpc>
              <a:buFont typeface="Arial" panose="020B0604020202020204" pitchFamily="34" charset="0"/>
              <a:buChar char="•"/>
            </a:pPr>
            <a:r>
              <a:rPr lang="en-US" sz="2000"/>
              <a:t>Communicating announcements that are of critical importance.</a:t>
            </a:r>
          </a:p>
          <a:p>
            <a:pPr marL="171450" indent="-171450" algn="l">
              <a:lnSpc>
                <a:spcPct val="100000"/>
              </a:lnSpc>
              <a:buFont typeface="Arial" panose="020B0604020202020204" pitchFamily="34" charset="0"/>
              <a:buChar char="•"/>
            </a:pPr>
            <a:r>
              <a:rPr lang="en-US" sz="2000"/>
              <a:t>Decision-making, particularly for strategic-level governance decisions.</a:t>
            </a:r>
          </a:p>
          <a:p>
            <a:pPr marL="171450" indent="-171450" algn="l">
              <a:lnSpc>
                <a:spcPct val="100000"/>
              </a:lnSpc>
              <a:buFont typeface="Arial" panose="020B0604020202020204" pitchFamily="34" charset="0"/>
              <a:buChar char="•"/>
            </a:pPr>
            <a:r>
              <a:rPr lang="en-US" sz="2000"/>
              <a:t>Dispute resolution (for escalated issues that cannot be resolved by operational or tactical personnel).</a:t>
            </a:r>
          </a:p>
          <a:p>
            <a:pPr marL="171450" indent="-171450" algn="l">
              <a:lnSpc>
                <a:spcPct val="100000"/>
              </a:lnSpc>
              <a:buFont typeface="Arial" panose="020B0604020202020204" pitchFamily="34" charset="0"/>
              <a:buChar char="•"/>
            </a:pPr>
            <a:r>
              <a:rPr lang="en-US" sz="2000"/>
              <a:t>Supporting organizational changes (e.g., creating or expanding the COE).</a:t>
            </a:r>
            <a:endParaRPr lang="de-DE" sz="2000"/>
          </a:p>
          <a:p>
            <a:pPr marL="571500" indent="-571500">
              <a:buFont typeface="Arial" panose="020B0604020202020204" pitchFamily="34" charset="0"/>
              <a:buChar char="•"/>
            </a:pPr>
            <a:endParaRPr lang="de-DE" sz="1800"/>
          </a:p>
          <a:p>
            <a:pPr marL="571500" indent="-571500">
              <a:buFont typeface="Arial" panose="020B0604020202020204" pitchFamily="34" charset="0"/>
              <a:buChar char="•"/>
            </a:pPr>
            <a:endParaRPr lang="de-DE" sz="1800"/>
          </a:p>
        </p:txBody>
      </p:sp>
    </p:spTree>
    <p:extLst>
      <p:ext uri="{BB962C8B-B14F-4D97-AF65-F5344CB8AC3E}">
        <p14:creationId xmlns:p14="http://schemas.microsoft.com/office/powerpoint/2010/main" val="6046634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ksta vietturis 3">
            <a:extLst>
              <a:ext uri="{FF2B5EF4-FFF2-40B4-BE49-F238E27FC236}">
                <a16:creationId xmlns:a16="http://schemas.microsoft.com/office/drawing/2014/main" id="{B4E5927B-7C7F-4B71-9AE0-C31FF1C4BACB}"/>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el 2">
            <a:extLst>
              <a:ext uri="{FF2B5EF4-FFF2-40B4-BE49-F238E27FC236}">
                <a16:creationId xmlns:a16="http://schemas.microsoft.com/office/drawing/2014/main" id="{10C920A2-4D09-4938-98C3-129B3977B2CD}"/>
              </a:ext>
            </a:extLst>
          </p:cNvPr>
          <p:cNvSpPr>
            <a:spLocks noGrp="1"/>
          </p:cNvSpPr>
          <p:nvPr>
            <p:ph type="title"/>
          </p:nvPr>
        </p:nvSpPr>
        <p:spPr/>
        <p:txBody>
          <a:bodyPr/>
          <a:lstStyle/>
          <a:p>
            <a:r>
              <a:rPr lang="en-GB"/>
              <a:t>Key Requirements</a:t>
            </a:r>
            <a:endParaRPr lang="de-DE"/>
          </a:p>
        </p:txBody>
      </p:sp>
    </p:spTree>
    <p:custDataLst>
      <p:tags r:id="rId1"/>
    </p:custDataLst>
    <p:extLst>
      <p:ext uri="{BB962C8B-B14F-4D97-AF65-F5344CB8AC3E}">
        <p14:creationId xmlns:p14="http://schemas.microsoft.com/office/powerpoint/2010/main" val="411434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ircle: Hollow 25">
            <a:extLst>
              <a:ext uri="{FF2B5EF4-FFF2-40B4-BE49-F238E27FC236}">
                <a16:creationId xmlns:a16="http://schemas.microsoft.com/office/drawing/2014/main" id="{C4A1AE24-2F5E-4C09-8CAD-FC4236ECE148}"/>
              </a:ext>
            </a:extLst>
          </p:cNvPr>
          <p:cNvSpPr/>
          <p:nvPr/>
        </p:nvSpPr>
        <p:spPr>
          <a:xfrm>
            <a:off x="3765422" y="1681562"/>
            <a:ext cx="4619560" cy="4619560"/>
          </a:xfrm>
          <a:prstGeom prst="donut">
            <a:avLst>
              <a:gd name="adj" fmla="val 231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43" name="Group 242">
            <a:extLst>
              <a:ext uri="{FF2B5EF4-FFF2-40B4-BE49-F238E27FC236}">
                <a16:creationId xmlns:a16="http://schemas.microsoft.com/office/drawing/2014/main" id="{0453380C-1506-4977-A7EC-AEA220164613}"/>
              </a:ext>
            </a:extLst>
          </p:cNvPr>
          <p:cNvGrpSpPr/>
          <p:nvPr/>
        </p:nvGrpSpPr>
        <p:grpSpPr>
          <a:xfrm>
            <a:off x="5438869" y="2244858"/>
            <a:ext cx="1403299" cy="3321070"/>
            <a:chOff x="5130904" y="2188895"/>
            <a:chExt cx="1491609" cy="3530070"/>
          </a:xfrm>
          <a:effectLst>
            <a:outerShdw blurRad="76200" dist="38100" dir="5400000" algn="t" rotWithShape="0">
              <a:prstClr val="black">
                <a:alpha val="25000"/>
              </a:prstClr>
            </a:outerShdw>
            <a:reflection blurRad="6350" stA="23000" endPos="26000" dir="5400000" sy="-100000" algn="bl" rotWithShape="0"/>
          </a:effectLst>
        </p:grpSpPr>
        <p:sp>
          <p:nvSpPr>
            <p:cNvPr id="11" name="Freeform 5">
              <a:extLst>
                <a:ext uri="{FF2B5EF4-FFF2-40B4-BE49-F238E27FC236}">
                  <a16:creationId xmlns:a16="http://schemas.microsoft.com/office/drawing/2014/main" id="{94D92C7B-0CFB-4AB7-AA1B-066C4A5BE8FE}"/>
                </a:ext>
              </a:extLst>
            </p:cNvPr>
            <p:cNvSpPr>
              <a:spLocks noEditPoints="1"/>
            </p:cNvSpPr>
            <p:nvPr/>
          </p:nvSpPr>
          <p:spPr bwMode="auto">
            <a:xfrm>
              <a:off x="5130904" y="2520836"/>
              <a:ext cx="1491609" cy="3198129"/>
            </a:xfrm>
            <a:custGeom>
              <a:avLst/>
              <a:gdLst>
                <a:gd name="T0" fmla="*/ 98 w 335"/>
                <a:gd name="T1" fmla="*/ 77 h 723"/>
                <a:gd name="T2" fmla="*/ 128 w 335"/>
                <a:gd name="T3" fmla="*/ 67 h 723"/>
                <a:gd name="T4" fmla="*/ 165 w 335"/>
                <a:gd name="T5" fmla="*/ 71 h 723"/>
                <a:gd name="T6" fmla="*/ 213 w 335"/>
                <a:gd name="T7" fmla="*/ 2 h 723"/>
                <a:gd name="T8" fmla="*/ 240 w 335"/>
                <a:gd name="T9" fmla="*/ 17 h 723"/>
                <a:gd name="T10" fmla="*/ 247 w 335"/>
                <a:gd name="T11" fmla="*/ 94 h 723"/>
                <a:gd name="T12" fmla="*/ 330 w 335"/>
                <a:gd name="T13" fmla="*/ 204 h 723"/>
                <a:gd name="T14" fmla="*/ 317 w 335"/>
                <a:gd name="T15" fmla="*/ 212 h 723"/>
                <a:gd name="T16" fmla="*/ 318 w 335"/>
                <a:gd name="T17" fmla="*/ 231 h 723"/>
                <a:gd name="T18" fmla="*/ 292 w 335"/>
                <a:gd name="T19" fmla="*/ 255 h 723"/>
                <a:gd name="T20" fmla="*/ 291 w 335"/>
                <a:gd name="T21" fmla="*/ 309 h 723"/>
                <a:gd name="T22" fmla="*/ 299 w 335"/>
                <a:gd name="T23" fmla="*/ 450 h 723"/>
                <a:gd name="T24" fmla="*/ 300 w 335"/>
                <a:gd name="T25" fmla="*/ 529 h 723"/>
                <a:gd name="T26" fmla="*/ 261 w 335"/>
                <a:gd name="T27" fmla="*/ 677 h 723"/>
                <a:gd name="T28" fmla="*/ 282 w 335"/>
                <a:gd name="T29" fmla="*/ 707 h 723"/>
                <a:gd name="T30" fmla="*/ 235 w 335"/>
                <a:gd name="T31" fmla="*/ 716 h 723"/>
                <a:gd name="T32" fmla="*/ 208 w 335"/>
                <a:gd name="T33" fmla="*/ 687 h 723"/>
                <a:gd name="T34" fmla="*/ 205 w 335"/>
                <a:gd name="T35" fmla="*/ 702 h 723"/>
                <a:gd name="T36" fmla="*/ 199 w 335"/>
                <a:gd name="T37" fmla="*/ 667 h 723"/>
                <a:gd name="T38" fmla="*/ 189 w 335"/>
                <a:gd name="T39" fmla="*/ 584 h 723"/>
                <a:gd name="T40" fmla="*/ 190 w 335"/>
                <a:gd name="T41" fmla="*/ 477 h 723"/>
                <a:gd name="T42" fmla="*/ 168 w 335"/>
                <a:gd name="T43" fmla="*/ 363 h 723"/>
                <a:gd name="T44" fmla="*/ 198 w 335"/>
                <a:gd name="T45" fmla="*/ 259 h 723"/>
                <a:gd name="T46" fmla="*/ 167 w 335"/>
                <a:gd name="T47" fmla="*/ 219 h 723"/>
                <a:gd name="T48" fmla="*/ 140 w 335"/>
                <a:gd name="T49" fmla="*/ 283 h 723"/>
                <a:gd name="T50" fmla="*/ 137 w 335"/>
                <a:gd name="T51" fmla="*/ 337 h 723"/>
                <a:gd name="T52" fmla="*/ 125 w 335"/>
                <a:gd name="T53" fmla="*/ 460 h 723"/>
                <a:gd name="T54" fmla="*/ 132 w 335"/>
                <a:gd name="T55" fmla="*/ 534 h 723"/>
                <a:gd name="T56" fmla="*/ 131 w 335"/>
                <a:gd name="T57" fmla="*/ 629 h 723"/>
                <a:gd name="T58" fmla="*/ 129 w 335"/>
                <a:gd name="T59" fmla="*/ 665 h 723"/>
                <a:gd name="T60" fmla="*/ 134 w 335"/>
                <a:gd name="T61" fmla="*/ 712 h 723"/>
                <a:gd name="T62" fmla="*/ 74 w 335"/>
                <a:gd name="T63" fmla="*/ 719 h 723"/>
                <a:gd name="T64" fmla="*/ 5 w 335"/>
                <a:gd name="T65" fmla="*/ 705 h 723"/>
                <a:gd name="T66" fmla="*/ 37 w 335"/>
                <a:gd name="T67" fmla="*/ 686 h 723"/>
                <a:gd name="T68" fmla="*/ 66 w 335"/>
                <a:gd name="T69" fmla="*/ 654 h 723"/>
                <a:gd name="T70" fmla="*/ 65 w 335"/>
                <a:gd name="T71" fmla="*/ 628 h 723"/>
                <a:gd name="T72" fmla="*/ 51 w 335"/>
                <a:gd name="T73" fmla="*/ 575 h 723"/>
                <a:gd name="T74" fmla="*/ 26 w 335"/>
                <a:gd name="T75" fmla="*/ 380 h 723"/>
                <a:gd name="T76" fmla="*/ 26 w 335"/>
                <a:gd name="T77" fmla="*/ 331 h 723"/>
                <a:gd name="T78" fmla="*/ 43 w 335"/>
                <a:gd name="T79" fmla="*/ 155 h 723"/>
                <a:gd name="T80" fmla="*/ 65 w 335"/>
                <a:gd name="T81" fmla="*/ 101 h 723"/>
                <a:gd name="T82" fmla="*/ 211 w 335"/>
                <a:gd name="T83" fmla="*/ 113 h 723"/>
                <a:gd name="T84" fmla="*/ 177 w 335"/>
                <a:gd name="T85" fmla="*/ 102 h 723"/>
                <a:gd name="T86" fmla="*/ 253 w 335"/>
                <a:gd name="T87" fmla="*/ 173 h 723"/>
                <a:gd name="T88" fmla="*/ 273 w 335"/>
                <a:gd name="T89" fmla="*/ 224 h 723"/>
                <a:gd name="T90" fmla="*/ 257 w 335"/>
                <a:gd name="T91" fmla="*/ 146 h 723"/>
                <a:gd name="T92" fmla="*/ 246 w 335"/>
                <a:gd name="T93" fmla="*/ 116 h 723"/>
                <a:gd name="T94" fmla="*/ 229 w 335"/>
                <a:gd name="T95" fmla="*/ 117 h 723"/>
                <a:gd name="T96" fmla="*/ 253 w 335"/>
                <a:gd name="T97" fmla="*/ 159 h 723"/>
                <a:gd name="T98" fmla="*/ 229 w 335"/>
                <a:gd name="T99" fmla="*/ 588 h 723"/>
                <a:gd name="T100" fmla="*/ 258 w 335"/>
                <a:gd name="T101" fmla="*/ 509 h 723"/>
                <a:gd name="T102" fmla="*/ 243 w 335"/>
                <a:gd name="T103" fmla="*/ 470 h 723"/>
                <a:gd name="T104" fmla="*/ 227 w 335"/>
                <a:gd name="T105" fmla="*/ 527 h 723"/>
                <a:gd name="T106" fmla="*/ 65 w 335"/>
                <a:gd name="T107" fmla="*/ 301 h 723"/>
                <a:gd name="T108" fmla="*/ 98 w 335"/>
                <a:gd name="T109" fmla="*/ 328 h 723"/>
                <a:gd name="T110" fmla="*/ 263 w 335"/>
                <a:gd name="T111" fmla="*/ 273 h 723"/>
                <a:gd name="T112" fmla="*/ 267 w 335"/>
                <a:gd name="T113" fmla="*/ 24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 h="723">
                  <a:moveTo>
                    <a:pt x="73" y="86"/>
                  </a:moveTo>
                  <a:cubicBezTo>
                    <a:pt x="74" y="90"/>
                    <a:pt x="76" y="94"/>
                    <a:pt x="77" y="97"/>
                  </a:cubicBezTo>
                  <a:cubicBezTo>
                    <a:pt x="84" y="91"/>
                    <a:pt x="91" y="84"/>
                    <a:pt x="98" y="77"/>
                  </a:cubicBezTo>
                  <a:cubicBezTo>
                    <a:pt x="104" y="72"/>
                    <a:pt x="109" y="66"/>
                    <a:pt x="117" y="65"/>
                  </a:cubicBezTo>
                  <a:cubicBezTo>
                    <a:pt x="120" y="64"/>
                    <a:pt x="124" y="64"/>
                    <a:pt x="128" y="63"/>
                  </a:cubicBezTo>
                  <a:cubicBezTo>
                    <a:pt x="128" y="65"/>
                    <a:pt x="128" y="66"/>
                    <a:pt x="128" y="67"/>
                  </a:cubicBezTo>
                  <a:cubicBezTo>
                    <a:pt x="127" y="76"/>
                    <a:pt x="132" y="80"/>
                    <a:pt x="140" y="83"/>
                  </a:cubicBezTo>
                  <a:cubicBezTo>
                    <a:pt x="147" y="86"/>
                    <a:pt x="154" y="89"/>
                    <a:pt x="158" y="97"/>
                  </a:cubicBezTo>
                  <a:cubicBezTo>
                    <a:pt x="163" y="88"/>
                    <a:pt x="164" y="80"/>
                    <a:pt x="165" y="71"/>
                  </a:cubicBezTo>
                  <a:cubicBezTo>
                    <a:pt x="165" y="61"/>
                    <a:pt x="166" y="52"/>
                    <a:pt x="168" y="43"/>
                  </a:cubicBezTo>
                  <a:cubicBezTo>
                    <a:pt x="172" y="27"/>
                    <a:pt x="182" y="15"/>
                    <a:pt x="194" y="5"/>
                  </a:cubicBezTo>
                  <a:cubicBezTo>
                    <a:pt x="200" y="1"/>
                    <a:pt x="206" y="0"/>
                    <a:pt x="213" y="2"/>
                  </a:cubicBezTo>
                  <a:cubicBezTo>
                    <a:pt x="219" y="3"/>
                    <a:pt x="225" y="5"/>
                    <a:pt x="231" y="8"/>
                  </a:cubicBezTo>
                  <a:cubicBezTo>
                    <a:pt x="234" y="9"/>
                    <a:pt x="236" y="12"/>
                    <a:pt x="239" y="15"/>
                  </a:cubicBezTo>
                  <a:cubicBezTo>
                    <a:pt x="239" y="15"/>
                    <a:pt x="240" y="16"/>
                    <a:pt x="240" y="17"/>
                  </a:cubicBezTo>
                  <a:cubicBezTo>
                    <a:pt x="246" y="19"/>
                    <a:pt x="248" y="24"/>
                    <a:pt x="249" y="30"/>
                  </a:cubicBezTo>
                  <a:cubicBezTo>
                    <a:pt x="253" y="44"/>
                    <a:pt x="256" y="59"/>
                    <a:pt x="253" y="73"/>
                  </a:cubicBezTo>
                  <a:cubicBezTo>
                    <a:pt x="252" y="80"/>
                    <a:pt x="249" y="87"/>
                    <a:pt x="247" y="94"/>
                  </a:cubicBezTo>
                  <a:cubicBezTo>
                    <a:pt x="246" y="99"/>
                    <a:pt x="245" y="104"/>
                    <a:pt x="244" y="110"/>
                  </a:cubicBezTo>
                  <a:cubicBezTo>
                    <a:pt x="256" y="110"/>
                    <a:pt x="262" y="116"/>
                    <a:pt x="269" y="123"/>
                  </a:cubicBezTo>
                  <a:cubicBezTo>
                    <a:pt x="292" y="148"/>
                    <a:pt x="312" y="175"/>
                    <a:pt x="330" y="204"/>
                  </a:cubicBezTo>
                  <a:cubicBezTo>
                    <a:pt x="332" y="208"/>
                    <a:pt x="334" y="214"/>
                    <a:pt x="335" y="219"/>
                  </a:cubicBezTo>
                  <a:cubicBezTo>
                    <a:pt x="335" y="225"/>
                    <a:pt x="331" y="229"/>
                    <a:pt x="325" y="232"/>
                  </a:cubicBezTo>
                  <a:cubicBezTo>
                    <a:pt x="325" y="224"/>
                    <a:pt x="324" y="217"/>
                    <a:pt x="317" y="212"/>
                  </a:cubicBezTo>
                  <a:cubicBezTo>
                    <a:pt x="312" y="208"/>
                    <a:pt x="306" y="208"/>
                    <a:pt x="299" y="210"/>
                  </a:cubicBezTo>
                  <a:cubicBezTo>
                    <a:pt x="300" y="210"/>
                    <a:pt x="301" y="211"/>
                    <a:pt x="302" y="211"/>
                  </a:cubicBezTo>
                  <a:cubicBezTo>
                    <a:pt x="312" y="213"/>
                    <a:pt x="319" y="222"/>
                    <a:pt x="318" y="231"/>
                  </a:cubicBezTo>
                  <a:cubicBezTo>
                    <a:pt x="318" y="234"/>
                    <a:pt x="317" y="236"/>
                    <a:pt x="314" y="238"/>
                  </a:cubicBezTo>
                  <a:cubicBezTo>
                    <a:pt x="311" y="239"/>
                    <a:pt x="308" y="242"/>
                    <a:pt x="305" y="244"/>
                  </a:cubicBezTo>
                  <a:cubicBezTo>
                    <a:pt x="301" y="248"/>
                    <a:pt x="296" y="251"/>
                    <a:pt x="292" y="255"/>
                  </a:cubicBezTo>
                  <a:cubicBezTo>
                    <a:pt x="290" y="257"/>
                    <a:pt x="289" y="259"/>
                    <a:pt x="289" y="261"/>
                  </a:cubicBezTo>
                  <a:cubicBezTo>
                    <a:pt x="290" y="274"/>
                    <a:pt x="292" y="287"/>
                    <a:pt x="293" y="301"/>
                  </a:cubicBezTo>
                  <a:cubicBezTo>
                    <a:pt x="294" y="304"/>
                    <a:pt x="294" y="307"/>
                    <a:pt x="291" y="309"/>
                  </a:cubicBezTo>
                  <a:cubicBezTo>
                    <a:pt x="290" y="310"/>
                    <a:pt x="291" y="312"/>
                    <a:pt x="291" y="314"/>
                  </a:cubicBezTo>
                  <a:cubicBezTo>
                    <a:pt x="293" y="357"/>
                    <a:pt x="294" y="400"/>
                    <a:pt x="302" y="443"/>
                  </a:cubicBezTo>
                  <a:cubicBezTo>
                    <a:pt x="303" y="446"/>
                    <a:pt x="301" y="448"/>
                    <a:pt x="299" y="450"/>
                  </a:cubicBezTo>
                  <a:cubicBezTo>
                    <a:pt x="296" y="452"/>
                    <a:pt x="295" y="454"/>
                    <a:pt x="296" y="457"/>
                  </a:cubicBezTo>
                  <a:cubicBezTo>
                    <a:pt x="299" y="472"/>
                    <a:pt x="302" y="487"/>
                    <a:pt x="305" y="502"/>
                  </a:cubicBezTo>
                  <a:cubicBezTo>
                    <a:pt x="307" y="512"/>
                    <a:pt x="305" y="521"/>
                    <a:pt x="300" y="529"/>
                  </a:cubicBezTo>
                  <a:cubicBezTo>
                    <a:pt x="283" y="552"/>
                    <a:pt x="272" y="578"/>
                    <a:pt x="260" y="603"/>
                  </a:cubicBezTo>
                  <a:cubicBezTo>
                    <a:pt x="252" y="620"/>
                    <a:pt x="249" y="639"/>
                    <a:pt x="250" y="658"/>
                  </a:cubicBezTo>
                  <a:cubicBezTo>
                    <a:pt x="251" y="666"/>
                    <a:pt x="255" y="672"/>
                    <a:pt x="261" y="677"/>
                  </a:cubicBezTo>
                  <a:cubicBezTo>
                    <a:pt x="264" y="681"/>
                    <a:pt x="269" y="684"/>
                    <a:pt x="273" y="687"/>
                  </a:cubicBezTo>
                  <a:cubicBezTo>
                    <a:pt x="279" y="691"/>
                    <a:pt x="280" y="695"/>
                    <a:pt x="271" y="699"/>
                  </a:cubicBezTo>
                  <a:cubicBezTo>
                    <a:pt x="275" y="702"/>
                    <a:pt x="278" y="705"/>
                    <a:pt x="282" y="707"/>
                  </a:cubicBezTo>
                  <a:cubicBezTo>
                    <a:pt x="285" y="709"/>
                    <a:pt x="286" y="712"/>
                    <a:pt x="283" y="715"/>
                  </a:cubicBezTo>
                  <a:cubicBezTo>
                    <a:pt x="281" y="718"/>
                    <a:pt x="277" y="720"/>
                    <a:pt x="274" y="721"/>
                  </a:cubicBezTo>
                  <a:cubicBezTo>
                    <a:pt x="261" y="723"/>
                    <a:pt x="248" y="720"/>
                    <a:pt x="235" y="716"/>
                  </a:cubicBezTo>
                  <a:cubicBezTo>
                    <a:pt x="233" y="715"/>
                    <a:pt x="231" y="712"/>
                    <a:pt x="228" y="709"/>
                  </a:cubicBezTo>
                  <a:cubicBezTo>
                    <a:pt x="223" y="703"/>
                    <a:pt x="218" y="697"/>
                    <a:pt x="213" y="691"/>
                  </a:cubicBezTo>
                  <a:cubicBezTo>
                    <a:pt x="212" y="690"/>
                    <a:pt x="210" y="689"/>
                    <a:pt x="208" y="687"/>
                  </a:cubicBezTo>
                  <a:cubicBezTo>
                    <a:pt x="208" y="694"/>
                    <a:pt x="208" y="699"/>
                    <a:pt x="208" y="704"/>
                  </a:cubicBezTo>
                  <a:cubicBezTo>
                    <a:pt x="208" y="704"/>
                    <a:pt x="207" y="704"/>
                    <a:pt x="207" y="705"/>
                  </a:cubicBezTo>
                  <a:cubicBezTo>
                    <a:pt x="206" y="704"/>
                    <a:pt x="205" y="703"/>
                    <a:pt x="205" y="702"/>
                  </a:cubicBezTo>
                  <a:cubicBezTo>
                    <a:pt x="205" y="700"/>
                    <a:pt x="205" y="698"/>
                    <a:pt x="205" y="697"/>
                  </a:cubicBezTo>
                  <a:cubicBezTo>
                    <a:pt x="206" y="690"/>
                    <a:pt x="205" y="685"/>
                    <a:pt x="200" y="680"/>
                  </a:cubicBezTo>
                  <a:cubicBezTo>
                    <a:pt x="197" y="676"/>
                    <a:pt x="197" y="672"/>
                    <a:pt x="199" y="667"/>
                  </a:cubicBezTo>
                  <a:cubicBezTo>
                    <a:pt x="201" y="662"/>
                    <a:pt x="203" y="657"/>
                    <a:pt x="204" y="652"/>
                  </a:cubicBezTo>
                  <a:cubicBezTo>
                    <a:pt x="207" y="641"/>
                    <a:pt x="204" y="630"/>
                    <a:pt x="201" y="620"/>
                  </a:cubicBezTo>
                  <a:cubicBezTo>
                    <a:pt x="197" y="608"/>
                    <a:pt x="194" y="596"/>
                    <a:pt x="189" y="584"/>
                  </a:cubicBezTo>
                  <a:cubicBezTo>
                    <a:pt x="183" y="567"/>
                    <a:pt x="183" y="550"/>
                    <a:pt x="184" y="533"/>
                  </a:cubicBezTo>
                  <a:cubicBezTo>
                    <a:pt x="186" y="516"/>
                    <a:pt x="188" y="499"/>
                    <a:pt x="190" y="483"/>
                  </a:cubicBezTo>
                  <a:cubicBezTo>
                    <a:pt x="190" y="481"/>
                    <a:pt x="190" y="479"/>
                    <a:pt x="190" y="477"/>
                  </a:cubicBezTo>
                  <a:cubicBezTo>
                    <a:pt x="190" y="468"/>
                    <a:pt x="190" y="468"/>
                    <a:pt x="181" y="466"/>
                  </a:cubicBezTo>
                  <a:cubicBezTo>
                    <a:pt x="180" y="466"/>
                    <a:pt x="178" y="464"/>
                    <a:pt x="177" y="463"/>
                  </a:cubicBezTo>
                  <a:cubicBezTo>
                    <a:pt x="174" y="430"/>
                    <a:pt x="171" y="396"/>
                    <a:pt x="168" y="363"/>
                  </a:cubicBezTo>
                  <a:cubicBezTo>
                    <a:pt x="166" y="342"/>
                    <a:pt x="173" y="323"/>
                    <a:pt x="182" y="305"/>
                  </a:cubicBezTo>
                  <a:cubicBezTo>
                    <a:pt x="187" y="295"/>
                    <a:pt x="192" y="286"/>
                    <a:pt x="197" y="277"/>
                  </a:cubicBezTo>
                  <a:cubicBezTo>
                    <a:pt x="201" y="271"/>
                    <a:pt x="199" y="265"/>
                    <a:pt x="198" y="259"/>
                  </a:cubicBezTo>
                  <a:cubicBezTo>
                    <a:pt x="196" y="252"/>
                    <a:pt x="193" y="245"/>
                    <a:pt x="189" y="238"/>
                  </a:cubicBezTo>
                  <a:cubicBezTo>
                    <a:pt x="182" y="227"/>
                    <a:pt x="175" y="217"/>
                    <a:pt x="167" y="207"/>
                  </a:cubicBezTo>
                  <a:cubicBezTo>
                    <a:pt x="167" y="211"/>
                    <a:pt x="166" y="215"/>
                    <a:pt x="167" y="219"/>
                  </a:cubicBezTo>
                  <a:cubicBezTo>
                    <a:pt x="167" y="229"/>
                    <a:pt x="165" y="238"/>
                    <a:pt x="159" y="247"/>
                  </a:cubicBezTo>
                  <a:cubicBezTo>
                    <a:pt x="154" y="256"/>
                    <a:pt x="148" y="265"/>
                    <a:pt x="142" y="274"/>
                  </a:cubicBezTo>
                  <a:cubicBezTo>
                    <a:pt x="140" y="277"/>
                    <a:pt x="140" y="279"/>
                    <a:pt x="140" y="283"/>
                  </a:cubicBezTo>
                  <a:cubicBezTo>
                    <a:pt x="143" y="301"/>
                    <a:pt x="146" y="319"/>
                    <a:pt x="149" y="338"/>
                  </a:cubicBezTo>
                  <a:cubicBezTo>
                    <a:pt x="149" y="340"/>
                    <a:pt x="149" y="342"/>
                    <a:pt x="149" y="344"/>
                  </a:cubicBezTo>
                  <a:cubicBezTo>
                    <a:pt x="145" y="342"/>
                    <a:pt x="141" y="340"/>
                    <a:pt x="137" y="337"/>
                  </a:cubicBezTo>
                  <a:cubicBezTo>
                    <a:pt x="139" y="345"/>
                    <a:pt x="136" y="351"/>
                    <a:pt x="132" y="356"/>
                  </a:cubicBezTo>
                  <a:cubicBezTo>
                    <a:pt x="127" y="363"/>
                    <a:pt x="124" y="370"/>
                    <a:pt x="124" y="379"/>
                  </a:cubicBezTo>
                  <a:cubicBezTo>
                    <a:pt x="125" y="406"/>
                    <a:pt x="125" y="433"/>
                    <a:pt x="125" y="460"/>
                  </a:cubicBezTo>
                  <a:cubicBezTo>
                    <a:pt x="125" y="464"/>
                    <a:pt x="124" y="469"/>
                    <a:pt x="125" y="472"/>
                  </a:cubicBezTo>
                  <a:cubicBezTo>
                    <a:pt x="129" y="483"/>
                    <a:pt x="125" y="493"/>
                    <a:pt x="128" y="503"/>
                  </a:cubicBezTo>
                  <a:cubicBezTo>
                    <a:pt x="131" y="513"/>
                    <a:pt x="131" y="524"/>
                    <a:pt x="132" y="534"/>
                  </a:cubicBezTo>
                  <a:cubicBezTo>
                    <a:pt x="134" y="554"/>
                    <a:pt x="136" y="575"/>
                    <a:pt x="136" y="595"/>
                  </a:cubicBezTo>
                  <a:cubicBezTo>
                    <a:pt x="137" y="602"/>
                    <a:pt x="134" y="609"/>
                    <a:pt x="133" y="616"/>
                  </a:cubicBezTo>
                  <a:cubicBezTo>
                    <a:pt x="132" y="620"/>
                    <a:pt x="131" y="625"/>
                    <a:pt x="131" y="629"/>
                  </a:cubicBezTo>
                  <a:cubicBezTo>
                    <a:pt x="132" y="637"/>
                    <a:pt x="133" y="646"/>
                    <a:pt x="133" y="654"/>
                  </a:cubicBezTo>
                  <a:cubicBezTo>
                    <a:pt x="133" y="657"/>
                    <a:pt x="131" y="659"/>
                    <a:pt x="130" y="662"/>
                  </a:cubicBezTo>
                  <a:cubicBezTo>
                    <a:pt x="130" y="663"/>
                    <a:pt x="129" y="664"/>
                    <a:pt x="129" y="665"/>
                  </a:cubicBezTo>
                  <a:cubicBezTo>
                    <a:pt x="130" y="668"/>
                    <a:pt x="131" y="671"/>
                    <a:pt x="132" y="674"/>
                  </a:cubicBezTo>
                  <a:cubicBezTo>
                    <a:pt x="137" y="685"/>
                    <a:pt x="136" y="697"/>
                    <a:pt x="137" y="709"/>
                  </a:cubicBezTo>
                  <a:cubicBezTo>
                    <a:pt x="137" y="710"/>
                    <a:pt x="135" y="712"/>
                    <a:pt x="134" y="712"/>
                  </a:cubicBezTo>
                  <a:cubicBezTo>
                    <a:pt x="124" y="717"/>
                    <a:pt x="114" y="718"/>
                    <a:pt x="103" y="716"/>
                  </a:cubicBezTo>
                  <a:cubicBezTo>
                    <a:pt x="101" y="715"/>
                    <a:pt x="100" y="713"/>
                    <a:pt x="99" y="712"/>
                  </a:cubicBezTo>
                  <a:cubicBezTo>
                    <a:pt x="91" y="715"/>
                    <a:pt x="82" y="718"/>
                    <a:pt x="74" y="719"/>
                  </a:cubicBezTo>
                  <a:cubicBezTo>
                    <a:pt x="55" y="722"/>
                    <a:pt x="36" y="723"/>
                    <a:pt x="17" y="716"/>
                  </a:cubicBezTo>
                  <a:cubicBezTo>
                    <a:pt x="14" y="714"/>
                    <a:pt x="11" y="713"/>
                    <a:pt x="13" y="708"/>
                  </a:cubicBezTo>
                  <a:cubicBezTo>
                    <a:pt x="10" y="707"/>
                    <a:pt x="8" y="706"/>
                    <a:pt x="5" y="705"/>
                  </a:cubicBezTo>
                  <a:cubicBezTo>
                    <a:pt x="0" y="703"/>
                    <a:pt x="0" y="698"/>
                    <a:pt x="4" y="695"/>
                  </a:cubicBezTo>
                  <a:cubicBezTo>
                    <a:pt x="7" y="693"/>
                    <a:pt x="11" y="692"/>
                    <a:pt x="15" y="691"/>
                  </a:cubicBezTo>
                  <a:cubicBezTo>
                    <a:pt x="22" y="689"/>
                    <a:pt x="30" y="688"/>
                    <a:pt x="37" y="686"/>
                  </a:cubicBezTo>
                  <a:cubicBezTo>
                    <a:pt x="40" y="686"/>
                    <a:pt x="43" y="684"/>
                    <a:pt x="46" y="681"/>
                  </a:cubicBezTo>
                  <a:cubicBezTo>
                    <a:pt x="50" y="676"/>
                    <a:pt x="55" y="670"/>
                    <a:pt x="59" y="665"/>
                  </a:cubicBezTo>
                  <a:cubicBezTo>
                    <a:pt x="62" y="661"/>
                    <a:pt x="64" y="658"/>
                    <a:pt x="66" y="654"/>
                  </a:cubicBezTo>
                  <a:cubicBezTo>
                    <a:pt x="66" y="653"/>
                    <a:pt x="66" y="652"/>
                    <a:pt x="66" y="652"/>
                  </a:cubicBezTo>
                  <a:cubicBezTo>
                    <a:pt x="66" y="651"/>
                    <a:pt x="66" y="650"/>
                    <a:pt x="65" y="650"/>
                  </a:cubicBezTo>
                  <a:cubicBezTo>
                    <a:pt x="60" y="643"/>
                    <a:pt x="60" y="635"/>
                    <a:pt x="65" y="628"/>
                  </a:cubicBezTo>
                  <a:cubicBezTo>
                    <a:pt x="67" y="625"/>
                    <a:pt x="66" y="623"/>
                    <a:pt x="65" y="620"/>
                  </a:cubicBezTo>
                  <a:cubicBezTo>
                    <a:pt x="61" y="608"/>
                    <a:pt x="57" y="595"/>
                    <a:pt x="53" y="583"/>
                  </a:cubicBezTo>
                  <a:cubicBezTo>
                    <a:pt x="52" y="580"/>
                    <a:pt x="52" y="577"/>
                    <a:pt x="51" y="575"/>
                  </a:cubicBezTo>
                  <a:cubicBezTo>
                    <a:pt x="40" y="552"/>
                    <a:pt x="29" y="528"/>
                    <a:pt x="18" y="505"/>
                  </a:cubicBezTo>
                  <a:cubicBezTo>
                    <a:pt x="14" y="496"/>
                    <a:pt x="12" y="487"/>
                    <a:pt x="14" y="477"/>
                  </a:cubicBezTo>
                  <a:cubicBezTo>
                    <a:pt x="18" y="445"/>
                    <a:pt x="22" y="413"/>
                    <a:pt x="26" y="380"/>
                  </a:cubicBezTo>
                  <a:cubicBezTo>
                    <a:pt x="28" y="368"/>
                    <a:pt x="29" y="355"/>
                    <a:pt x="30" y="342"/>
                  </a:cubicBezTo>
                  <a:cubicBezTo>
                    <a:pt x="30" y="340"/>
                    <a:pt x="31" y="338"/>
                    <a:pt x="28" y="337"/>
                  </a:cubicBezTo>
                  <a:cubicBezTo>
                    <a:pt x="26" y="337"/>
                    <a:pt x="26" y="333"/>
                    <a:pt x="26" y="331"/>
                  </a:cubicBezTo>
                  <a:cubicBezTo>
                    <a:pt x="25" y="318"/>
                    <a:pt x="24" y="305"/>
                    <a:pt x="25" y="292"/>
                  </a:cubicBezTo>
                  <a:cubicBezTo>
                    <a:pt x="27" y="263"/>
                    <a:pt x="29" y="235"/>
                    <a:pt x="31" y="206"/>
                  </a:cubicBezTo>
                  <a:cubicBezTo>
                    <a:pt x="32" y="189"/>
                    <a:pt x="39" y="172"/>
                    <a:pt x="43" y="155"/>
                  </a:cubicBezTo>
                  <a:cubicBezTo>
                    <a:pt x="46" y="145"/>
                    <a:pt x="49" y="134"/>
                    <a:pt x="53" y="124"/>
                  </a:cubicBezTo>
                  <a:cubicBezTo>
                    <a:pt x="55" y="118"/>
                    <a:pt x="60" y="113"/>
                    <a:pt x="63" y="107"/>
                  </a:cubicBezTo>
                  <a:cubicBezTo>
                    <a:pt x="64" y="105"/>
                    <a:pt x="65" y="103"/>
                    <a:pt x="65" y="101"/>
                  </a:cubicBezTo>
                  <a:cubicBezTo>
                    <a:pt x="64" y="92"/>
                    <a:pt x="66" y="89"/>
                    <a:pt x="73" y="86"/>
                  </a:cubicBezTo>
                  <a:close/>
                  <a:moveTo>
                    <a:pt x="214" y="124"/>
                  </a:moveTo>
                  <a:cubicBezTo>
                    <a:pt x="213" y="120"/>
                    <a:pt x="213" y="117"/>
                    <a:pt x="211" y="113"/>
                  </a:cubicBezTo>
                  <a:cubicBezTo>
                    <a:pt x="211" y="112"/>
                    <a:pt x="210" y="110"/>
                    <a:pt x="209" y="109"/>
                  </a:cubicBezTo>
                  <a:cubicBezTo>
                    <a:pt x="200" y="104"/>
                    <a:pt x="191" y="100"/>
                    <a:pt x="182" y="99"/>
                  </a:cubicBezTo>
                  <a:cubicBezTo>
                    <a:pt x="180" y="99"/>
                    <a:pt x="178" y="101"/>
                    <a:pt x="177" y="102"/>
                  </a:cubicBezTo>
                  <a:cubicBezTo>
                    <a:pt x="175" y="104"/>
                    <a:pt x="175" y="106"/>
                    <a:pt x="173" y="108"/>
                  </a:cubicBezTo>
                  <a:cubicBezTo>
                    <a:pt x="187" y="114"/>
                    <a:pt x="198" y="122"/>
                    <a:pt x="209" y="131"/>
                  </a:cubicBezTo>
                  <a:cubicBezTo>
                    <a:pt x="223" y="145"/>
                    <a:pt x="238" y="159"/>
                    <a:pt x="253" y="173"/>
                  </a:cubicBezTo>
                  <a:cubicBezTo>
                    <a:pt x="264" y="183"/>
                    <a:pt x="271" y="195"/>
                    <a:pt x="271" y="211"/>
                  </a:cubicBezTo>
                  <a:cubicBezTo>
                    <a:pt x="271" y="215"/>
                    <a:pt x="272" y="220"/>
                    <a:pt x="272" y="224"/>
                  </a:cubicBezTo>
                  <a:cubicBezTo>
                    <a:pt x="272" y="224"/>
                    <a:pt x="273" y="224"/>
                    <a:pt x="273" y="224"/>
                  </a:cubicBezTo>
                  <a:cubicBezTo>
                    <a:pt x="274" y="223"/>
                    <a:pt x="275" y="222"/>
                    <a:pt x="275" y="221"/>
                  </a:cubicBezTo>
                  <a:cubicBezTo>
                    <a:pt x="276" y="205"/>
                    <a:pt x="275" y="189"/>
                    <a:pt x="266" y="176"/>
                  </a:cubicBezTo>
                  <a:cubicBezTo>
                    <a:pt x="259" y="167"/>
                    <a:pt x="256" y="157"/>
                    <a:pt x="257" y="146"/>
                  </a:cubicBezTo>
                  <a:cubicBezTo>
                    <a:pt x="257" y="142"/>
                    <a:pt x="255" y="137"/>
                    <a:pt x="253" y="135"/>
                  </a:cubicBezTo>
                  <a:cubicBezTo>
                    <a:pt x="250" y="132"/>
                    <a:pt x="249" y="129"/>
                    <a:pt x="248" y="125"/>
                  </a:cubicBezTo>
                  <a:cubicBezTo>
                    <a:pt x="248" y="122"/>
                    <a:pt x="247" y="119"/>
                    <a:pt x="246" y="116"/>
                  </a:cubicBezTo>
                  <a:cubicBezTo>
                    <a:pt x="246" y="115"/>
                    <a:pt x="246" y="113"/>
                    <a:pt x="245" y="113"/>
                  </a:cubicBezTo>
                  <a:cubicBezTo>
                    <a:pt x="238" y="109"/>
                    <a:pt x="231" y="106"/>
                    <a:pt x="224" y="103"/>
                  </a:cubicBezTo>
                  <a:cubicBezTo>
                    <a:pt x="225" y="108"/>
                    <a:pt x="227" y="112"/>
                    <a:pt x="229" y="117"/>
                  </a:cubicBezTo>
                  <a:cubicBezTo>
                    <a:pt x="231" y="123"/>
                    <a:pt x="234" y="128"/>
                    <a:pt x="240" y="132"/>
                  </a:cubicBezTo>
                  <a:cubicBezTo>
                    <a:pt x="242" y="132"/>
                    <a:pt x="243" y="134"/>
                    <a:pt x="244" y="136"/>
                  </a:cubicBezTo>
                  <a:cubicBezTo>
                    <a:pt x="247" y="143"/>
                    <a:pt x="250" y="151"/>
                    <a:pt x="253" y="159"/>
                  </a:cubicBezTo>
                  <a:cubicBezTo>
                    <a:pt x="236" y="150"/>
                    <a:pt x="224" y="140"/>
                    <a:pt x="220" y="121"/>
                  </a:cubicBezTo>
                  <a:cubicBezTo>
                    <a:pt x="218" y="122"/>
                    <a:pt x="216" y="123"/>
                    <a:pt x="214" y="124"/>
                  </a:cubicBezTo>
                  <a:close/>
                  <a:moveTo>
                    <a:pt x="229" y="588"/>
                  </a:moveTo>
                  <a:cubicBezTo>
                    <a:pt x="234" y="581"/>
                    <a:pt x="237" y="574"/>
                    <a:pt x="238" y="566"/>
                  </a:cubicBezTo>
                  <a:cubicBezTo>
                    <a:pt x="240" y="550"/>
                    <a:pt x="244" y="535"/>
                    <a:pt x="252" y="521"/>
                  </a:cubicBezTo>
                  <a:cubicBezTo>
                    <a:pt x="254" y="518"/>
                    <a:pt x="256" y="513"/>
                    <a:pt x="258" y="509"/>
                  </a:cubicBezTo>
                  <a:cubicBezTo>
                    <a:pt x="258" y="507"/>
                    <a:pt x="258" y="504"/>
                    <a:pt x="258" y="502"/>
                  </a:cubicBezTo>
                  <a:cubicBezTo>
                    <a:pt x="254" y="492"/>
                    <a:pt x="249" y="483"/>
                    <a:pt x="245" y="473"/>
                  </a:cubicBezTo>
                  <a:cubicBezTo>
                    <a:pt x="245" y="472"/>
                    <a:pt x="244" y="472"/>
                    <a:pt x="243" y="470"/>
                  </a:cubicBezTo>
                  <a:cubicBezTo>
                    <a:pt x="242" y="475"/>
                    <a:pt x="240" y="478"/>
                    <a:pt x="240" y="482"/>
                  </a:cubicBezTo>
                  <a:cubicBezTo>
                    <a:pt x="238" y="496"/>
                    <a:pt x="234" y="509"/>
                    <a:pt x="228" y="522"/>
                  </a:cubicBezTo>
                  <a:cubicBezTo>
                    <a:pt x="228" y="523"/>
                    <a:pt x="227" y="525"/>
                    <a:pt x="227" y="527"/>
                  </a:cubicBezTo>
                  <a:cubicBezTo>
                    <a:pt x="228" y="546"/>
                    <a:pt x="228" y="565"/>
                    <a:pt x="228" y="583"/>
                  </a:cubicBezTo>
                  <a:cubicBezTo>
                    <a:pt x="228" y="585"/>
                    <a:pt x="229" y="586"/>
                    <a:pt x="229" y="588"/>
                  </a:cubicBezTo>
                  <a:close/>
                  <a:moveTo>
                    <a:pt x="65" y="301"/>
                  </a:moveTo>
                  <a:cubicBezTo>
                    <a:pt x="63" y="305"/>
                    <a:pt x="60" y="308"/>
                    <a:pt x="63" y="312"/>
                  </a:cubicBezTo>
                  <a:cubicBezTo>
                    <a:pt x="69" y="321"/>
                    <a:pt x="76" y="328"/>
                    <a:pt x="86" y="333"/>
                  </a:cubicBezTo>
                  <a:cubicBezTo>
                    <a:pt x="93" y="336"/>
                    <a:pt x="95" y="335"/>
                    <a:pt x="98" y="328"/>
                  </a:cubicBezTo>
                  <a:cubicBezTo>
                    <a:pt x="84" y="323"/>
                    <a:pt x="73" y="314"/>
                    <a:pt x="65" y="301"/>
                  </a:cubicBezTo>
                  <a:close/>
                  <a:moveTo>
                    <a:pt x="255" y="275"/>
                  </a:moveTo>
                  <a:cubicBezTo>
                    <a:pt x="258" y="274"/>
                    <a:pt x="261" y="274"/>
                    <a:pt x="263" y="273"/>
                  </a:cubicBezTo>
                  <a:cubicBezTo>
                    <a:pt x="270" y="272"/>
                    <a:pt x="273" y="268"/>
                    <a:pt x="274" y="262"/>
                  </a:cubicBezTo>
                  <a:cubicBezTo>
                    <a:pt x="275" y="259"/>
                    <a:pt x="275" y="256"/>
                    <a:pt x="275" y="252"/>
                  </a:cubicBezTo>
                  <a:cubicBezTo>
                    <a:pt x="274" y="248"/>
                    <a:pt x="274" y="242"/>
                    <a:pt x="267" y="243"/>
                  </a:cubicBezTo>
                  <a:cubicBezTo>
                    <a:pt x="265" y="243"/>
                    <a:pt x="264" y="243"/>
                    <a:pt x="263" y="242"/>
                  </a:cubicBezTo>
                  <a:cubicBezTo>
                    <a:pt x="269" y="255"/>
                    <a:pt x="266" y="266"/>
                    <a:pt x="255" y="2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10">
              <a:extLst>
                <a:ext uri="{FF2B5EF4-FFF2-40B4-BE49-F238E27FC236}">
                  <a16:creationId xmlns:a16="http://schemas.microsoft.com/office/drawing/2014/main" id="{783AD514-7D64-464D-A986-A33806B7D933}"/>
                </a:ext>
              </a:extLst>
            </p:cNvPr>
            <p:cNvSpPr>
              <a:spLocks/>
            </p:cNvSpPr>
            <p:nvPr/>
          </p:nvSpPr>
          <p:spPr bwMode="auto">
            <a:xfrm>
              <a:off x="5290491" y="2188895"/>
              <a:ext cx="489401" cy="702184"/>
            </a:xfrm>
            <a:custGeom>
              <a:avLst/>
              <a:gdLst>
                <a:gd name="T0" fmla="*/ 97 w 110"/>
                <a:gd name="T1" fmla="*/ 97 h 159"/>
                <a:gd name="T2" fmla="*/ 96 w 110"/>
                <a:gd name="T3" fmla="*/ 81 h 159"/>
                <a:gd name="T4" fmla="*/ 96 w 110"/>
                <a:gd name="T5" fmla="*/ 80 h 159"/>
                <a:gd name="T6" fmla="*/ 96 w 110"/>
                <a:gd name="T7" fmla="*/ 76 h 159"/>
                <a:gd name="T8" fmla="*/ 97 w 110"/>
                <a:gd name="T9" fmla="*/ 71 h 159"/>
                <a:gd name="T10" fmla="*/ 27 w 110"/>
                <a:gd name="T11" fmla="*/ 41 h 159"/>
                <a:gd name="T12" fmla="*/ 0 w 110"/>
                <a:gd name="T13" fmla="*/ 47 h 159"/>
                <a:gd name="T14" fmla="*/ 22 w 110"/>
                <a:gd name="T15" fmla="*/ 68 h 159"/>
                <a:gd name="T16" fmla="*/ 22 w 110"/>
                <a:gd name="T17" fmla="*/ 69 h 159"/>
                <a:gd name="T18" fmla="*/ 22 w 110"/>
                <a:gd name="T19" fmla="*/ 83 h 159"/>
                <a:gd name="T20" fmla="*/ 32 w 110"/>
                <a:gd name="T21" fmla="*/ 140 h 159"/>
                <a:gd name="T22" fmla="*/ 34 w 110"/>
                <a:gd name="T23" fmla="*/ 142 h 159"/>
                <a:gd name="T24" fmla="*/ 38 w 110"/>
                <a:gd name="T25" fmla="*/ 153 h 159"/>
                <a:gd name="T26" fmla="*/ 38 w 110"/>
                <a:gd name="T27" fmla="*/ 159 h 159"/>
                <a:gd name="T28" fmla="*/ 42 w 110"/>
                <a:gd name="T29" fmla="*/ 157 h 159"/>
                <a:gd name="T30" fmla="*/ 81 w 110"/>
                <a:gd name="T31" fmla="*/ 135 h 159"/>
                <a:gd name="T32" fmla="*/ 86 w 110"/>
                <a:gd name="T33" fmla="*/ 127 h 159"/>
                <a:gd name="T34" fmla="*/ 90 w 110"/>
                <a:gd name="T35" fmla="*/ 117 h 159"/>
                <a:gd name="T36" fmla="*/ 97 w 110"/>
                <a:gd name="T37" fmla="*/ 9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59">
                  <a:moveTo>
                    <a:pt x="97" y="97"/>
                  </a:moveTo>
                  <a:cubicBezTo>
                    <a:pt x="95" y="92"/>
                    <a:pt x="96" y="86"/>
                    <a:pt x="96" y="81"/>
                  </a:cubicBezTo>
                  <a:cubicBezTo>
                    <a:pt x="96" y="81"/>
                    <a:pt x="96" y="81"/>
                    <a:pt x="96" y="80"/>
                  </a:cubicBezTo>
                  <a:cubicBezTo>
                    <a:pt x="96" y="79"/>
                    <a:pt x="96" y="77"/>
                    <a:pt x="96" y="76"/>
                  </a:cubicBezTo>
                  <a:cubicBezTo>
                    <a:pt x="97" y="74"/>
                    <a:pt x="97" y="73"/>
                    <a:pt x="97" y="71"/>
                  </a:cubicBezTo>
                  <a:cubicBezTo>
                    <a:pt x="110" y="0"/>
                    <a:pt x="27" y="41"/>
                    <a:pt x="27" y="41"/>
                  </a:cubicBezTo>
                  <a:cubicBezTo>
                    <a:pt x="4" y="32"/>
                    <a:pt x="0" y="47"/>
                    <a:pt x="0" y="47"/>
                  </a:cubicBezTo>
                  <a:cubicBezTo>
                    <a:pt x="2" y="59"/>
                    <a:pt x="14" y="65"/>
                    <a:pt x="22" y="68"/>
                  </a:cubicBezTo>
                  <a:cubicBezTo>
                    <a:pt x="22" y="68"/>
                    <a:pt x="22" y="69"/>
                    <a:pt x="22" y="69"/>
                  </a:cubicBezTo>
                  <a:cubicBezTo>
                    <a:pt x="23" y="73"/>
                    <a:pt x="23" y="78"/>
                    <a:pt x="22" y="83"/>
                  </a:cubicBezTo>
                  <a:cubicBezTo>
                    <a:pt x="20" y="103"/>
                    <a:pt x="23" y="122"/>
                    <a:pt x="32" y="140"/>
                  </a:cubicBezTo>
                  <a:cubicBezTo>
                    <a:pt x="33" y="141"/>
                    <a:pt x="33" y="142"/>
                    <a:pt x="34" y="142"/>
                  </a:cubicBezTo>
                  <a:cubicBezTo>
                    <a:pt x="39" y="144"/>
                    <a:pt x="38" y="149"/>
                    <a:pt x="38" y="153"/>
                  </a:cubicBezTo>
                  <a:cubicBezTo>
                    <a:pt x="38" y="155"/>
                    <a:pt x="38" y="157"/>
                    <a:pt x="38" y="159"/>
                  </a:cubicBezTo>
                  <a:cubicBezTo>
                    <a:pt x="40" y="158"/>
                    <a:pt x="41" y="157"/>
                    <a:pt x="42" y="157"/>
                  </a:cubicBezTo>
                  <a:cubicBezTo>
                    <a:pt x="55" y="149"/>
                    <a:pt x="68" y="142"/>
                    <a:pt x="81" y="135"/>
                  </a:cubicBezTo>
                  <a:cubicBezTo>
                    <a:pt x="85" y="133"/>
                    <a:pt x="87" y="131"/>
                    <a:pt x="86" y="127"/>
                  </a:cubicBezTo>
                  <a:cubicBezTo>
                    <a:pt x="85" y="123"/>
                    <a:pt x="87" y="120"/>
                    <a:pt x="90" y="117"/>
                  </a:cubicBezTo>
                  <a:cubicBezTo>
                    <a:pt x="96" y="112"/>
                    <a:pt x="101" y="106"/>
                    <a:pt x="97" y="97"/>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7" name="Group 13">
            <a:extLst>
              <a:ext uri="{FF2B5EF4-FFF2-40B4-BE49-F238E27FC236}">
                <a16:creationId xmlns:a16="http://schemas.microsoft.com/office/drawing/2014/main" id="{A88A6181-8F2D-44BC-A065-A8290A2AEBDC}"/>
              </a:ext>
            </a:extLst>
          </p:cNvPr>
          <p:cNvGrpSpPr>
            <a:grpSpLocks noChangeAspect="1"/>
          </p:cNvGrpSpPr>
          <p:nvPr/>
        </p:nvGrpSpPr>
        <p:grpSpPr bwMode="auto">
          <a:xfrm>
            <a:off x="7817862" y="3420683"/>
            <a:ext cx="1134240" cy="1129990"/>
            <a:chOff x="3574" y="1894"/>
            <a:chExt cx="534" cy="532"/>
          </a:xfrm>
          <a:effectLst>
            <a:outerShdw blurRad="139700" dir="18900000" sy="23000" kx="-1200000" algn="bl" rotWithShape="0">
              <a:prstClr val="black">
                <a:alpha val="17000"/>
              </a:prstClr>
            </a:outerShdw>
          </a:effectLst>
        </p:grpSpPr>
        <p:sp>
          <p:nvSpPr>
            <p:cNvPr id="78" name="Oval 14">
              <a:extLst>
                <a:ext uri="{FF2B5EF4-FFF2-40B4-BE49-F238E27FC236}">
                  <a16:creationId xmlns:a16="http://schemas.microsoft.com/office/drawing/2014/main" id="{78C40A32-CE42-4A63-888E-F771F27284B1}"/>
                </a:ext>
              </a:extLst>
            </p:cNvPr>
            <p:cNvSpPr>
              <a:spLocks noChangeArrowheads="1"/>
            </p:cNvSpPr>
            <p:nvPr/>
          </p:nvSpPr>
          <p:spPr bwMode="auto">
            <a:xfrm>
              <a:off x="3633" y="1953"/>
              <a:ext cx="416" cy="414"/>
            </a:xfrm>
            <a:prstGeom prst="ellipse">
              <a:avLst/>
            </a:prstGeom>
            <a:solidFill>
              <a:srgbClr val="8B97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15">
              <a:extLst>
                <a:ext uri="{FF2B5EF4-FFF2-40B4-BE49-F238E27FC236}">
                  <a16:creationId xmlns:a16="http://schemas.microsoft.com/office/drawing/2014/main" id="{16101B9B-062A-43BC-83DC-8A9590268AE9}"/>
                </a:ext>
              </a:extLst>
            </p:cNvPr>
            <p:cNvSpPr>
              <a:spLocks/>
            </p:cNvSpPr>
            <p:nvPr/>
          </p:nvSpPr>
          <p:spPr bwMode="auto">
            <a:xfrm>
              <a:off x="3574" y="1894"/>
              <a:ext cx="534" cy="532"/>
            </a:xfrm>
            <a:custGeom>
              <a:avLst/>
              <a:gdLst>
                <a:gd name="T0" fmla="*/ 254 w 254"/>
                <a:gd name="T1" fmla="*/ 127 h 254"/>
                <a:gd name="T2" fmla="*/ 233 w 254"/>
                <a:gd name="T3" fmla="*/ 198 h 254"/>
                <a:gd name="T4" fmla="*/ 127 w 254"/>
                <a:gd name="T5" fmla="*/ 254 h 254"/>
                <a:gd name="T6" fmla="*/ 16 w 254"/>
                <a:gd name="T7" fmla="*/ 189 h 254"/>
                <a:gd name="T8" fmla="*/ 0 w 254"/>
                <a:gd name="T9" fmla="*/ 127 h 254"/>
                <a:gd name="T10" fmla="*/ 56 w 254"/>
                <a:gd name="T11" fmla="*/ 21 h 254"/>
                <a:gd name="T12" fmla="*/ 127 w 254"/>
                <a:gd name="T13" fmla="*/ 0 h 254"/>
                <a:gd name="T14" fmla="*/ 210 w 254"/>
                <a:gd name="T15" fmla="*/ 30 h 254"/>
                <a:gd name="T16" fmla="*/ 254 w 254"/>
                <a:gd name="T17"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254" y="127"/>
                  </a:moveTo>
                  <a:cubicBezTo>
                    <a:pt x="254" y="153"/>
                    <a:pt x="246" y="178"/>
                    <a:pt x="233" y="198"/>
                  </a:cubicBezTo>
                  <a:cubicBezTo>
                    <a:pt x="210" y="232"/>
                    <a:pt x="171" y="254"/>
                    <a:pt x="127" y="254"/>
                  </a:cubicBezTo>
                  <a:cubicBezTo>
                    <a:pt x="79" y="254"/>
                    <a:pt x="37" y="228"/>
                    <a:pt x="16" y="189"/>
                  </a:cubicBezTo>
                  <a:cubicBezTo>
                    <a:pt x="5" y="170"/>
                    <a:pt x="0" y="149"/>
                    <a:pt x="0" y="127"/>
                  </a:cubicBezTo>
                  <a:cubicBezTo>
                    <a:pt x="0" y="83"/>
                    <a:pt x="22" y="44"/>
                    <a:pt x="56" y="21"/>
                  </a:cubicBezTo>
                  <a:cubicBezTo>
                    <a:pt x="76" y="8"/>
                    <a:pt x="101" y="0"/>
                    <a:pt x="127" y="0"/>
                  </a:cubicBezTo>
                  <a:cubicBezTo>
                    <a:pt x="159" y="0"/>
                    <a:pt x="188" y="11"/>
                    <a:pt x="210" y="30"/>
                  </a:cubicBezTo>
                  <a:cubicBezTo>
                    <a:pt x="237" y="54"/>
                    <a:pt x="254" y="88"/>
                    <a:pt x="254"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Oval 16">
              <a:extLst>
                <a:ext uri="{FF2B5EF4-FFF2-40B4-BE49-F238E27FC236}">
                  <a16:creationId xmlns:a16="http://schemas.microsoft.com/office/drawing/2014/main" id="{15CC797C-28E4-4294-BA76-53647BD4D40C}"/>
                </a:ext>
              </a:extLst>
            </p:cNvPr>
            <p:cNvSpPr>
              <a:spLocks noChangeArrowheads="1"/>
            </p:cNvSpPr>
            <p:nvPr/>
          </p:nvSpPr>
          <p:spPr bwMode="auto">
            <a:xfrm>
              <a:off x="3633" y="1953"/>
              <a:ext cx="416" cy="41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Freeform 17">
              <a:extLst>
                <a:ext uri="{FF2B5EF4-FFF2-40B4-BE49-F238E27FC236}">
                  <a16:creationId xmlns:a16="http://schemas.microsoft.com/office/drawing/2014/main" id="{50A0C275-4B73-419E-80D5-B46DD8F33025}"/>
                </a:ext>
              </a:extLst>
            </p:cNvPr>
            <p:cNvSpPr>
              <a:spLocks/>
            </p:cNvSpPr>
            <p:nvPr/>
          </p:nvSpPr>
          <p:spPr bwMode="auto">
            <a:xfrm>
              <a:off x="3633" y="2087"/>
              <a:ext cx="282" cy="280"/>
            </a:xfrm>
            <a:custGeom>
              <a:avLst/>
              <a:gdLst>
                <a:gd name="T0" fmla="*/ 134 w 134"/>
                <a:gd name="T1" fmla="*/ 128 h 134"/>
                <a:gd name="T2" fmla="*/ 99 w 134"/>
                <a:gd name="T3" fmla="*/ 134 h 134"/>
                <a:gd name="T4" fmla="*/ 0 w 134"/>
                <a:gd name="T5" fmla="*/ 35 h 134"/>
                <a:gd name="T6" fmla="*/ 6 w 134"/>
                <a:gd name="T7" fmla="*/ 0 h 134"/>
                <a:gd name="T8" fmla="*/ 6 w 134"/>
                <a:gd name="T9" fmla="*/ 0 h 134"/>
                <a:gd name="T10" fmla="*/ 102 w 134"/>
                <a:gd name="T11" fmla="*/ 124 h 134"/>
                <a:gd name="T12" fmla="*/ 134 w 134"/>
                <a:gd name="T13" fmla="*/ 12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134" y="128"/>
                  </a:moveTo>
                  <a:cubicBezTo>
                    <a:pt x="123" y="132"/>
                    <a:pt x="111" y="134"/>
                    <a:pt x="99" y="134"/>
                  </a:cubicBezTo>
                  <a:cubicBezTo>
                    <a:pt x="44" y="134"/>
                    <a:pt x="0" y="90"/>
                    <a:pt x="0" y="35"/>
                  </a:cubicBezTo>
                  <a:cubicBezTo>
                    <a:pt x="0" y="23"/>
                    <a:pt x="2" y="11"/>
                    <a:pt x="6" y="0"/>
                  </a:cubicBezTo>
                  <a:cubicBezTo>
                    <a:pt x="6" y="0"/>
                    <a:pt x="6" y="0"/>
                    <a:pt x="6" y="0"/>
                  </a:cubicBezTo>
                  <a:cubicBezTo>
                    <a:pt x="6" y="60"/>
                    <a:pt x="47" y="110"/>
                    <a:pt x="102" y="124"/>
                  </a:cubicBezTo>
                  <a:cubicBezTo>
                    <a:pt x="112" y="126"/>
                    <a:pt x="123" y="128"/>
                    <a:pt x="134" y="128"/>
                  </a:cubicBezTo>
                  <a:close/>
                </a:path>
              </a:pathLst>
            </a:custGeom>
            <a:solidFill>
              <a:schemeClr val="bg1">
                <a:lumMod val="8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Freeform 18">
              <a:extLst>
                <a:ext uri="{FF2B5EF4-FFF2-40B4-BE49-F238E27FC236}">
                  <a16:creationId xmlns:a16="http://schemas.microsoft.com/office/drawing/2014/main" id="{6003DE74-B302-4B5C-BAAC-ED99BEFE488A}"/>
                </a:ext>
              </a:extLst>
            </p:cNvPr>
            <p:cNvSpPr>
              <a:spLocks/>
            </p:cNvSpPr>
            <p:nvPr/>
          </p:nvSpPr>
          <p:spPr bwMode="auto">
            <a:xfrm>
              <a:off x="3765" y="2089"/>
              <a:ext cx="284" cy="280"/>
            </a:xfrm>
            <a:custGeom>
              <a:avLst/>
              <a:gdLst>
                <a:gd name="T0" fmla="*/ 129 w 135"/>
                <a:gd name="T1" fmla="*/ 0 h 134"/>
                <a:gd name="T2" fmla="*/ 135 w 135"/>
                <a:gd name="T3" fmla="*/ 35 h 134"/>
                <a:gd name="T4" fmla="*/ 35 w 135"/>
                <a:gd name="T5" fmla="*/ 133 h 134"/>
                <a:gd name="T6" fmla="*/ 0 w 135"/>
                <a:gd name="T7" fmla="*/ 126 h 134"/>
                <a:gd name="T8" fmla="*/ 0 w 135"/>
                <a:gd name="T9" fmla="*/ 126 h 134"/>
                <a:gd name="T10" fmla="*/ 125 w 135"/>
                <a:gd name="T11" fmla="*/ 32 h 134"/>
                <a:gd name="T12" fmla="*/ 129 w 135"/>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29" y="0"/>
                  </a:moveTo>
                  <a:cubicBezTo>
                    <a:pt x="133" y="11"/>
                    <a:pt x="135" y="23"/>
                    <a:pt x="135" y="35"/>
                  </a:cubicBezTo>
                  <a:cubicBezTo>
                    <a:pt x="134" y="90"/>
                    <a:pt x="89" y="134"/>
                    <a:pt x="35" y="133"/>
                  </a:cubicBezTo>
                  <a:cubicBezTo>
                    <a:pt x="22" y="133"/>
                    <a:pt x="11" y="130"/>
                    <a:pt x="0" y="126"/>
                  </a:cubicBezTo>
                  <a:cubicBezTo>
                    <a:pt x="0" y="126"/>
                    <a:pt x="0" y="126"/>
                    <a:pt x="0" y="126"/>
                  </a:cubicBezTo>
                  <a:cubicBezTo>
                    <a:pt x="59" y="127"/>
                    <a:pt x="110" y="87"/>
                    <a:pt x="125" y="32"/>
                  </a:cubicBezTo>
                  <a:cubicBezTo>
                    <a:pt x="127" y="22"/>
                    <a:pt x="129" y="11"/>
                    <a:pt x="129" y="0"/>
                  </a:cubicBezTo>
                  <a:close/>
                </a:path>
              </a:pathLst>
            </a:custGeom>
            <a:solidFill>
              <a:schemeClr val="bg1">
                <a:lumMod val="85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35" name="Group 13">
            <a:extLst>
              <a:ext uri="{FF2B5EF4-FFF2-40B4-BE49-F238E27FC236}">
                <a16:creationId xmlns:a16="http://schemas.microsoft.com/office/drawing/2014/main" id="{BD3A4F9F-5829-43B0-81A7-D9793089E75B}"/>
              </a:ext>
            </a:extLst>
          </p:cNvPr>
          <p:cNvGrpSpPr>
            <a:grpSpLocks noChangeAspect="1"/>
          </p:cNvGrpSpPr>
          <p:nvPr/>
        </p:nvGrpSpPr>
        <p:grpSpPr bwMode="auto">
          <a:xfrm flipH="1">
            <a:off x="3202423" y="3416306"/>
            <a:ext cx="1134240" cy="1129992"/>
            <a:chOff x="3574" y="1894"/>
            <a:chExt cx="534" cy="532"/>
          </a:xfrm>
          <a:effectLst>
            <a:outerShdw blurRad="139700" dir="13500000" sy="23000" kx="1200000" algn="br" rotWithShape="0">
              <a:prstClr val="black">
                <a:alpha val="17000"/>
              </a:prstClr>
            </a:outerShdw>
          </a:effectLst>
        </p:grpSpPr>
        <p:sp>
          <p:nvSpPr>
            <p:cNvPr id="154" name="Oval 14">
              <a:extLst>
                <a:ext uri="{FF2B5EF4-FFF2-40B4-BE49-F238E27FC236}">
                  <a16:creationId xmlns:a16="http://schemas.microsoft.com/office/drawing/2014/main" id="{EF23E483-5FF1-453D-8049-7ED786982A74}"/>
                </a:ext>
              </a:extLst>
            </p:cNvPr>
            <p:cNvSpPr>
              <a:spLocks noChangeArrowheads="1"/>
            </p:cNvSpPr>
            <p:nvPr/>
          </p:nvSpPr>
          <p:spPr bwMode="auto">
            <a:xfrm>
              <a:off x="3633" y="1953"/>
              <a:ext cx="416" cy="414"/>
            </a:xfrm>
            <a:prstGeom prst="ellipse">
              <a:avLst/>
            </a:prstGeom>
            <a:solidFill>
              <a:srgbClr val="8B97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Freeform 15">
              <a:extLst>
                <a:ext uri="{FF2B5EF4-FFF2-40B4-BE49-F238E27FC236}">
                  <a16:creationId xmlns:a16="http://schemas.microsoft.com/office/drawing/2014/main" id="{28F549E7-FFF6-4C39-BA6E-2287F8C4A38B}"/>
                </a:ext>
              </a:extLst>
            </p:cNvPr>
            <p:cNvSpPr>
              <a:spLocks/>
            </p:cNvSpPr>
            <p:nvPr/>
          </p:nvSpPr>
          <p:spPr bwMode="auto">
            <a:xfrm>
              <a:off x="3574" y="1894"/>
              <a:ext cx="534" cy="532"/>
            </a:xfrm>
            <a:custGeom>
              <a:avLst/>
              <a:gdLst>
                <a:gd name="T0" fmla="*/ 254 w 254"/>
                <a:gd name="T1" fmla="*/ 127 h 254"/>
                <a:gd name="T2" fmla="*/ 233 w 254"/>
                <a:gd name="T3" fmla="*/ 198 h 254"/>
                <a:gd name="T4" fmla="*/ 127 w 254"/>
                <a:gd name="T5" fmla="*/ 254 h 254"/>
                <a:gd name="T6" fmla="*/ 16 w 254"/>
                <a:gd name="T7" fmla="*/ 189 h 254"/>
                <a:gd name="T8" fmla="*/ 0 w 254"/>
                <a:gd name="T9" fmla="*/ 127 h 254"/>
                <a:gd name="T10" fmla="*/ 56 w 254"/>
                <a:gd name="T11" fmla="*/ 21 h 254"/>
                <a:gd name="T12" fmla="*/ 127 w 254"/>
                <a:gd name="T13" fmla="*/ 0 h 254"/>
                <a:gd name="T14" fmla="*/ 210 w 254"/>
                <a:gd name="T15" fmla="*/ 30 h 254"/>
                <a:gd name="T16" fmla="*/ 254 w 254"/>
                <a:gd name="T17" fmla="*/ 1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254" y="127"/>
                  </a:moveTo>
                  <a:cubicBezTo>
                    <a:pt x="254" y="153"/>
                    <a:pt x="246" y="178"/>
                    <a:pt x="233" y="198"/>
                  </a:cubicBezTo>
                  <a:cubicBezTo>
                    <a:pt x="210" y="232"/>
                    <a:pt x="171" y="254"/>
                    <a:pt x="127" y="254"/>
                  </a:cubicBezTo>
                  <a:cubicBezTo>
                    <a:pt x="79" y="254"/>
                    <a:pt x="37" y="228"/>
                    <a:pt x="16" y="189"/>
                  </a:cubicBezTo>
                  <a:cubicBezTo>
                    <a:pt x="5" y="170"/>
                    <a:pt x="0" y="149"/>
                    <a:pt x="0" y="127"/>
                  </a:cubicBezTo>
                  <a:cubicBezTo>
                    <a:pt x="0" y="83"/>
                    <a:pt x="22" y="44"/>
                    <a:pt x="56" y="21"/>
                  </a:cubicBezTo>
                  <a:cubicBezTo>
                    <a:pt x="76" y="8"/>
                    <a:pt x="101" y="0"/>
                    <a:pt x="127" y="0"/>
                  </a:cubicBezTo>
                  <a:cubicBezTo>
                    <a:pt x="159" y="0"/>
                    <a:pt x="188" y="11"/>
                    <a:pt x="210" y="30"/>
                  </a:cubicBezTo>
                  <a:cubicBezTo>
                    <a:pt x="237" y="54"/>
                    <a:pt x="254" y="88"/>
                    <a:pt x="254"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Oval 16">
              <a:extLst>
                <a:ext uri="{FF2B5EF4-FFF2-40B4-BE49-F238E27FC236}">
                  <a16:creationId xmlns:a16="http://schemas.microsoft.com/office/drawing/2014/main" id="{0E2D1AFF-9C70-43F7-ABA1-09E770128CEF}"/>
                </a:ext>
              </a:extLst>
            </p:cNvPr>
            <p:cNvSpPr>
              <a:spLocks noChangeArrowheads="1"/>
            </p:cNvSpPr>
            <p:nvPr/>
          </p:nvSpPr>
          <p:spPr bwMode="auto">
            <a:xfrm>
              <a:off x="3633" y="1953"/>
              <a:ext cx="416" cy="41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17">
              <a:extLst>
                <a:ext uri="{FF2B5EF4-FFF2-40B4-BE49-F238E27FC236}">
                  <a16:creationId xmlns:a16="http://schemas.microsoft.com/office/drawing/2014/main" id="{AAC138E5-6C1C-497E-A344-85AD28BACD74}"/>
                </a:ext>
              </a:extLst>
            </p:cNvPr>
            <p:cNvSpPr>
              <a:spLocks/>
            </p:cNvSpPr>
            <p:nvPr/>
          </p:nvSpPr>
          <p:spPr bwMode="auto">
            <a:xfrm>
              <a:off x="3633" y="2087"/>
              <a:ext cx="282" cy="280"/>
            </a:xfrm>
            <a:custGeom>
              <a:avLst/>
              <a:gdLst>
                <a:gd name="T0" fmla="*/ 134 w 134"/>
                <a:gd name="T1" fmla="*/ 128 h 134"/>
                <a:gd name="T2" fmla="*/ 99 w 134"/>
                <a:gd name="T3" fmla="*/ 134 h 134"/>
                <a:gd name="T4" fmla="*/ 0 w 134"/>
                <a:gd name="T5" fmla="*/ 35 h 134"/>
                <a:gd name="T6" fmla="*/ 6 w 134"/>
                <a:gd name="T7" fmla="*/ 0 h 134"/>
                <a:gd name="T8" fmla="*/ 6 w 134"/>
                <a:gd name="T9" fmla="*/ 0 h 134"/>
                <a:gd name="T10" fmla="*/ 102 w 134"/>
                <a:gd name="T11" fmla="*/ 124 h 134"/>
                <a:gd name="T12" fmla="*/ 134 w 134"/>
                <a:gd name="T13" fmla="*/ 12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134" y="128"/>
                  </a:moveTo>
                  <a:cubicBezTo>
                    <a:pt x="123" y="132"/>
                    <a:pt x="111" y="134"/>
                    <a:pt x="99" y="134"/>
                  </a:cubicBezTo>
                  <a:cubicBezTo>
                    <a:pt x="44" y="134"/>
                    <a:pt x="0" y="90"/>
                    <a:pt x="0" y="35"/>
                  </a:cubicBezTo>
                  <a:cubicBezTo>
                    <a:pt x="0" y="23"/>
                    <a:pt x="2" y="11"/>
                    <a:pt x="6" y="0"/>
                  </a:cubicBezTo>
                  <a:cubicBezTo>
                    <a:pt x="6" y="0"/>
                    <a:pt x="6" y="0"/>
                    <a:pt x="6" y="0"/>
                  </a:cubicBezTo>
                  <a:cubicBezTo>
                    <a:pt x="6" y="60"/>
                    <a:pt x="47" y="110"/>
                    <a:pt x="102" y="124"/>
                  </a:cubicBezTo>
                  <a:cubicBezTo>
                    <a:pt x="112" y="126"/>
                    <a:pt x="123" y="128"/>
                    <a:pt x="134" y="128"/>
                  </a:cubicBezTo>
                  <a:close/>
                </a:path>
              </a:pathLst>
            </a:custGeom>
            <a:solidFill>
              <a:schemeClr val="bg1">
                <a:lumMod val="8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18">
              <a:extLst>
                <a:ext uri="{FF2B5EF4-FFF2-40B4-BE49-F238E27FC236}">
                  <a16:creationId xmlns:a16="http://schemas.microsoft.com/office/drawing/2014/main" id="{15368217-AF31-4E34-A412-4782A24720FA}"/>
                </a:ext>
              </a:extLst>
            </p:cNvPr>
            <p:cNvSpPr>
              <a:spLocks/>
            </p:cNvSpPr>
            <p:nvPr/>
          </p:nvSpPr>
          <p:spPr bwMode="auto">
            <a:xfrm>
              <a:off x="3765" y="2089"/>
              <a:ext cx="284" cy="280"/>
            </a:xfrm>
            <a:custGeom>
              <a:avLst/>
              <a:gdLst>
                <a:gd name="T0" fmla="*/ 129 w 135"/>
                <a:gd name="T1" fmla="*/ 0 h 134"/>
                <a:gd name="T2" fmla="*/ 135 w 135"/>
                <a:gd name="T3" fmla="*/ 35 h 134"/>
                <a:gd name="T4" fmla="*/ 35 w 135"/>
                <a:gd name="T5" fmla="*/ 133 h 134"/>
                <a:gd name="T6" fmla="*/ 0 w 135"/>
                <a:gd name="T7" fmla="*/ 126 h 134"/>
                <a:gd name="T8" fmla="*/ 0 w 135"/>
                <a:gd name="T9" fmla="*/ 126 h 134"/>
                <a:gd name="T10" fmla="*/ 125 w 135"/>
                <a:gd name="T11" fmla="*/ 32 h 134"/>
                <a:gd name="T12" fmla="*/ 129 w 135"/>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29" y="0"/>
                  </a:moveTo>
                  <a:cubicBezTo>
                    <a:pt x="133" y="11"/>
                    <a:pt x="135" y="23"/>
                    <a:pt x="135" y="35"/>
                  </a:cubicBezTo>
                  <a:cubicBezTo>
                    <a:pt x="134" y="90"/>
                    <a:pt x="89" y="134"/>
                    <a:pt x="35" y="133"/>
                  </a:cubicBezTo>
                  <a:cubicBezTo>
                    <a:pt x="22" y="133"/>
                    <a:pt x="11" y="130"/>
                    <a:pt x="0" y="126"/>
                  </a:cubicBezTo>
                  <a:cubicBezTo>
                    <a:pt x="0" y="126"/>
                    <a:pt x="0" y="126"/>
                    <a:pt x="0" y="126"/>
                  </a:cubicBezTo>
                  <a:cubicBezTo>
                    <a:pt x="59" y="127"/>
                    <a:pt x="110" y="87"/>
                    <a:pt x="125" y="32"/>
                  </a:cubicBezTo>
                  <a:cubicBezTo>
                    <a:pt x="127" y="22"/>
                    <a:pt x="129" y="11"/>
                    <a:pt x="129" y="0"/>
                  </a:cubicBezTo>
                  <a:close/>
                </a:path>
              </a:pathLst>
            </a:custGeom>
            <a:solidFill>
              <a:schemeClr val="bg1">
                <a:lumMod val="85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6" name="Group 77">
            <a:extLst>
              <a:ext uri="{FF2B5EF4-FFF2-40B4-BE49-F238E27FC236}">
                <a16:creationId xmlns:a16="http://schemas.microsoft.com/office/drawing/2014/main" id="{9B1C27BA-1E42-45F2-88FF-EEFAB59266E0}"/>
              </a:ext>
            </a:extLst>
          </p:cNvPr>
          <p:cNvGrpSpPr>
            <a:grpSpLocks noChangeAspect="1"/>
          </p:cNvGrpSpPr>
          <p:nvPr/>
        </p:nvGrpSpPr>
        <p:grpSpPr bwMode="auto">
          <a:xfrm>
            <a:off x="3565412" y="3754918"/>
            <a:ext cx="408262" cy="452771"/>
            <a:chOff x="10190" y="1390"/>
            <a:chExt cx="853" cy="946"/>
          </a:xfrm>
          <a:solidFill>
            <a:schemeClr val="accent2"/>
          </a:solidFill>
        </p:grpSpPr>
        <p:sp>
          <p:nvSpPr>
            <p:cNvPr id="228" name="Freeform 78">
              <a:extLst>
                <a:ext uri="{FF2B5EF4-FFF2-40B4-BE49-F238E27FC236}">
                  <a16:creationId xmlns:a16="http://schemas.microsoft.com/office/drawing/2014/main" id="{B9046303-4A94-4854-8208-980B2F7B0E11}"/>
                </a:ext>
              </a:extLst>
            </p:cNvPr>
            <p:cNvSpPr>
              <a:spLocks noEditPoints="1"/>
            </p:cNvSpPr>
            <p:nvPr/>
          </p:nvSpPr>
          <p:spPr bwMode="auto">
            <a:xfrm>
              <a:off x="10190" y="1390"/>
              <a:ext cx="853" cy="946"/>
            </a:xfrm>
            <a:custGeom>
              <a:avLst/>
              <a:gdLst>
                <a:gd name="T0" fmla="*/ 314 w 408"/>
                <a:gd name="T1" fmla="*/ 191 h 454"/>
                <a:gd name="T2" fmla="*/ 250 w 408"/>
                <a:gd name="T3" fmla="*/ 220 h 454"/>
                <a:gd name="T4" fmla="*/ 272 w 408"/>
                <a:gd name="T5" fmla="*/ 167 h 454"/>
                <a:gd name="T6" fmla="*/ 264 w 408"/>
                <a:gd name="T7" fmla="*/ 116 h 454"/>
                <a:gd name="T8" fmla="*/ 249 w 408"/>
                <a:gd name="T9" fmla="*/ 27 h 454"/>
                <a:gd name="T10" fmla="*/ 99 w 408"/>
                <a:gd name="T11" fmla="*/ 27 h 454"/>
                <a:gd name="T12" fmla="*/ 83 w 408"/>
                <a:gd name="T13" fmla="*/ 116 h 454"/>
                <a:gd name="T14" fmla="*/ 75 w 408"/>
                <a:gd name="T15" fmla="*/ 167 h 454"/>
                <a:gd name="T16" fmla="*/ 113 w 408"/>
                <a:gd name="T17" fmla="*/ 245 h 454"/>
                <a:gd name="T18" fmla="*/ 103 w 408"/>
                <a:gd name="T19" fmla="*/ 287 h 454"/>
                <a:gd name="T20" fmla="*/ 0 w 408"/>
                <a:gd name="T21" fmla="*/ 384 h 454"/>
                <a:gd name="T22" fmla="*/ 7 w 408"/>
                <a:gd name="T23" fmla="*/ 424 h 454"/>
                <a:gd name="T24" fmla="*/ 270 w 408"/>
                <a:gd name="T25" fmla="*/ 432 h 454"/>
                <a:gd name="T26" fmla="*/ 310 w 408"/>
                <a:gd name="T27" fmla="*/ 454 h 454"/>
                <a:gd name="T28" fmla="*/ 351 w 408"/>
                <a:gd name="T29" fmla="*/ 432 h 454"/>
                <a:gd name="T30" fmla="*/ 408 w 408"/>
                <a:gd name="T31" fmla="*/ 235 h 454"/>
                <a:gd name="T32" fmla="*/ 15 w 408"/>
                <a:gd name="T33" fmla="*/ 384 h 454"/>
                <a:gd name="T34" fmla="*/ 110 w 408"/>
                <a:gd name="T35" fmla="*/ 301 h 454"/>
                <a:gd name="T36" fmla="*/ 128 w 408"/>
                <a:gd name="T37" fmla="*/ 242 h 454"/>
                <a:gd name="T38" fmla="*/ 101 w 408"/>
                <a:gd name="T39" fmla="*/ 184 h 454"/>
                <a:gd name="T40" fmla="*/ 91 w 408"/>
                <a:gd name="T41" fmla="*/ 167 h 454"/>
                <a:gd name="T42" fmla="*/ 96 w 408"/>
                <a:gd name="T43" fmla="*/ 125 h 454"/>
                <a:gd name="T44" fmla="*/ 98 w 408"/>
                <a:gd name="T45" fmla="*/ 76 h 454"/>
                <a:gd name="T46" fmla="*/ 110 w 408"/>
                <a:gd name="T47" fmla="*/ 37 h 454"/>
                <a:gd name="T48" fmla="*/ 237 w 408"/>
                <a:gd name="T49" fmla="*/ 37 h 454"/>
                <a:gd name="T50" fmla="*/ 249 w 408"/>
                <a:gd name="T51" fmla="*/ 76 h 454"/>
                <a:gd name="T52" fmla="*/ 252 w 408"/>
                <a:gd name="T53" fmla="*/ 125 h 454"/>
                <a:gd name="T54" fmla="*/ 257 w 408"/>
                <a:gd name="T55" fmla="*/ 167 h 454"/>
                <a:gd name="T56" fmla="*/ 247 w 408"/>
                <a:gd name="T57" fmla="*/ 184 h 454"/>
                <a:gd name="T58" fmla="*/ 218 w 408"/>
                <a:gd name="T59" fmla="*/ 227 h 454"/>
                <a:gd name="T60" fmla="*/ 212 w 408"/>
                <a:gd name="T61" fmla="*/ 307 h 454"/>
                <a:gd name="T62" fmla="*/ 15 w 408"/>
                <a:gd name="T63" fmla="*/ 408 h 454"/>
                <a:gd name="T64" fmla="*/ 393 w 408"/>
                <a:gd name="T65" fmla="*/ 307 h 454"/>
                <a:gd name="T66" fmla="*/ 310 w 408"/>
                <a:gd name="T67" fmla="*/ 438 h 454"/>
                <a:gd name="T68" fmla="*/ 269 w 408"/>
                <a:gd name="T69" fmla="*/ 411 h 454"/>
                <a:gd name="T70" fmla="*/ 227 w 408"/>
                <a:gd name="T71" fmla="*/ 307 h 454"/>
                <a:gd name="T72" fmla="*/ 235 w 408"/>
                <a:gd name="T73" fmla="*/ 239 h 454"/>
                <a:gd name="T74" fmla="*/ 310 w 408"/>
                <a:gd name="T75" fmla="*/ 206 h 454"/>
                <a:gd name="T76" fmla="*/ 393 w 408"/>
                <a:gd name="T77" fmla="*/ 30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8" h="454">
                  <a:moveTo>
                    <a:pt x="402" y="227"/>
                  </a:moveTo>
                  <a:cubicBezTo>
                    <a:pt x="364" y="222"/>
                    <a:pt x="336" y="206"/>
                    <a:pt x="314" y="191"/>
                  </a:cubicBezTo>
                  <a:cubicBezTo>
                    <a:pt x="312" y="189"/>
                    <a:pt x="308" y="189"/>
                    <a:pt x="306" y="191"/>
                  </a:cubicBezTo>
                  <a:cubicBezTo>
                    <a:pt x="290" y="201"/>
                    <a:pt x="272" y="212"/>
                    <a:pt x="250" y="220"/>
                  </a:cubicBezTo>
                  <a:cubicBezTo>
                    <a:pt x="254" y="211"/>
                    <a:pt x="258" y="201"/>
                    <a:pt x="261" y="190"/>
                  </a:cubicBezTo>
                  <a:cubicBezTo>
                    <a:pt x="268" y="184"/>
                    <a:pt x="272" y="176"/>
                    <a:pt x="272" y="167"/>
                  </a:cubicBezTo>
                  <a:cubicBezTo>
                    <a:pt x="272" y="136"/>
                    <a:pt x="272" y="136"/>
                    <a:pt x="272" y="136"/>
                  </a:cubicBezTo>
                  <a:cubicBezTo>
                    <a:pt x="272" y="129"/>
                    <a:pt x="269" y="122"/>
                    <a:pt x="264" y="116"/>
                  </a:cubicBezTo>
                  <a:cubicBezTo>
                    <a:pt x="264" y="76"/>
                    <a:pt x="264" y="76"/>
                    <a:pt x="264" y="76"/>
                  </a:cubicBezTo>
                  <a:cubicBezTo>
                    <a:pt x="265" y="72"/>
                    <a:pt x="267" y="47"/>
                    <a:pt x="249" y="27"/>
                  </a:cubicBezTo>
                  <a:cubicBezTo>
                    <a:pt x="233" y="9"/>
                    <a:pt x="208" y="0"/>
                    <a:pt x="174" y="0"/>
                  </a:cubicBezTo>
                  <a:cubicBezTo>
                    <a:pt x="140" y="0"/>
                    <a:pt x="114" y="9"/>
                    <a:pt x="99" y="27"/>
                  </a:cubicBezTo>
                  <a:cubicBezTo>
                    <a:pt x="81" y="47"/>
                    <a:pt x="83" y="72"/>
                    <a:pt x="83" y="76"/>
                  </a:cubicBezTo>
                  <a:cubicBezTo>
                    <a:pt x="83" y="116"/>
                    <a:pt x="83" y="116"/>
                    <a:pt x="83" y="116"/>
                  </a:cubicBezTo>
                  <a:cubicBezTo>
                    <a:pt x="78" y="122"/>
                    <a:pt x="75" y="129"/>
                    <a:pt x="75" y="136"/>
                  </a:cubicBezTo>
                  <a:cubicBezTo>
                    <a:pt x="75" y="167"/>
                    <a:pt x="75" y="167"/>
                    <a:pt x="75" y="167"/>
                  </a:cubicBezTo>
                  <a:cubicBezTo>
                    <a:pt x="75" y="176"/>
                    <a:pt x="80" y="184"/>
                    <a:pt x="87" y="190"/>
                  </a:cubicBezTo>
                  <a:cubicBezTo>
                    <a:pt x="94" y="217"/>
                    <a:pt x="108" y="238"/>
                    <a:pt x="113" y="245"/>
                  </a:cubicBezTo>
                  <a:cubicBezTo>
                    <a:pt x="113" y="270"/>
                    <a:pt x="113" y="270"/>
                    <a:pt x="113" y="270"/>
                  </a:cubicBezTo>
                  <a:cubicBezTo>
                    <a:pt x="113" y="277"/>
                    <a:pt x="109" y="284"/>
                    <a:pt x="103" y="287"/>
                  </a:cubicBezTo>
                  <a:cubicBezTo>
                    <a:pt x="35" y="324"/>
                    <a:pt x="35" y="324"/>
                    <a:pt x="35" y="324"/>
                  </a:cubicBezTo>
                  <a:cubicBezTo>
                    <a:pt x="14" y="336"/>
                    <a:pt x="0" y="359"/>
                    <a:pt x="0" y="384"/>
                  </a:cubicBezTo>
                  <a:cubicBezTo>
                    <a:pt x="0" y="416"/>
                    <a:pt x="0" y="416"/>
                    <a:pt x="0" y="416"/>
                  </a:cubicBezTo>
                  <a:cubicBezTo>
                    <a:pt x="0" y="420"/>
                    <a:pt x="3" y="424"/>
                    <a:pt x="7" y="424"/>
                  </a:cubicBezTo>
                  <a:cubicBezTo>
                    <a:pt x="260" y="424"/>
                    <a:pt x="260" y="424"/>
                    <a:pt x="260" y="424"/>
                  </a:cubicBezTo>
                  <a:cubicBezTo>
                    <a:pt x="263" y="426"/>
                    <a:pt x="266" y="429"/>
                    <a:pt x="270" y="432"/>
                  </a:cubicBezTo>
                  <a:cubicBezTo>
                    <a:pt x="283" y="443"/>
                    <a:pt x="297" y="449"/>
                    <a:pt x="307" y="453"/>
                  </a:cubicBezTo>
                  <a:cubicBezTo>
                    <a:pt x="308" y="454"/>
                    <a:pt x="309" y="454"/>
                    <a:pt x="310" y="454"/>
                  </a:cubicBezTo>
                  <a:cubicBezTo>
                    <a:pt x="311" y="454"/>
                    <a:pt x="312" y="454"/>
                    <a:pt x="313" y="453"/>
                  </a:cubicBezTo>
                  <a:cubicBezTo>
                    <a:pt x="323" y="449"/>
                    <a:pt x="338" y="442"/>
                    <a:pt x="351" y="432"/>
                  </a:cubicBezTo>
                  <a:cubicBezTo>
                    <a:pt x="387" y="403"/>
                    <a:pt x="408" y="357"/>
                    <a:pt x="408" y="307"/>
                  </a:cubicBezTo>
                  <a:cubicBezTo>
                    <a:pt x="408" y="235"/>
                    <a:pt x="408" y="235"/>
                    <a:pt x="408" y="235"/>
                  </a:cubicBezTo>
                  <a:cubicBezTo>
                    <a:pt x="408" y="231"/>
                    <a:pt x="405" y="228"/>
                    <a:pt x="402" y="227"/>
                  </a:cubicBezTo>
                  <a:close/>
                  <a:moveTo>
                    <a:pt x="15" y="384"/>
                  </a:moveTo>
                  <a:cubicBezTo>
                    <a:pt x="15" y="365"/>
                    <a:pt x="26" y="347"/>
                    <a:pt x="43" y="337"/>
                  </a:cubicBezTo>
                  <a:cubicBezTo>
                    <a:pt x="110" y="301"/>
                    <a:pt x="110" y="301"/>
                    <a:pt x="110" y="301"/>
                  </a:cubicBezTo>
                  <a:cubicBezTo>
                    <a:pt x="121" y="294"/>
                    <a:pt x="128" y="283"/>
                    <a:pt x="128" y="270"/>
                  </a:cubicBezTo>
                  <a:cubicBezTo>
                    <a:pt x="128" y="242"/>
                    <a:pt x="128" y="242"/>
                    <a:pt x="128" y="242"/>
                  </a:cubicBezTo>
                  <a:cubicBezTo>
                    <a:pt x="128" y="240"/>
                    <a:pt x="128" y="239"/>
                    <a:pt x="127" y="237"/>
                  </a:cubicBezTo>
                  <a:cubicBezTo>
                    <a:pt x="126" y="237"/>
                    <a:pt x="108" y="214"/>
                    <a:pt x="101" y="184"/>
                  </a:cubicBezTo>
                  <a:cubicBezTo>
                    <a:pt x="100" y="182"/>
                    <a:pt x="99" y="180"/>
                    <a:pt x="98" y="179"/>
                  </a:cubicBezTo>
                  <a:cubicBezTo>
                    <a:pt x="93" y="176"/>
                    <a:pt x="91" y="172"/>
                    <a:pt x="91" y="167"/>
                  </a:cubicBezTo>
                  <a:cubicBezTo>
                    <a:pt x="91" y="136"/>
                    <a:pt x="91" y="136"/>
                    <a:pt x="91" y="136"/>
                  </a:cubicBezTo>
                  <a:cubicBezTo>
                    <a:pt x="91" y="132"/>
                    <a:pt x="92" y="128"/>
                    <a:pt x="96" y="125"/>
                  </a:cubicBezTo>
                  <a:cubicBezTo>
                    <a:pt x="97" y="124"/>
                    <a:pt x="98" y="122"/>
                    <a:pt x="98" y="120"/>
                  </a:cubicBezTo>
                  <a:cubicBezTo>
                    <a:pt x="98" y="76"/>
                    <a:pt x="98" y="76"/>
                    <a:pt x="98" y="76"/>
                  </a:cubicBezTo>
                  <a:cubicBezTo>
                    <a:pt x="98" y="75"/>
                    <a:pt x="98" y="75"/>
                    <a:pt x="98" y="75"/>
                  </a:cubicBezTo>
                  <a:cubicBezTo>
                    <a:pt x="98" y="75"/>
                    <a:pt x="96" y="54"/>
                    <a:pt x="110" y="37"/>
                  </a:cubicBezTo>
                  <a:cubicBezTo>
                    <a:pt x="123" y="23"/>
                    <a:pt x="144" y="15"/>
                    <a:pt x="174" y="15"/>
                  </a:cubicBezTo>
                  <a:cubicBezTo>
                    <a:pt x="203" y="15"/>
                    <a:pt x="225" y="23"/>
                    <a:pt x="237" y="37"/>
                  </a:cubicBezTo>
                  <a:cubicBezTo>
                    <a:pt x="252" y="53"/>
                    <a:pt x="249" y="75"/>
                    <a:pt x="249" y="75"/>
                  </a:cubicBezTo>
                  <a:cubicBezTo>
                    <a:pt x="249" y="75"/>
                    <a:pt x="249" y="75"/>
                    <a:pt x="249" y="76"/>
                  </a:cubicBezTo>
                  <a:cubicBezTo>
                    <a:pt x="249" y="120"/>
                    <a:pt x="249" y="120"/>
                    <a:pt x="249" y="120"/>
                  </a:cubicBezTo>
                  <a:cubicBezTo>
                    <a:pt x="249" y="122"/>
                    <a:pt x="250" y="124"/>
                    <a:pt x="252" y="125"/>
                  </a:cubicBezTo>
                  <a:cubicBezTo>
                    <a:pt x="255" y="128"/>
                    <a:pt x="257" y="132"/>
                    <a:pt x="257" y="136"/>
                  </a:cubicBezTo>
                  <a:cubicBezTo>
                    <a:pt x="257" y="167"/>
                    <a:pt x="257" y="167"/>
                    <a:pt x="257" y="167"/>
                  </a:cubicBezTo>
                  <a:cubicBezTo>
                    <a:pt x="257" y="172"/>
                    <a:pt x="254" y="176"/>
                    <a:pt x="250" y="179"/>
                  </a:cubicBezTo>
                  <a:cubicBezTo>
                    <a:pt x="248" y="180"/>
                    <a:pt x="247" y="182"/>
                    <a:pt x="247" y="184"/>
                  </a:cubicBezTo>
                  <a:cubicBezTo>
                    <a:pt x="243" y="201"/>
                    <a:pt x="235" y="215"/>
                    <a:pt x="229" y="225"/>
                  </a:cubicBezTo>
                  <a:cubicBezTo>
                    <a:pt x="226" y="226"/>
                    <a:pt x="222" y="227"/>
                    <a:pt x="218" y="227"/>
                  </a:cubicBezTo>
                  <a:cubicBezTo>
                    <a:pt x="214" y="228"/>
                    <a:pt x="212" y="231"/>
                    <a:pt x="212" y="235"/>
                  </a:cubicBezTo>
                  <a:cubicBezTo>
                    <a:pt x="212" y="307"/>
                    <a:pt x="212" y="307"/>
                    <a:pt x="212" y="307"/>
                  </a:cubicBezTo>
                  <a:cubicBezTo>
                    <a:pt x="212" y="344"/>
                    <a:pt x="224" y="381"/>
                    <a:pt x="246" y="408"/>
                  </a:cubicBezTo>
                  <a:cubicBezTo>
                    <a:pt x="15" y="408"/>
                    <a:pt x="15" y="408"/>
                    <a:pt x="15" y="408"/>
                  </a:cubicBezTo>
                  <a:lnTo>
                    <a:pt x="15" y="384"/>
                  </a:lnTo>
                  <a:close/>
                  <a:moveTo>
                    <a:pt x="393" y="307"/>
                  </a:moveTo>
                  <a:cubicBezTo>
                    <a:pt x="393" y="352"/>
                    <a:pt x="374" y="394"/>
                    <a:pt x="341" y="420"/>
                  </a:cubicBezTo>
                  <a:cubicBezTo>
                    <a:pt x="331" y="428"/>
                    <a:pt x="319" y="434"/>
                    <a:pt x="310" y="438"/>
                  </a:cubicBezTo>
                  <a:cubicBezTo>
                    <a:pt x="301" y="434"/>
                    <a:pt x="290" y="429"/>
                    <a:pt x="279" y="420"/>
                  </a:cubicBezTo>
                  <a:cubicBezTo>
                    <a:pt x="275" y="417"/>
                    <a:pt x="272" y="414"/>
                    <a:pt x="269" y="411"/>
                  </a:cubicBezTo>
                  <a:cubicBezTo>
                    <a:pt x="269" y="411"/>
                    <a:pt x="268" y="410"/>
                    <a:pt x="268" y="410"/>
                  </a:cubicBezTo>
                  <a:cubicBezTo>
                    <a:pt x="242" y="384"/>
                    <a:pt x="227" y="346"/>
                    <a:pt x="227" y="307"/>
                  </a:cubicBezTo>
                  <a:cubicBezTo>
                    <a:pt x="227" y="241"/>
                    <a:pt x="227" y="241"/>
                    <a:pt x="227" y="241"/>
                  </a:cubicBezTo>
                  <a:cubicBezTo>
                    <a:pt x="230" y="241"/>
                    <a:pt x="232" y="240"/>
                    <a:pt x="235" y="239"/>
                  </a:cubicBezTo>
                  <a:cubicBezTo>
                    <a:pt x="235" y="239"/>
                    <a:pt x="236" y="239"/>
                    <a:pt x="236" y="239"/>
                  </a:cubicBezTo>
                  <a:cubicBezTo>
                    <a:pt x="270" y="232"/>
                    <a:pt x="296" y="215"/>
                    <a:pt x="310" y="206"/>
                  </a:cubicBezTo>
                  <a:cubicBezTo>
                    <a:pt x="325" y="216"/>
                    <a:pt x="354" y="235"/>
                    <a:pt x="393" y="241"/>
                  </a:cubicBezTo>
                  <a:cubicBezTo>
                    <a:pt x="393" y="307"/>
                    <a:pt x="393" y="307"/>
                    <a:pt x="393"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79">
              <a:extLst>
                <a:ext uri="{FF2B5EF4-FFF2-40B4-BE49-F238E27FC236}">
                  <a16:creationId xmlns:a16="http://schemas.microsoft.com/office/drawing/2014/main" id="{B672881A-CA81-41A8-B321-7596642CB76D}"/>
                </a:ext>
              </a:extLst>
            </p:cNvPr>
            <p:cNvSpPr>
              <a:spLocks noEditPoints="1"/>
            </p:cNvSpPr>
            <p:nvPr/>
          </p:nvSpPr>
          <p:spPr bwMode="auto">
            <a:xfrm>
              <a:off x="10696" y="1859"/>
              <a:ext cx="284" cy="408"/>
            </a:xfrm>
            <a:custGeom>
              <a:avLst/>
              <a:gdLst>
                <a:gd name="T0" fmla="*/ 64 w 136"/>
                <a:gd name="T1" fmla="*/ 1 h 196"/>
                <a:gd name="T2" fmla="*/ 5 w 136"/>
                <a:gd name="T3" fmla="*/ 27 h 196"/>
                <a:gd name="T4" fmla="*/ 0 w 136"/>
                <a:gd name="T5" fmla="*/ 34 h 196"/>
                <a:gd name="T6" fmla="*/ 0 w 136"/>
                <a:gd name="T7" fmla="*/ 82 h 196"/>
                <a:gd name="T8" fmla="*/ 46 w 136"/>
                <a:gd name="T9" fmla="*/ 183 h 196"/>
                <a:gd name="T10" fmla="*/ 64 w 136"/>
                <a:gd name="T11" fmla="*/ 195 h 196"/>
                <a:gd name="T12" fmla="*/ 68 w 136"/>
                <a:gd name="T13" fmla="*/ 196 h 196"/>
                <a:gd name="T14" fmla="*/ 71 w 136"/>
                <a:gd name="T15" fmla="*/ 195 h 196"/>
                <a:gd name="T16" fmla="*/ 90 w 136"/>
                <a:gd name="T17" fmla="*/ 183 h 196"/>
                <a:gd name="T18" fmla="*/ 136 w 136"/>
                <a:gd name="T19" fmla="*/ 82 h 196"/>
                <a:gd name="T20" fmla="*/ 136 w 136"/>
                <a:gd name="T21" fmla="*/ 34 h 196"/>
                <a:gd name="T22" fmla="*/ 130 w 136"/>
                <a:gd name="T23" fmla="*/ 27 h 196"/>
                <a:gd name="T24" fmla="*/ 72 w 136"/>
                <a:gd name="T25" fmla="*/ 1 h 196"/>
                <a:gd name="T26" fmla="*/ 64 w 136"/>
                <a:gd name="T27" fmla="*/ 1 h 196"/>
                <a:gd name="T28" fmla="*/ 121 w 136"/>
                <a:gd name="T29" fmla="*/ 40 h 196"/>
                <a:gd name="T30" fmla="*/ 121 w 136"/>
                <a:gd name="T31" fmla="*/ 82 h 196"/>
                <a:gd name="T32" fmla="*/ 81 w 136"/>
                <a:gd name="T33" fmla="*/ 171 h 196"/>
                <a:gd name="T34" fmla="*/ 68 w 136"/>
                <a:gd name="T35" fmla="*/ 180 h 196"/>
                <a:gd name="T36" fmla="*/ 56 w 136"/>
                <a:gd name="T37" fmla="*/ 171 h 196"/>
                <a:gd name="T38" fmla="*/ 15 w 136"/>
                <a:gd name="T39" fmla="*/ 82 h 196"/>
                <a:gd name="T40" fmla="*/ 15 w 136"/>
                <a:gd name="T41" fmla="*/ 40 h 196"/>
                <a:gd name="T42" fmla="*/ 68 w 136"/>
                <a:gd name="T43" fmla="*/ 17 h 196"/>
                <a:gd name="T44" fmla="*/ 121 w 136"/>
                <a:gd name="T45" fmla="*/ 4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196">
                  <a:moveTo>
                    <a:pt x="64" y="1"/>
                  </a:moveTo>
                  <a:cubicBezTo>
                    <a:pt x="44" y="13"/>
                    <a:pt x="25" y="22"/>
                    <a:pt x="5" y="27"/>
                  </a:cubicBezTo>
                  <a:cubicBezTo>
                    <a:pt x="2" y="28"/>
                    <a:pt x="0" y="31"/>
                    <a:pt x="0" y="34"/>
                  </a:cubicBezTo>
                  <a:cubicBezTo>
                    <a:pt x="0" y="82"/>
                    <a:pt x="0" y="82"/>
                    <a:pt x="0" y="82"/>
                  </a:cubicBezTo>
                  <a:cubicBezTo>
                    <a:pt x="0" y="122"/>
                    <a:pt x="17" y="160"/>
                    <a:pt x="46" y="183"/>
                  </a:cubicBezTo>
                  <a:cubicBezTo>
                    <a:pt x="52" y="187"/>
                    <a:pt x="58" y="191"/>
                    <a:pt x="64" y="195"/>
                  </a:cubicBezTo>
                  <a:cubicBezTo>
                    <a:pt x="66" y="195"/>
                    <a:pt x="67" y="196"/>
                    <a:pt x="68" y="196"/>
                  </a:cubicBezTo>
                  <a:cubicBezTo>
                    <a:pt x="69" y="196"/>
                    <a:pt x="70" y="195"/>
                    <a:pt x="71" y="195"/>
                  </a:cubicBezTo>
                  <a:cubicBezTo>
                    <a:pt x="78" y="191"/>
                    <a:pt x="85" y="187"/>
                    <a:pt x="90" y="183"/>
                  </a:cubicBezTo>
                  <a:cubicBezTo>
                    <a:pt x="119" y="160"/>
                    <a:pt x="136" y="122"/>
                    <a:pt x="136" y="82"/>
                  </a:cubicBezTo>
                  <a:cubicBezTo>
                    <a:pt x="136" y="34"/>
                    <a:pt x="136" y="34"/>
                    <a:pt x="136" y="34"/>
                  </a:cubicBezTo>
                  <a:cubicBezTo>
                    <a:pt x="136" y="31"/>
                    <a:pt x="134" y="28"/>
                    <a:pt x="130" y="27"/>
                  </a:cubicBezTo>
                  <a:cubicBezTo>
                    <a:pt x="111" y="22"/>
                    <a:pt x="91" y="13"/>
                    <a:pt x="72" y="1"/>
                  </a:cubicBezTo>
                  <a:cubicBezTo>
                    <a:pt x="69" y="0"/>
                    <a:pt x="66" y="0"/>
                    <a:pt x="64" y="1"/>
                  </a:cubicBezTo>
                  <a:close/>
                  <a:moveTo>
                    <a:pt x="121" y="40"/>
                  </a:moveTo>
                  <a:cubicBezTo>
                    <a:pt x="121" y="82"/>
                    <a:pt x="121" y="82"/>
                    <a:pt x="121" y="82"/>
                  </a:cubicBezTo>
                  <a:cubicBezTo>
                    <a:pt x="121" y="118"/>
                    <a:pt x="106" y="151"/>
                    <a:pt x="81" y="171"/>
                  </a:cubicBezTo>
                  <a:cubicBezTo>
                    <a:pt x="77" y="174"/>
                    <a:pt x="73" y="177"/>
                    <a:pt x="68" y="180"/>
                  </a:cubicBezTo>
                  <a:cubicBezTo>
                    <a:pt x="64" y="177"/>
                    <a:pt x="59" y="174"/>
                    <a:pt x="56" y="171"/>
                  </a:cubicBezTo>
                  <a:cubicBezTo>
                    <a:pt x="30" y="151"/>
                    <a:pt x="15" y="118"/>
                    <a:pt x="15" y="82"/>
                  </a:cubicBezTo>
                  <a:cubicBezTo>
                    <a:pt x="15" y="40"/>
                    <a:pt x="15" y="40"/>
                    <a:pt x="15" y="40"/>
                  </a:cubicBezTo>
                  <a:cubicBezTo>
                    <a:pt x="33" y="35"/>
                    <a:pt x="50" y="27"/>
                    <a:pt x="68" y="17"/>
                  </a:cubicBezTo>
                  <a:cubicBezTo>
                    <a:pt x="86" y="27"/>
                    <a:pt x="103" y="35"/>
                    <a:pt x="12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8" name="Group 267">
            <a:extLst>
              <a:ext uri="{FF2B5EF4-FFF2-40B4-BE49-F238E27FC236}">
                <a16:creationId xmlns:a16="http://schemas.microsoft.com/office/drawing/2014/main" id="{912B14B5-A718-456C-A802-67D00FB63F67}"/>
              </a:ext>
            </a:extLst>
          </p:cNvPr>
          <p:cNvGrpSpPr/>
          <p:nvPr/>
        </p:nvGrpSpPr>
        <p:grpSpPr>
          <a:xfrm>
            <a:off x="1147844" y="3294855"/>
            <a:ext cx="1950292" cy="1722425"/>
            <a:chOff x="393178" y="3542941"/>
            <a:chExt cx="2005277" cy="1464984"/>
          </a:xfrm>
        </p:grpSpPr>
        <p:sp>
          <p:nvSpPr>
            <p:cNvPr id="265" name="TextBox 264">
              <a:extLst>
                <a:ext uri="{FF2B5EF4-FFF2-40B4-BE49-F238E27FC236}">
                  <a16:creationId xmlns:a16="http://schemas.microsoft.com/office/drawing/2014/main" id="{731BF51B-8F97-4ED7-8FE0-8DA46BA64245}"/>
                </a:ext>
              </a:extLst>
            </p:cNvPr>
            <p:cNvSpPr txBox="1"/>
            <p:nvPr/>
          </p:nvSpPr>
          <p:spPr>
            <a:xfrm>
              <a:off x="475668" y="3542941"/>
              <a:ext cx="1922787" cy="31413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4C6171">
                      <a:lumMod val="75000"/>
                    </a:srgbClr>
                  </a:solidFill>
                  <a:effectLst/>
                  <a:uLnTx/>
                  <a:uFillTx/>
                  <a:latin typeface="Segoe"/>
                  <a:ea typeface="+mn-ea"/>
                  <a:cs typeface="+mn-cs"/>
                </a:rPr>
                <a:t>Top-down Patter</a:t>
              </a:r>
            </a:p>
          </p:txBody>
        </p:sp>
        <p:sp>
          <p:nvSpPr>
            <p:cNvPr id="267" name="Rectangle 266">
              <a:extLst>
                <a:ext uri="{FF2B5EF4-FFF2-40B4-BE49-F238E27FC236}">
                  <a16:creationId xmlns:a16="http://schemas.microsoft.com/office/drawing/2014/main" id="{7A022985-9E4D-46F0-93B8-65AF3C295D65}"/>
                </a:ext>
              </a:extLst>
            </p:cNvPr>
            <p:cNvSpPr/>
            <p:nvPr/>
          </p:nvSpPr>
          <p:spPr>
            <a:xfrm>
              <a:off x="393178" y="3777583"/>
              <a:ext cx="2005277" cy="12303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Selected by a more senior execu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E.g., the Chief Executive Officer may hire a Chief Data Officer or Chief Analytics Officer for executive sponsor of Power BI</a:t>
              </a:r>
            </a:p>
          </p:txBody>
        </p:sp>
      </p:grpSp>
      <p:grpSp>
        <p:nvGrpSpPr>
          <p:cNvPr id="132" name="Group 131">
            <a:extLst>
              <a:ext uri="{FF2B5EF4-FFF2-40B4-BE49-F238E27FC236}">
                <a16:creationId xmlns:a16="http://schemas.microsoft.com/office/drawing/2014/main" id="{4FDA697F-8F72-4343-BB1A-0CB2A8091D07}"/>
              </a:ext>
            </a:extLst>
          </p:cNvPr>
          <p:cNvGrpSpPr/>
          <p:nvPr/>
        </p:nvGrpSpPr>
        <p:grpSpPr>
          <a:xfrm>
            <a:off x="9082816" y="3210104"/>
            <a:ext cx="2087174" cy="1674759"/>
            <a:chOff x="393178" y="3542939"/>
            <a:chExt cx="2146018" cy="1721982"/>
          </a:xfrm>
        </p:grpSpPr>
        <p:sp>
          <p:nvSpPr>
            <p:cNvPr id="136" name="TextBox 135">
              <a:extLst>
                <a:ext uri="{FF2B5EF4-FFF2-40B4-BE49-F238E27FC236}">
                  <a16:creationId xmlns:a16="http://schemas.microsoft.com/office/drawing/2014/main" id="{9F3E3CA2-EFEE-4AC6-90BC-2B1B49A394E5}"/>
                </a:ext>
              </a:extLst>
            </p:cNvPr>
            <p:cNvSpPr txBox="1"/>
            <p:nvPr/>
          </p:nvSpPr>
          <p:spPr>
            <a:xfrm>
              <a:off x="393178" y="3542939"/>
              <a:ext cx="2146018" cy="3797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srgbClr val="4C6171">
                      <a:lumMod val="75000"/>
                    </a:srgbClr>
                  </a:solidFill>
                  <a:effectLst/>
                  <a:uLnTx/>
                  <a:uFillTx/>
                  <a:latin typeface="Segoe"/>
                  <a:ea typeface="+mn-ea"/>
                  <a:cs typeface="+mn-cs"/>
                </a:rPr>
                <a:t>Bottom-up Pattern</a:t>
              </a:r>
            </a:p>
          </p:txBody>
        </p:sp>
        <p:sp>
          <p:nvSpPr>
            <p:cNvPr id="137" name="Rectangle 136">
              <a:extLst>
                <a:ext uri="{FF2B5EF4-FFF2-40B4-BE49-F238E27FC236}">
                  <a16:creationId xmlns:a16="http://schemas.microsoft.com/office/drawing/2014/main" id="{7E597A26-8CB7-4011-8E48-982DD8508242}"/>
                </a:ext>
              </a:extLst>
            </p:cNvPr>
            <p:cNvSpPr/>
            <p:nvPr/>
          </p:nvSpPr>
          <p:spPr>
            <a:xfrm>
              <a:off x="393178" y="3777584"/>
              <a:ext cx="2005277" cy="148733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A candidate will appear due to the success they’ve experienced with B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More likely to appear in smaller organ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969696">
                      <a:lumMod val="75000"/>
                    </a:srgbClr>
                  </a:solidFill>
                  <a:effectLst/>
                  <a:uLnTx/>
                  <a:uFillTx/>
                  <a:latin typeface="Segoe"/>
                  <a:ea typeface="+mn-ea"/>
                  <a:cs typeface="+mn-cs"/>
                </a:rPr>
                <a:t>No formal authority over other business units</a:t>
              </a:r>
            </a:p>
          </p:txBody>
        </p:sp>
      </p:grpSp>
      <p:grpSp>
        <p:nvGrpSpPr>
          <p:cNvPr id="123" name="Group 77">
            <a:extLst>
              <a:ext uri="{FF2B5EF4-FFF2-40B4-BE49-F238E27FC236}">
                <a16:creationId xmlns:a16="http://schemas.microsoft.com/office/drawing/2014/main" id="{AB12AB51-D73E-4583-A1E3-E63241A531A9}"/>
              </a:ext>
            </a:extLst>
          </p:cNvPr>
          <p:cNvGrpSpPr>
            <a:grpSpLocks noChangeAspect="1"/>
          </p:cNvGrpSpPr>
          <p:nvPr/>
        </p:nvGrpSpPr>
        <p:grpSpPr bwMode="auto">
          <a:xfrm>
            <a:off x="8225697" y="3725380"/>
            <a:ext cx="408262" cy="452771"/>
            <a:chOff x="10190" y="1390"/>
            <a:chExt cx="853" cy="946"/>
          </a:xfrm>
          <a:solidFill>
            <a:schemeClr val="accent2"/>
          </a:solidFill>
        </p:grpSpPr>
        <p:sp>
          <p:nvSpPr>
            <p:cNvPr id="124" name="Freeform 78">
              <a:extLst>
                <a:ext uri="{FF2B5EF4-FFF2-40B4-BE49-F238E27FC236}">
                  <a16:creationId xmlns:a16="http://schemas.microsoft.com/office/drawing/2014/main" id="{2716F126-4408-4738-8B92-8E181A15AEEF}"/>
                </a:ext>
              </a:extLst>
            </p:cNvPr>
            <p:cNvSpPr>
              <a:spLocks noEditPoints="1"/>
            </p:cNvSpPr>
            <p:nvPr/>
          </p:nvSpPr>
          <p:spPr bwMode="auto">
            <a:xfrm>
              <a:off x="10190" y="1390"/>
              <a:ext cx="853" cy="946"/>
            </a:xfrm>
            <a:custGeom>
              <a:avLst/>
              <a:gdLst>
                <a:gd name="T0" fmla="*/ 314 w 408"/>
                <a:gd name="T1" fmla="*/ 191 h 454"/>
                <a:gd name="T2" fmla="*/ 250 w 408"/>
                <a:gd name="T3" fmla="*/ 220 h 454"/>
                <a:gd name="T4" fmla="*/ 272 w 408"/>
                <a:gd name="T5" fmla="*/ 167 h 454"/>
                <a:gd name="T6" fmla="*/ 264 w 408"/>
                <a:gd name="T7" fmla="*/ 116 h 454"/>
                <a:gd name="T8" fmla="*/ 249 w 408"/>
                <a:gd name="T9" fmla="*/ 27 h 454"/>
                <a:gd name="T10" fmla="*/ 99 w 408"/>
                <a:gd name="T11" fmla="*/ 27 h 454"/>
                <a:gd name="T12" fmla="*/ 83 w 408"/>
                <a:gd name="T13" fmla="*/ 116 h 454"/>
                <a:gd name="T14" fmla="*/ 75 w 408"/>
                <a:gd name="T15" fmla="*/ 167 h 454"/>
                <a:gd name="T16" fmla="*/ 113 w 408"/>
                <a:gd name="T17" fmla="*/ 245 h 454"/>
                <a:gd name="T18" fmla="*/ 103 w 408"/>
                <a:gd name="T19" fmla="*/ 287 h 454"/>
                <a:gd name="T20" fmla="*/ 0 w 408"/>
                <a:gd name="T21" fmla="*/ 384 h 454"/>
                <a:gd name="T22" fmla="*/ 7 w 408"/>
                <a:gd name="T23" fmla="*/ 424 h 454"/>
                <a:gd name="T24" fmla="*/ 270 w 408"/>
                <a:gd name="T25" fmla="*/ 432 h 454"/>
                <a:gd name="T26" fmla="*/ 310 w 408"/>
                <a:gd name="T27" fmla="*/ 454 h 454"/>
                <a:gd name="T28" fmla="*/ 351 w 408"/>
                <a:gd name="T29" fmla="*/ 432 h 454"/>
                <a:gd name="T30" fmla="*/ 408 w 408"/>
                <a:gd name="T31" fmla="*/ 235 h 454"/>
                <a:gd name="T32" fmla="*/ 15 w 408"/>
                <a:gd name="T33" fmla="*/ 384 h 454"/>
                <a:gd name="T34" fmla="*/ 110 w 408"/>
                <a:gd name="T35" fmla="*/ 301 h 454"/>
                <a:gd name="T36" fmla="*/ 128 w 408"/>
                <a:gd name="T37" fmla="*/ 242 h 454"/>
                <a:gd name="T38" fmla="*/ 101 w 408"/>
                <a:gd name="T39" fmla="*/ 184 h 454"/>
                <a:gd name="T40" fmla="*/ 91 w 408"/>
                <a:gd name="T41" fmla="*/ 167 h 454"/>
                <a:gd name="T42" fmla="*/ 96 w 408"/>
                <a:gd name="T43" fmla="*/ 125 h 454"/>
                <a:gd name="T44" fmla="*/ 98 w 408"/>
                <a:gd name="T45" fmla="*/ 76 h 454"/>
                <a:gd name="T46" fmla="*/ 110 w 408"/>
                <a:gd name="T47" fmla="*/ 37 h 454"/>
                <a:gd name="T48" fmla="*/ 237 w 408"/>
                <a:gd name="T49" fmla="*/ 37 h 454"/>
                <a:gd name="T50" fmla="*/ 249 w 408"/>
                <a:gd name="T51" fmla="*/ 76 h 454"/>
                <a:gd name="T52" fmla="*/ 252 w 408"/>
                <a:gd name="T53" fmla="*/ 125 h 454"/>
                <a:gd name="T54" fmla="*/ 257 w 408"/>
                <a:gd name="T55" fmla="*/ 167 h 454"/>
                <a:gd name="T56" fmla="*/ 247 w 408"/>
                <a:gd name="T57" fmla="*/ 184 h 454"/>
                <a:gd name="T58" fmla="*/ 218 w 408"/>
                <a:gd name="T59" fmla="*/ 227 h 454"/>
                <a:gd name="T60" fmla="*/ 212 w 408"/>
                <a:gd name="T61" fmla="*/ 307 h 454"/>
                <a:gd name="T62" fmla="*/ 15 w 408"/>
                <a:gd name="T63" fmla="*/ 408 h 454"/>
                <a:gd name="T64" fmla="*/ 393 w 408"/>
                <a:gd name="T65" fmla="*/ 307 h 454"/>
                <a:gd name="T66" fmla="*/ 310 w 408"/>
                <a:gd name="T67" fmla="*/ 438 h 454"/>
                <a:gd name="T68" fmla="*/ 269 w 408"/>
                <a:gd name="T69" fmla="*/ 411 h 454"/>
                <a:gd name="T70" fmla="*/ 227 w 408"/>
                <a:gd name="T71" fmla="*/ 307 h 454"/>
                <a:gd name="T72" fmla="*/ 235 w 408"/>
                <a:gd name="T73" fmla="*/ 239 h 454"/>
                <a:gd name="T74" fmla="*/ 310 w 408"/>
                <a:gd name="T75" fmla="*/ 206 h 454"/>
                <a:gd name="T76" fmla="*/ 393 w 408"/>
                <a:gd name="T77" fmla="*/ 30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8" h="454">
                  <a:moveTo>
                    <a:pt x="402" y="227"/>
                  </a:moveTo>
                  <a:cubicBezTo>
                    <a:pt x="364" y="222"/>
                    <a:pt x="336" y="206"/>
                    <a:pt x="314" y="191"/>
                  </a:cubicBezTo>
                  <a:cubicBezTo>
                    <a:pt x="312" y="189"/>
                    <a:pt x="308" y="189"/>
                    <a:pt x="306" y="191"/>
                  </a:cubicBezTo>
                  <a:cubicBezTo>
                    <a:pt x="290" y="201"/>
                    <a:pt x="272" y="212"/>
                    <a:pt x="250" y="220"/>
                  </a:cubicBezTo>
                  <a:cubicBezTo>
                    <a:pt x="254" y="211"/>
                    <a:pt x="258" y="201"/>
                    <a:pt x="261" y="190"/>
                  </a:cubicBezTo>
                  <a:cubicBezTo>
                    <a:pt x="268" y="184"/>
                    <a:pt x="272" y="176"/>
                    <a:pt x="272" y="167"/>
                  </a:cubicBezTo>
                  <a:cubicBezTo>
                    <a:pt x="272" y="136"/>
                    <a:pt x="272" y="136"/>
                    <a:pt x="272" y="136"/>
                  </a:cubicBezTo>
                  <a:cubicBezTo>
                    <a:pt x="272" y="129"/>
                    <a:pt x="269" y="122"/>
                    <a:pt x="264" y="116"/>
                  </a:cubicBezTo>
                  <a:cubicBezTo>
                    <a:pt x="264" y="76"/>
                    <a:pt x="264" y="76"/>
                    <a:pt x="264" y="76"/>
                  </a:cubicBezTo>
                  <a:cubicBezTo>
                    <a:pt x="265" y="72"/>
                    <a:pt x="267" y="47"/>
                    <a:pt x="249" y="27"/>
                  </a:cubicBezTo>
                  <a:cubicBezTo>
                    <a:pt x="233" y="9"/>
                    <a:pt x="208" y="0"/>
                    <a:pt x="174" y="0"/>
                  </a:cubicBezTo>
                  <a:cubicBezTo>
                    <a:pt x="140" y="0"/>
                    <a:pt x="114" y="9"/>
                    <a:pt x="99" y="27"/>
                  </a:cubicBezTo>
                  <a:cubicBezTo>
                    <a:pt x="81" y="47"/>
                    <a:pt x="83" y="72"/>
                    <a:pt x="83" y="76"/>
                  </a:cubicBezTo>
                  <a:cubicBezTo>
                    <a:pt x="83" y="116"/>
                    <a:pt x="83" y="116"/>
                    <a:pt x="83" y="116"/>
                  </a:cubicBezTo>
                  <a:cubicBezTo>
                    <a:pt x="78" y="122"/>
                    <a:pt x="75" y="129"/>
                    <a:pt x="75" y="136"/>
                  </a:cubicBezTo>
                  <a:cubicBezTo>
                    <a:pt x="75" y="167"/>
                    <a:pt x="75" y="167"/>
                    <a:pt x="75" y="167"/>
                  </a:cubicBezTo>
                  <a:cubicBezTo>
                    <a:pt x="75" y="176"/>
                    <a:pt x="80" y="184"/>
                    <a:pt x="87" y="190"/>
                  </a:cubicBezTo>
                  <a:cubicBezTo>
                    <a:pt x="94" y="217"/>
                    <a:pt x="108" y="238"/>
                    <a:pt x="113" y="245"/>
                  </a:cubicBezTo>
                  <a:cubicBezTo>
                    <a:pt x="113" y="270"/>
                    <a:pt x="113" y="270"/>
                    <a:pt x="113" y="270"/>
                  </a:cubicBezTo>
                  <a:cubicBezTo>
                    <a:pt x="113" y="277"/>
                    <a:pt x="109" y="284"/>
                    <a:pt x="103" y="287"/>
                  </a:cubicBezTo>
                  <a:cubicBezTo>
                    <a:pt x="35" y="324"/>
                    <a:pt x="35" y="324"/>
                    <a:pt x="35" y="324"/>
                  </a:cubicBezTo>
                  <a:cubicBezTo>
                    <a:pt x="14" y="336"/>
                    <a:pt x="0" y="359"/>
                    <a:pt x="0" y="384"/>
                  </a:cubicBezTo>
                  <a:cubicBezTo>
                    <a:pt x="0" y="416"/>
                    <a:pt x="0" y="416"/>
                    <a:pt x="0" y="416"/>
                  </a:cubicBezTo>
                  <a:cubicBezTo>
                    <a:pt x="0" y="420"/>
                    <a:pt x="3" y="424"/>
                    <a:pt x="7" y="424"/>
                  </a:cubicBezTo>
                  <a:cubicBezTo>
                    <a:pt x="260" y="424"/>
                    <a:pt x="260" y="424"/>
                    <a:pt x="260" y="424"/>
                  </a:cubicBezTo>
                  <a:cubicBezTo>
                    <a:pt x="263" y="426"/>
                    <a:pt x="266" y="429"/>
                    <a:pt x="270" y="432"/>
                  </a:cubicBezTo>
                  <a:cubicBezTo>
                    <a:pt x="283" y="443"/>
                    <a:pt x="297" y="449"/>
                    <a:pt x="307" y="453"/>
                  </a:cubicBezTo>
                  <a:cubicBezTo>
                    <a:pt x="308" y="454"/>
                    <a:pt x="309" y="454"/>
                    <a:pt x="310" y="454"/>
                  </a:cubicBezTo>
                  <a:cubicBezTo>
                    <a:pt x="311" y="454"/>
                    <a:pt x="312" y="454"/>
                    <a:pt x="313" y="453"/>
                  </a:cubicBezTo>
                  <a:cubicBezTo>
                    <a:pt x="323" y="449"/>
                    <a:pt x="338" y="442"/>
                    <a:pt x="351" y="432"/>
                  </a:cubicBezTo>
                  <a:cubicBezTo>
                    <a:pt x="387" y="403"/>
                    <a:pt x="408" y="357"/>
                    <a:pt x="408" y="307"/>
                  </a:cubicBezTo>
                  <a:cubicBezTo>
                    <a:pt x="408" y="235"/>
                    <a:pt x="408" y="235"/>
                    <a:pt x="408" y="235"/>
                  </a:cubicBezTo>
                  <a:cubicBezTo>
                    <a:pt x="408" y="231"/>
                    <a:pt x="405" y="228"/>
                    <a:pt x="402" y="227"/>
                  </a:cubicBezTo>
                  <a:close/>
                  <a:moveTo>
                    <a:pt x="15" y="384"/>
                  </a:moveTo>
                  <a:cubicBezTo>
                    <a:pt x="15" y="365"/>
                    <a:pt x="26" y="347"/>
                    <a:pt x="43" y="337"/>
                  </a:cubicBezTo>
                  <a:cubicBezTo>
                    <a:pt x="110" y="301"/>
                    <a:pt x="110" y="301"/>
                    <a:pt x="110" y="301"/>
                  </a:cubicBezTo>
                  <a:cubicBezTo>
                    <a:pt x="121" y="294"/>
                    <a:pt x="128" y="283"/>
                    <a:pt x="128" y="270"/>
                  </a:cubicBezTo>
                  <a:cubicBezTo>
                    <a:pt x="128" y="242"/>
                    <a:pt x="128" y="242"/>
                    <a:pt x="128" y="242"/>
                  </a:cubicBezTo>
                  <a:cubicBezTo>
                    <a:pt x="128" y="240"/>
                    <a:pt x="128" y="239"/>
                    <a:pt x="127" y="237"/>
                  </a:cubicBezTo>
                  <a:cubicBezTo>
                    <a:pt x="126" y="237"/>
                    <a:pt x="108" y="214"/>
                    <a:pt x="101" y="184"/>
                  </a:cubicBezTo>
                  <a:cubicBezTo>
                    <a:pt x="100" y="182"/>
                    <a:pt x="99" y="180"/>
                    <a:pt x="98" y="179"/>
                  </a:cubicBezTo>
                  <a:cubicBezTo>
                    <a:pt x="93" y="176"/>
                    <a:pt x="91" y="172"/>
                    <a:pt x="91" y="167"/>
                  </a:cubicBezTo>
                  <a:cubicBezTo>
                    <a:pt x="91" y="136"/>
                    <a:pt x="91" y="136"/>
                    <a:pt x="91" y="136"/>
                  </a:cubicBezTo>
                  <a:cubicBezTo>
                    <a:pt x="91" y="132"/>
                    <a:pt x="92" y="128"/>
                    <a:pt x="96" y="125"/>
                  </a:cubicBezTo>
                  <a:cubicBezTo>
                    <a:pt x="97" y="124"/>
                    <a:pt x="98" y="122"/>
                    <a:pt x="98" y="120"/>
                  </a:cubicBezTo>
                  <a:cubicBezTo>
                    <a:pt x="98" y="76"/>
                    <a:pt x="98" y="76"/>
                    <a:pt x="98" y="76"/>
                  </a:cubicBezTo>
                  <a:cubicBezTo>
                    <a:pt x="98" y="75"/>
                    <a:pt x="98" y="75"/>
                    <a:pt x="98" y="75"/>
                  </a:cubicBezTo>
                  <a:cubicBezTo>
                    <a:pt x="98" y="75"/>
                    <a:pt x="96" y="54"/>
                    <a:pt x="110" y="37"/>
                  </a:cubicBezTo>
                  <a:cubicBezTo>
                    <a:pt x="123" y="23"/>
                    <a:pt x="144" y="15"/>
                    <a:pt x="174" y="15"/>
                  </a:cubicBezTo>
                  <a:cubicBezTo>
                    <a:pt x="203" y="15"/>
                    <a:pt x="225" y="23"/>
                    <a:pt x="237" y="37"/>
                  </a:cubicBezTo>
                  <a:cubicBezTo>
                    <a:pt x="252" y="53"/>
                    <a:pt x="249" y="75"/>
                    <a:pt x="249" y="75"/>
                  </a:cubicBezTo>
                  <a:cubicBezTo>
                    <a:pt x="249" y="75"/>
                    <a:pt x="249" y="75"/>
                    <a:pt x="249" y="76"/>
                  </a:cubicBezTo>
                  <a:cubicBezTo>
                    <a:pt x="249" y="120"/>
                    <a:pt x="249" y="120"/>
                    <a:pt x="249" y="120"/>
                  </a:cubicBezTo>
                  <a:cubicBezTo>
                    <a:pt x="249" y="122"/>
                    <a:pt x="250" y="124"/>
                    <a:pt x="252" y="125"/>
                  </a:cubicBezTo>
                  <a:cubicBezTo>
                    <a:pt x="255" y="128"/>
                    <a:pt x="257" y="132"/>
                    <a:pt x="257" y="136"/>
                  </a:cubicBezTo>
                  <a:cubicBezTo>
                    <a:pt x="257" y="167"/>
                    <a:pt x="257" y="167"/>
                    <a:pt x="257" y="167"/>
                  </a:cubicBezTo>
                  <a:cubicBezTo>
                    <a:pt x="257" y="172"/>
                    <a:pt x="254" y="176"/>
                    <a:pt x="250" y="179"/>
                  </a:cubicBezTo>
                  <a:cubicBezTo>
                    <a:pt x="248" y="180"/>
                    <a:pt x="247" y="182"/>
                    <a:pt x="247" y="184"/>
                  </a:cubicBezTo>
                  <a:cubicBezTo>
                    <a:pt x="243" y="201"/>
                    <a:pt x="235" y="215"/>
                    <a:pt x="229" y="225"/>
                  </a:cubicBezTo>
                  <a:cubicBezTo>
                    <a:pt x="226" y="226"/>
                    <a:pt x="222" y="227"/>
                    <a:pt x="218" y="227"/>
                  </a:cubicBezTo>
                  <a:cubicBezTo>
                    <a:pt x="214" y="228"/>
                    <a:pt x="212" y="231"/>
                    <a:pt x="212" y="235"/>
                  </a:cubicBezTo>
                  <a:cubicBezTo>
                    <a:pt x="212" y="307"/>
                    <a:pt x="212" y="307"/>
                    <a:pt x="212" y="307"/>
                  </a:cubicBezTo>
                  <a:cubicBezTo>
                    <a:pt x="212" y="344"/>
                    <a:pt x="224" y="381"/>
                    <a:pt x="246" y="408"/>
                  </a:cubicBezTo>
                  <a:cubicBezTo>
                    <a:pt x="15" y="408"/>
                    <a:pt x="15" y="408"/>
                    <a:pt x="15" y="408"/>
                  </a:cubicBezTo>
                  <a:lnTo>
                    <a:pt x="15" y="384"/>
                  </a:lnTo>
                  <a:close/>
                  <a:moveTo>
                    <a:pt x="393" y="307"/>
                  </a:moveTo>
                  <a:cubicBezTo>
                    <a:pt x="393" y="352"/>
                    <a:pt x="374" y="394"/>
                    <a:pt x="341" y="420"/>
                  </a:cubicBezTo>
                  <a:cubicBezTo>
                    <a:pt x="331" y="428"/>
                    <a:pt x="319" y="434"/>
                    <a:pt x="310" y="438"/>
                  </a:cubicBezTo>
                  <a:cubicBezTo>
                    <a:pt x="301" y="434"/>
                    <a:pt x="290" y="429"/>
                    <a:pt x="279" y="420"/>
                  </a:cubicBezTo>
                  <a:cubicBezTo>
                    <a:pt x="275" y="417"/>
                    <a:pt x="272" y="414"/>
                    <a:pt x="269" y="411"/>
                  </a:cubicBezTo>
                  <a:cubicBezTo>
                    <a:pt x="269" y="411"/>
                    <a:pt x="268" y="410"/>
                    <a:pt x="268" y="410"/>
                  </a:cubicBezTo>
                  <a:cubicBezTo>
                    <a:pt x="242" y="384"/>
                    <a:pt x="227" y="346"/>
                    <a:pt x="227" y="307"/>
                  </a:cubicBezTo>
                  <a:cubicBezTo>
                    <a:pt x="227" y="241"/>
                    <a:pt x="227" y="241"/>
                    <a:pt x="227" y="241"/>
                  </a:cubicBezTo>
                  <a:cubicBezTo>
                    <a:pt x="230" y="241"/>
                    <a:pt x="232" y="240"/>
                    <a:pt x="235" y="239"/>
                  </a:cubicBezTo>
                  <a:cubicBezTo>
                    <a:pt x="235" y="239"/>
                    <a:pt x="236" y="239"/>
                    <a:pt x="236" y="239"/>
                  </a:cubicBezTo>
                  <a:cubicBezTo>
                    <a:pt x="270" y="232"/>
                    <a:pt x="296" y="215"/>
                    <a:pt x="310" y="206"/>
                  </a:cubicBezTo>
                  <a:cubicBezTo>
                    <a:pt x="325" y="216"/>
                    <a:pt x="354" y="235"/>
                    <a:pt x="393" y="241"/>
                  </a:cubicBezTo>
                  <a:cubicBezTo>
                    <a:pt x="393" y="307"/>
                    <a:pt x="393" y="307"/>
                    <a:pt x="393"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Freeform 79">
              <a:extLst>
                <a:ext uri="{FF2B5EF4-FFF2-40B4-BE49-F238E27FC236}">
                  <a16:creationId xmlns:a16="http://schemas.microsoft.com/office/drawing/2014/main" id="{D2AF6FAA-C9B6-4148-A7D4-2634F15DAB68}"/>
                </a:ext>
              </a:extLst>
            </p:cNvPr>
            <p:cNvSpPr>
              <a:spLocks noEditPoints="1"/>
            </p:cNvSpPr>
            <p:nvPr/>
          </p:nvSpPr>
          <p:spPr bwMode="auto">
            <a:xfrm>
              <a:off x="10696" y="1859"/>
              <a:ext cx="284" cy="408"/>
            </a:xfrm>
            <a:custGeom>
              <a:avLst/>
              <a:gdLst>
                <a:gd name="T0" fmla="*/ 64 w 136"/>
                <a:gd name="T1" fmla="*/ 1 h 196"/>
                <a:gd name="T2" fmla="*/ 5 w 136"/>
                <a:gd name="T3" fmla="*/ 27 h 196"/>
                <a:gd name="T4" fmla="*/ 0 w 136"/>
                <a:gd name="T5" fmla="*/ 34 h 196"/>
                <a:gd name="T6" fmla="*/ 0 w 136"/>
                <a:gd name="T7" fmla="*/ 82 h 196"/>
                <a:gd name="T8" fmla="*/ 46 w 136"/>
                <a:gd name="T9" fmla="*/ 183 h 196"/>
                <a:gd name="T10" fmla="*/ 64 w 136"/>
                <a:gd name="T11" fmla="*/ 195 h 196"/>
                <a:gd name="T12" fmla="*/ 68 w 136"/>
                <a:gd name="T13" fmla="*/ 196 h 196"/>
                <a:gd name="T14" fmla="*/ 71 w 136"/>
                <a:gd name="T15" fmla="*/ 195 h 196"/>
                <a:gd name="T16" fmla="*/ 90 w 136"/>
                <a:gd name="T17" fmla="*/ 183 h 196"/>
                <a:gd name="T18" fmla="*/ 136 w 136"/>
                <a:gd name="T19" fmla="*/ 82 h 196"/>
                <a:gd name="T20" fmla="*/ 136 w 136"/>
                <a:gd name="T21" fmla="*/ 34 h 196"/>
                <a:gd name="T22" fmla="*/ 130 w 136"/>
                <a:gd name="T23" fmla="*/ 27 h 196"/>
                <a:gd name="T24" fmla="*/ 72 w 136"/>
                <a:gd name="T25" fmla="*/ 1 h 196"/>
                <a:gd name="T26" fmla="*/ 64 w 136"/>
                <a:gd name="T27" fmla="*/ 1 h 196"/>
                <a:gd name="T28" fmla="*/ 121 w 136"/>
                <a:gd name="T29" fmla="*/ 40 h 196"/>
                <a:gd name="T30" fmla="*/ 121 w 136"/>
                <a:gd name="T31" fmla="*/ 82 h 196"/>
                <a:gd name="T32" fmla="*/ 81 w 136"/>
                <a:gd name="T33" fmla="*/ 171 h 196"/>
                <a:gd name="T34" fmla="*/ 68 w 136"/>
                <a:gd name="T35" fmla="*/ 180 h 196"/>
                <a:gd name="T36" fmla="*/ 56 w 136"/>
                <a:gd name="T37" fmla="*/ 171 h 196"/>
                <a:gd name="T38" fmla="*/ 15 w 136"/>
                <a:gd name="T39" fmla="*/ 82 h 196"/>
                <a:gd name="T40" fmla="*/ 15 w 136"/>
                <a:gd name="T41" fmla="*/ 40 h 196"/>
                <a:gd name="T42" fmla="*/ 68 w 136"/>
                <a:gd name="T43" fmla="*/ 17 h 196"/>
                <a:gd name="T44" fmla="*/ 121 w 136"/>
                <a:gd name="T45" fmla="*/ 4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196">
                  <a:moveTo>
                    <a:pt x="64" y="1"/>
                  </a:moveTo>
                  <a:cubicBezTo>
                    <a:pt x="44" y="13"/>
                    <a:pt x="25" y="22"/>
                    <a:pt x="5" y="27"/>
                  </a:cubicBezTo>
                  <a:cubicBezTo>
                    <a:pt x="2" y="28"/>
                    <a:pt x="0" y="31"/>
                    <a:pt x="0" y="34"/>
                  </a:cubicBezTo>
                  <a:cubicBezTo>
                    <a:pt x="0" y="82"/>
                    <a:pt x="0" y="82"/>
                    <a:pt x="0" y="82"/>
                  </a:cubicBezTo>
                  <a:cubicBezTo>
                    <a:pt x="0" y="122"/>
                    <a:pt x="17" y="160"/>
                    <a:pt x="46" y="183"/>
                  </a:cubicBezTo>
                  <a:cubicBezTo>
                    <a:pt x="52" y="187"/>
                    <a:pt x="58" y="191"/>
                    <a:pt x="64" y="195"/>
                  </a:cubicBezTo>
                  <a:cubicBezTo>
                    <a:pt x="66" y="195"/>
                    <a:pt x="67" y="196"/>
                    <a:pt x="68" y="196"/>
                  </a:cubicBezTo>
                  <a:cubicBezTo>
                    <a:pt x="69" y="196"/>
                    <a:pt x="70" y="195"/>
                    <a:pt x="71" y="195"/>
                  </a:cubicBezTo>
                  <a:cubicBezTo>
                    <a:pt x="78" y="191"/>
                    <a:pt x="85" y="187"/>
                    <a:pt x="90" y="183"/>
                  </a:cubicBezTo>
                  <a:cubicBezTo>
                    <a:pt x="119" y="160"/>
                    <a:pt x="136" y="122"/>
                    <a:pt x="136" y="82"/>
                  </a:cubicBezTo>
                  <a:cubicBezTo>
                    <a:pt x="136" y="34"/>
                    <a:pt x="136" y="34"/>
                    <a:pt x="136" y="34"/>
                  </a:cubicBezTo>
                  <a:cubicBezTo>
                    <a:pt x="136" y="31"/>
                    <a:pt x="134" y="28"/>
                    <a:pt x="130" y="27"/>
                  </a:cubicBezTo>
                  <a:cubicBezTo>
                    <a:pt x="111" y="22"/>
                    <a:pt x="91" y="13"/>
                    <a:pt x="72" y="1"/>
                  </a:cubicBezTo>
                  <a:cubicBezTo>
                    <a:pt x="69" y="0"/>
                    <a:pt x="66" y="0"/>
                    <a:pt x="64" y="1"/>
                  </a:cubicBezTo>
                  <a:close/>
                  <a:moveTo>
                    <a:pt x="121" y="40"/>
                  </a:moveTo>
                  <a:cubicBezTo>
                    <a:pt x="121" y="82"/>
                    <a:pt x="121" y="82"/>
                    <a:pt x="121" y="82"/>
                  </a:cubicBezTo>
                  <a:cubicBezTo>
                    <a:pt x="121" y="118"/>
                    <a:pt x="106" y="151"/>
                    <a:pt x="81" y="171"/>
                  </a:cubicBezTo>
                  <a:cubicBezTo>
                    <a:pt x="77" y="174"/>
                    <a:pt x="73" y="177"/>
                    <a:pt x="68" y="180"/>
                  </a:cubicBezTo>
                  <a:cubicBezTo>
                    <a:pt x="64" y="177"/>
                    <a:pt x="59" y="174"/>
                    <a:pt x="56" y="171"/>
                  </a:cubicBezTo>
                  <a:cubicBezTo>
                    <a:pt x="30" y="151"/>
                    <a:pt x="15" y="118"/>
                    <a:pt x="15" y="82"/>
                  </a:cubicBezTo>
                  <a:cubicBezTo>
                    <a:pt x="15" y="40"/>
                    <a:pt x="15" y="40"/>
                    <a:pt x="15" y="40"/>
                  </a:cubicBezTo>
                  <a:cubicBezTo>
                    <a:pt x="33" y="35"/>
                    <a:pt x="50" y="27"/>
                    <a:pt x="68" y="17"/>
                  </a:cubicBezTo>
                  <a:cubicBezTo>
                    <a:pt x="86" y="27"/>
                    <a:pt x="103" y="35"/>
                    <a:pt x="12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 name="Titel 1">
            <a:extLst>
              <a:ext uri="{FF2B5EF4-FFF2-40B4-BE49-F238E27FC236}">
                <a16:creationId xmlns:a16="http://schemas.microsoft.com/office/drawing/2014/main" id="{818EDE4E-0079-424A-A6E6-7B7ECE3259D6}"/>
              </a:ext>
            </a:extLst>
          </p:cNvPr>
          <p:cNvSpPr>
            <a:spLocks noGrp="1"/>
          </p:cNvSpPr>
          <p:nvPr>
            <p:ph type="title"/>
          </p:nvPr>
        </p:nvSpPr>
        <p:spPr/>
        <p:txBody>
          <a:bodyPr/>
          <a:lstStyle/>
          <a:p>
            <a:r>
              <a:rPr lang="en-GB">
                <a:latin typeface="Segoe"/>
              </a:rPr>
              <a:t>Identifying an Executive Sponsor</a:t>
            </a:r>
            <a:endParaRPr lang="de-DE"/>
          </a:p>
        </p:txBody>
      </p:sp>
    </p:spTree>
    <p:extLst>
      <p:ext uri="{BB962C8B-B14F-4D97-AF65-F5344CB8AC3E}">
        <p14:creationId xmlns:p14="http://schemas.microsoft.com/office/powerpoint/2010/main" val="4233086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4860297" y="1208068"/>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5171585" y="544589"/>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169946" y="2296329"/>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457577" y="1631153"/>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6935424" y="3535918"/>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214266" y="285647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6878945" y="4725552"/>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173310" y="4063898"/>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276044" y="5763273"/>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6543454" y="510067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5112886" y="555185"/>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8836" y="453008"/>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21681" y="1658620"/>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148571" y="286901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113492" y="4074237"/>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6474507" y="511466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395472" y="1644724"/>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6116" y="1539465"/>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583" y="276564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89809" y="3972748"/>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2101" y="5013175"/>
            <a:ext cx="636591" cy="753041"/>
          </a:xfrm>
          <a:prstGeom prst="rect">
            <a:avLst/>
          </a:prstGeom>
        </p:spPr>
      </p:pic>
      <p:sp>
        <p:nvSpPr>
          <p:cNvPr id="10" name="Rectangle 9">
            <a:extLst>
              <a:ext uri="{FF2B5EF4-FFF2-40B4-BE49-F238E27FC236}">
                <a16:creationId xmlns:a16="http://schemas.microsoft.com/office/drawing/2014/main" id="{C8449855-CED5-4BCD-AAFD-2BC20C5C60C1}"/>
              </a:ext>
            </a:extLst>
          </p:cNvPr>
          <p:cNvSpPr/>
          <p:nvPr/>
        </p:nvSpPr>
        <p:spPr>
          <a:xfrm>
            <a:off x="5684128" y="743610"/>
            <a:ext cx="471971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Clarify on </a:t>
            </a:r>
            <a:r>
              <a:rPr kumimoji="0" lang="de-DE" sz="1200" b="0" i="0" u="none" strike="noStrike" kern="1200" cap="none" spc="0" normalizeH="0" baseline="0" noProof="0" err="1">
                <a:ln>
                  <a:noFill/>
                </a:ln>
                <a:solidFill>
                  <a:prstClr val="black"/>
                </a:solidFill>
                <a:effectLst/>
                <a:uLnTx/>
                <a:uFillTx/>
                <a:latin typeface="Segoe UI"/>
                <a:ea typeface="+mn-ea"/>
                <a:cs typeface="+mn-cs"/>
              </a:rPr>
              <a:t>who</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you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a:t>
            </a:r>
            <a:r>
              <a:rPr kumimoji="0" lang="de-DE" sz="1200" b="0" i="0" u="none" strike="noStrike" kern="1200" cap="none" spc="0" normalizeH="0" baseline="0" noProof="0" err="1">
                <a:ln>
                  <a:noFill/>
                </a:ln>
                <a:solidFill>
                  <a:prstClr val="black"/>
                </a:solidFill>
                <a:effectLst/>
                <a:uLnTx/>
                <a:uFillTx/>
                <a:latin typeface="Segoe UI"/>
                <a:ea typeface="+mn-ea"/>
                <a:cs typeface="+mn-cs"/>
              </a:rPr>
              <a:t>i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48" name="Rectangle 47">
            <a:extLst>
              <a:ext uri="{FF2B5EF4-FFF2-40B4-BE49-F238E27FC236}">
                <a16:creationId xmlns:a16="http://schemas.microsoft.com/office/drawing/2014/main" id="{0F44D7C7-4DC7-4360-AD85-E44C2717FE81}"/>
              </a:ext>
            </a:extLst>
          </p:cNvPr>
          <p:cNvSpPr/>
          <p:nvPr/>
        </p:nvSpPr>
        <p:spPr>
          <a:xfrm>
            <a:off x="6961775" y="1736058"/>
            <a:ext cx="435646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dent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someone</a:t>
            </a:r>
            <a:r>
              <a:rPr kumimoji="0" lang="de-DE" sz="1200" b="0" i="0" u="none" strike="noStrike" kern="1200" cap="none" spc="0" normalizeH="0" baseline="0" noProof="0">
                <a:ln>
                  <a:noFill/>
                </a:ln>
                <a:solidFill>
                  <a:prstClr val="black"/>
                </a:solidFill>
                <a:effectLst/>
                <a:uLnTx/>
                <a:uFillTx/>
                <a:latin typeface="Segoe UI"/>
                <a:ea typeface="+mn-ea"/>
                <a:cs typeface="+mn-cs"/>
              </a:rPr>
              <a:t> in a </a:t>
            </a:r>
            <a:r>
              <a:rPr kumimoji="0" lang="de-DE" sz="1200" b="0" i="0" u="none" strike="noStrike" kern="1200" cap="none" spc="0" normalizeH="0" baseline="0" noProof="0" err="1">
                <a:ln>
                  <a:noFill/>
                </a:ln>
                <a:solidFill>
                  <a:prstClr val="black"/>
                </a:solidFill>
                <a:effectLst/>
                <a:uLnTx/>
                <a:uFillTx/>
                <a:latin typeface="Segoe UI"/>
                <a:ea typeface="+mn-ea"/>
                <a:cs typeface="+mn-cs"/>
              </a:rPr>
              <a:t>sufficient</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positio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of</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fluence</a:t>
            </a:r>
            <a:r>
              <a:rPr kumimoji="0" lang="de-DE" sz="1200" b="0" i="0" u="none" strike="noStrike" kern="1200" cap="none" spc="0" normalizeH="0" baseline="0" noProof="0">
                <a:ln>
                  <a:noFill/>
                </a:ln>
                <a:solidFill>
                  <a:prstClr val="black"/>
                </a:solidFill>
                <a:effectLst/>
                <a:uLnTx/>
                <a:uFillTx/>
                <a:latin typeface="Segoe UI"/>
                <a:ea typeface="+mn-ea"/>
                <a:cs typeface="+mn-cs"/>
              </a:rPr>
              <a:t> and </a:t>
            </a:r>
            <a:r>
              <a:rPr kumimoji="0" lang="de-DE" sz="1200" b="0" i="0" u="none" strike="noStrike" kern="1200" cap="none" spc="0" normalizeH="0" baseline="0" noProof="0" err="1">
                <a:ln>
                  <a:noFill/>
                </a:ln>
                <a:solidFill>
                  <a:prstClr val="black"/>
                </a:solidFill>
                <a:effectLst/>
                <a:uLnTx/>
                <a:uFillTx/>
                <a:latin typeface="Segoe UI"/>
                <a:ea typeface="+mn-ea"/>
                <a:cs typeface="+mn-cs"/>
              </a:rPr>
              <a:t>authority</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1" name="Rectangle 50">
            <a:extLst>
              <a:ext uri="{FF2B5EF4-FFF2-40B4-BE49-F238E27FC236}">
                <a16:creationId xmlns:a16="http://schemas.microsoft.com/office/drawing/2014/main" id="{6B489126-7A96-44F4-A761-638DA488AF1A}"/>
              </a:ext>
            </a:extLst>
          </p:cNvPr>
          <p:cNvSpPr/>
          <p:nvPr/>
        </p:nvSpPr>
        <p:spPr>
          <a:xfrm>
            <a:off x="7720538" y="2955433"/>
            <a:ext cx="38212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volve</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in all </a:t>
            </a:r>
            <a:r>
              <a:rPr kumimoji="0" lang="de-DE" sz="1200" b="0" i="0" u="none" strike="noStrike" kern="1200" cap="none" spc="0" normalizeH="0" baseline="0" noProof="0" err="1">
                <a:ln>
                  <a:noFill/>
                </a:ln>
                <a:solidFill>
                  <a:prstClr val="black"/>
                </a:solidFill>
                <a:effectLst/>
                <a:uLnTx/>
                <a:uFillTx/>
                <a:latin typeface="Segoe UI"/>
                <a:ea typeface="+mn-ea"/>
                <a:cs typeface="+mn-cs"/>
              </a:rPr>
              <a:t>strategic</a:t>
            </a:r>
            <a:r>
              <a:rPr kumimoji="0" lang="de-DE" sz="1200" b="0" i="0" u="none" strike="noStrike" kern="1200" cap="none" spc="0" normalizeH="0" baseline="0" noProof="0">
                <a:ln>
                  <a:noFill/>
                </a:ln>
                <a:solidFill>
                  <a:prstClr val="black"/>
                </a:solidFill>
                <a:effectLst/>
                <a:uLnTx/>
                <a:uFillTx/>
                <a:latin typeface="Segoe UI"/>
                <a:ea typeface="+mn-ea"/>
                <a:cs typeface="+mn-cs"/>
              </a:rPr>
              <a:t>-level </a:t>
            </a:r>
            <a:r>
              <a:rPr kumimoji="0" lang="de-DE" sz="1200" b="0" i="0" u="none" strike="noStrike" kern="1200" cap="none" spc="0" normalizeH="0" baseline="0" noProof="0" err="1">
                <a:ln>
                  <a:noFill/>
                </a:ln>
                <a:solidFill>
                  <a:prstClr val="black"/>
                </a:solidFill>
                <a:effectLst/>
                <a:uLnTx/>
                <a:uFillTx/>
                <a:latin typeface="Segoe UI"/>
                <a:ea typeface="+mn-ea"/>
                <a:cs typeface="+mn-cs"/>
              </a:rPr>
              <a:t>governanc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decision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2" name="Rectangle 51">
            <a:extLst>
              <a:ext uri="{FF2B5EF4-FFF2-40B4-BE49-F238E27FC236}">
                <a16:creationId xmlns:a16="http://schemas.microsoft.com/office/drawing/2014/main" id="{FDB6A43E-814A-4954-80B0-986E0DDE0DF0}"/>
              </a:ext>
            </a:extLst>
          </p:cNvPr>
          <p:cNvSpPr/>
          <p:nvPr/>
        </p:nvSpPr>
        <p:spPr>
          <a:xfrm>
            <a:off x="7701335" y="4267792"/>
            <a:ext cx="369862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err="1">
                <a:ln>
                  <a:noFill/>
                </a:ln>
                <a:solidFill>
                  <a:prstClr val="black"/>
                </a:solidFill>
                <a:effectLst/>
                <a:uLnTx/>
                <a:uFillTx/>
                <a:latin typeface="Segoe UI"/>
                <a:ea typeface="+mn-ea"/>
                <a:cs typeface="+mn-cs"/>
              </a:rPr>
              <a:t>Involve</a:t>
            </a:r>
            <a:r>
              <a:rPr kumimoji="0" lang="de-DE" sz="1200" b="0" i="0" u="none" strike="noStrike" kern="1200" cap="none" spc="0" normalizeH="0" baseline="0" noProof="0">
                <a:ln>
                  <a:noFill/>
                </a:ln>
                <a:solidFill>
                  <a:prstClr val="black"/>
                </a:solidFill>
                <a:effectLst/>
                <a:uLnTx/>
                <a:uFillTx/>
                <a:latin typeface="Segoe UI"/>
                <a:ea typeface="+mn-ea"/>
                <a:cs typeface="+mn-cs"/>
              </a:rPr>
              <a:t> an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 in all </a:t>
            </a:r>
            <a:r>
              <a:rPr kumimoji="0" lang="de-DE" sz="1200" b="0" i="0" u="none" strike="noStrike" kern="1200" cap="none" spc="0" normalizeH="0" baseline="0" noProof="0" err="1">
                <a:ln>
                  <a:noFill/>
                </a:ln>
                <a:solidFill>
                  <a:prstClr val="black"/>
                </a:solidFill>
                <a:effectLst/>
                <a:uLnTx/>
                <a:uFillTx/>
                <a:latin typeface="Segoe UI"/>
                <a:ea typeface="+mn-ea"/>
                <a:cs typeface="+mn-cs"/>
              </a:rPr>
              <a:t>data</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ultur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tiatives</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sp>
        <p:nvSpPr>
          <p:cNvPr id="53" name="Rectangle 52">
            <a:extLst>
              <a:ext uri="{FF2B5EF4-FFF2-40B4-BE49-F238E27FC236}">
                <a16:creationId xmlns:a16="http://schemas.microsoft.com/office/drawing/2014/main" id="{AF628E45-80E1-4A67-AF80-F9788AA4E590}"/>
              </a:ext>
            </a:extLst>
          </p:cNvPr>
          <p:cNvSpPr/>
          <p:nvPr/>
        </p:nvSpPr>
        <p:spPr>
          <a:xfrm>
            <a:off x="7106534" y="5303645"/>
            <a:ext cx="404142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Conside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naming</a:t>
            </a:r>
            <a:r>
              <a:rPr kumimoji="0" lang="de-DE" sz="1200" b="0" i="0" u="none" strike="noStrike" kern="1200" cap="none" spc="0" normalizeH="0" baseline="0" noProof="0">
                <a:ln>
                  <a:noFill/>
                </a:ln>
                <a:solidFill>
                  <a:prstClr val="black"/>
                </a:solidFill>
                <a:effectLst/>
                <a:uLnTx/>
                <a:uFillTx/>
                <a:latin typeface="Segoe UI"/>
                <a:ea typeface="+mn-ea"/>
                <a:cs typeface="+mn-cs"/>
              </a:rPr>
              <a:t> a </a:t>
            </a:r>
            <a:r>
              <a:rPr kumimoji="0" lang="de-DE" sz="1200" b="0" i="0" u="none" strike="noStrike" kern="1200" cap="none" spc="0" normalizeH="0" baseline="0" noProof="0" err="1">
                <a:ln>
                  <a:noFill/>
                </a:ln>
                <a:solidFill>
                  <a:prstClr val="black"/>
                </a:solidFill>
                <a:effectLst/>
                <a:uLnTx/>
                <a:uFillTx/>
                <a:latin typeface="Segoe UI"/>
                <a:ea typeface="+mn-ea"/>
                <a:cs typeface="+mn-cs"/>
              </a:rPr>
              <a:t>backup</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xecutive</a:t>
            </a:r>
            <a:r>
              <a:rPr kumimoji="0" lang="de-DE" sz="1200" b="0" i="0" u="none" strike="noStrike" kern="1200" cap="none" spc="0" normalizeH="0" baseline="0" noProof="0">
                <a:ln>
                  <a:noFill/>
                </a:ln>
                <a:solidFill>
                  <a:prstClr val="black"/>
                </a:solidFill>
                <a:effectLst/>
                <a:uLnTx/>
                <a:uFillTx/>
                <a:latin typeface="Segoe UI"/>
                <a:ea typeface="+mn-ea"/>
                <a:cs typeface="+mn-cs"/>
              </a:rPr>
              <a:t> sponsor.</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5368" y="588435"/>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7594" y="1754165"/>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36626" y="293676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6364" y="4160019"/>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6309804" y="5192999"/>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70737" y="2685091"/>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E172A62E-0A7E-4F8A-91A6-B083905D98D4}"/>
              </a:ext>
            </a:extLst>
          </p:cNvPr>
          <p:cNvSpPr/>
          <p:nvPr/>
        </p:nvSpPr>
        <p:spPr>
          <a:xfrm>
            <a:off x="4529520" y="6612833"/>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43369A14-D910-4EA8-A991-CE5119F180D8}"/>
              </a:ext>
            </a:extLst>
          </p:cNvPr>
          <p:cNvSpPr/>
          <p:nvPr/>
        </p:nvSpPr>
        <p:spPr>
          <a:xfrm>
            <a:off x="4840808" y="5949354"/>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8">
            <a:extLst>
              <a:ext uri="{FF2B5EF4-FFF2-40B4-BE49-F238E27FC236}">
                <a16:creationId xmlns:a16="http://schemas.microsoft.com/office/drawing/2014/main" id="{9E53521F-2A1F-474A-976B-53EC22CB6F05}"/>
              </a:ext>
            </a:extLst>
          </p:cNvPr>
          <p:cNvSpPr txBox="1"/>
          <p:nvPr/>
        </p:nvSpPr>
        <p:spPr>
          <a:xfrm>
            <a:off x="4782109" y="5959950"/>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6" name="Graphic 32">
            <a:extLst>
              <a:ext uri="{FF2B5EF4-FFF2-40B4-BE49-F238E27FC236}">
                <a16:creationId xmlns:a16="http://schemas.microsoft.com/office/drawing/2014/main" id="{0443BD16-BFFF-499F-8B51-46B1669F95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8059" y="5857773"/>
            <a:ext cx="636591" cy="753041"/>
          </a:xfrm>
          <a:prstGeom prst="rect">
            <a:avLst/>
          </a:prstGeom>
        </p:spPr>
      </p:pic>
      <p:sp>
        <p:nvSpPr>
          <p:cNvPr id="7" name="Rectangle 9">
            <a:extLst>
              <a:ext uri="{FF2B5EF4-FFF2-40B4-BE49-F238E27FC236}">
                <a16:creationId xmlns:a16="http://schemas.microsoft.com/office/drawing/2014/main" id="{468A3990-DA54-4BEB-B73E-7811B27C62EF}"/>
              </a:ext>
            </a:extLst>
          </p:cNvPr>
          <p:cNvSpPr/>
          <p:nvPr/>
        </p:nvSpPr>
        <p:spPr>
          <a:xfrm>
            <a:off x="5433439" y="6068098"/>
            <a:ext cx="410457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dentify</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influential</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advocate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within</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he</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leadership</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team</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for</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each</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business</a:t>
            </a:r>
            <a:r>
              <a:rPr kumimoji="0" lang="de-DE" sz="1200" b="0" i="0" u="none" strike="noStrike" kern="1200" cap="none" spc="0" normalizeH="0" baseline="0" noProof="0">
                <a:ln>
                  <a:noFill/>
                </a:ln>
                <a:solidFill>
                  <a:prstClr val="black"/>
                </a:solidFill>
                <a:effectLst/>
                <a:uLnTx/>
                <a:uFillTx/>
                <a:latin typeface="Segoe UI"/>
                <a:ea typeface="+mn-ea"/>
                <a:cs typeface="+mn-cs"/>
              </a:rPr>
              <a:t> </a:t>
            </a:r>
            <a:r>
              <a:rPr kumimoji="0" lang="de-DE" sz="1200" b="0" i="0" u="none" strike="noStrike" kern="1200" cap="none" spc="0" normalizeH="0" baseline="0" noProof="0" err="1">
                <a:ln>
                  <a:noFill/>
                </a:ln>
                <a:solidFill>
                  <a:prstClr val="black"/>
                </a:solidFill>
                <a:effectLst/>
                <a:uLnTx/>
                <a:uFillTx/>
                <a:latin typeface="Segoe UI"/>
                <a:ea typeface="+mn-ea"/>
                <a:cs typeface="+mn-cs"/>
              </a:rPr>
              <a:t>unit</a:t>
            </a:r>
            <a:r>
              <a:rPr kumimoji="0" lang="de-DE" sz="1200" b="0" i="0" u="none" strike="noStrike" kern="1200" cap="none" spc="0" normalizeH="0" baseline="0" noProof="0">
                <a:ln>
                  <a:noFill/>
                </a:ln>
                <a:solidFill>
                  <a:prstClr val="black"/>
                </a:solidFill>
                <a:effectLst/>
                <a:uLnTx/>
                <a:uFillTx/>
                <a:latin typeface="Segoe UI"/>
                <a:ea typeface="+mn-ea"/>
                <a:cs typeface="+mn-cs"/>
              </a:rPr>
              <a:t>.</a:t>
            </a:r>
          </a:p>
        </p:txBody>
      </p:sp>
      <p:pic>
        <p:nvPicPr>
          <p:cNvPr id="11" name="Graphic 17">
            <a:extLst>
              <a:ext uri="{FF2B5EF4-FFF2-40B4-BE49-F238E27FC236}">
                <a16:creationId xmlns:a16="http://schemas.microsoft.com/office/drawing/2014/main" id="{E73611ED-78C0-41D7-8BA1-2568CA2EB1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4591" y="5993200"/>
            <a:ext cx="351558" cy="351558"/>
          </a:xfrm>
          <a:prstGeom prst="rect">
            <a:avLst/>
          </a:prstGeom>
        </p:spPr>
      </p:pic>
    </p:spTree>
    <p:extLst>
      <p:ext uri="{BB962C8B-B14F-4D97-AF65-F5344CB8AC3E}">
        <p14:creationId xmlns:p14="http://schemas.microsoft.com/office/powerpoint/2010/main" val="2696245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899EC25-40CE-4EF5-AD5F-447044CB23BA}"/>
              </a:ext>
            </a:extLst>
          </p:cNvPr>
          <p:cNvSpPr>
            <a:spLocks noGrp="1"/>
          </p:cNvSpPr>
          <p:nvPr>
            <p:ph type="title"/>
          </p:nvPr>
        </p:nvSpPr>
        <p:spPr/>
        <p:txBody>
          <a:bodyPr/>
          <a:lstStyle/>
          <a:p>
            <a:r>
              <a:rPr lang="de-DE" err="1"/>
              <a:t>Considerations</a:t>
            </a:r>
            <a:r>
              <a:rPr lang="de-DE"/>
              <a:t>&amp; Key Actions</a:t>
            </a:r>
          </a:p>
        </p:txBody>
      </p:sp>
      <p:sp>
        <p:nvSpPr>
          <p:cNvPr id="5" name="Textplatzhalter 4">
            <a:extLst>
              <a:ext uri="{FF2B5EF4-FFF2-40B4-BE49-F238E27FC236}">
                <a16:creationId xmlns:a16="http://schemas.microsoft.com/office/drawing/2014/main" id="{CDCF76ED-A9D5-4793-A016-43FBF1FE242C}"/>
              </a:ext>
            </a:extLst>
          </p:cNvPr>
          <p:cNvSpPr>
            <a:spLocks noGrp="1"/>
          </p:cNvSpPr>
          <p:nvPr>
            <p:ph type="body" sz="quarter" idx="10"/>
          </p:nvPr>
        </p:nvSpPr>
        <p:spPr>
          <a:xfrm>
            <a:off x="5765729" y="943687"/>
            <a:ext cx="6125159" cy="7885236"/>
          </a:xfrm>
        </p:spPr>
        <p:txBody>
          <a:bodyPr/>
          <a:lstStyle/>
          <a:p>
            <a:pPr marL="342900" indent="-342900">
              <a:buFont typeface="Arial" panose="020B0604020202020204" pitchFamily="34" charset="0"/>
              <a:buChar char="•"/>
            </a:pPr>
            <a:r>
              <a:rPr lang="en-US" sz="2400"/>
              <a:t>Clarify on who your executive sponsor is.</a:t>
            </a:r>
          </a:p>
          <a:p>
            <a:pPr marL="342900" indent="-342900">
              <a:buFont typeface="Arial" panose="020B0604020202020204" pitchFamily="34" charset="0"/>
              <a:buChar char="•"/>
            </a:pPr>
            <a:r>
              <a:rPr lang="de-DE" sz="2400" err="1"/>
              <a:t>Identify</a:t>
            </a:r>
            <a:r>
              <a:rPr lang="de-DE" sz="2400"/>
              <a:t> </a:t>
            </a:r>
            <a:r>
              <a:rPr lang="de-DE" sz="2400" err="1"/>
              <a:t>someone</a:t>
            </a:r>
            <a:r>
              <a:rPr lang="de-DE" sz="2400"/>
              <a:t> in a </a:t>
            </a:r>
            <a:r>
              <a:rPr lang="de-DE" sz="2400" err="1"/>
              <a:t>sufficient</a:t>
            </a:r>
            <a:r>
              <a:rPr lang="de-DE" sz="2400"/>
              <a:t> </a:t>
            </a:r>
            <a:r>
              <a:rPr lang="de-DE" sz="2400" err="1"/>
              <a:t>position</a:t>
            </a:r>
            <a:r>
              <a:rPr lang="de-DE" sz="2400"/>
              <a:t> </a:t>
            </a:r>
            <a:r>
              <a:rPr lang="de-DE" sz="2400" err="1"/>
              <a:t>of</a:t>
            </a:r>
            <a:r>
              <a:rPr lang="de-DE" sz="2400"/>
              <a:t> </a:t>
            </a:r>
            <a:r>
              <a:rPr lang="de-DE" sz="2400" err="1"/>
              <a:t>influence</a:t>
            </a:r>
            <a:r>
              <a:rPr lang="de-DE" sz="2400"/>
              <a:t> and </a:t>
            </a:r>
            <a:r>
              <a:rPr lang="de-DE" sz="2400" err="1"/>
              <a:t>authority</a:t>
            </a:r>
            <a:r>
              <a:rPr lang="de-DE" sz="2400"/>
              <a:t>.</a:t>
            </a:r>
          </a:p>
          <a:p>
            <a:pPr marL="342900" indent="-342900">
              <a:buFont typeface="Arial" panose="020B0604020202020204" pitchFamily="34" charset="0"/>
              <a:buChar char="•"/>
            </a:pPr>
            <a:r>
              <a:rPr lang="de-DE" sz="2400" err="1"/>
              <a:t>Involve</a:t>
            </a:r>
            <a:r>
              <a:rPr lang="de-DE" sz="2400"/>
              <a:t> an </a:t>
            </a:r>
            <a:r>
              <a:rPr lang="de-DE" sz="2400" err="1"/>
              <a:t>executive</a:t>
            </a:r>
            <a:r>
              <a:rPr lang="de-DE" sz="2400"/>
              <a:t> sponsor in all </a:t>
            </a:r>
            <a:r>
              <a:rPr lang="de-DE" sz="2400" err="1"/>
              <a:t>strategic</a:t>
            </a:r>
            <a:r>
              <a:rPr lang="de-DE" sz="2400"/>
              <a:t>-level </a:t>
            </a:r>
            <a:r>
              <a:rPr lang="de-DE" sz="2400" err="1"/>
              <a:t>governance</a:t>
            </a:r>
            <a:r>
              <a:rPr lang="de-DE" sz="2400"/>
              <a:t> </a:t>
            </a:r>
            <a:r>
              <a:rPr lang="de-DE" sz="2400" err="1"/>
              <a:t>decisions</a:t>
            </a:r>
            <a:r>
              <a:rPr lang="de-DE" sz="2400"/>
              <a:t>.</a:t>
            </a:r>
          </a:p>
          <a:p>
            <a:pPr marL="342900" indent="-342900">
              <a:buFont typeface="Arial" panose="020B0604020202020204" pitchFamily="34" charset="0"/>
              <a:buChar char="•"/>
            </a:pPr>
            <a:r>
              <a:rPr lang="de-DE" sz="2400" err="1"/>
              <a:t>Involve</a:t>
            </a:r>
            <a:r>
              <a:rPr lang="de-DE" sz="2400"/>
              <a:t> an </a:t>
            </a:r>
            <a:r>
              <a:rPr lang="de-DE" sz="2400" err="1"/>
              <a:t>executive</a:t>
            </a:r>
            <a:r>
              <a:rPr lang="de-DE" sz="2400"/>
              <a:t> sponsor in all </a:t>
            </a:r>
            <a:r>
              <a:rPr lang="de-DE" sz="2400" err="1"/>
              <a:t>data</a:t>
            </a:r>
            <a:r>
              <a:rPr lang="de-DE" sz="2400"/>
              <a:t> </a:t>
            </a:r>
            <a:r>
              <a:rPr lang="de-DE" sz="2400" err="1"/>
              <a:t>culture</a:t>
            </a:r>
            <a:r>
              <a:rPr lang="de-DE" sz="2400"/>
              <a:t> </a:t>
            </a:r>
            <a:r>
              <a:rPr lang="de-DE" sz="2400" err="1"/>
              <a:t>intiatives</a:t>
            </a:r>
            <a:r>
              <a:rPr kumimoji="0" lang="de-DE" sz="2400" b="0" i="0" u="none" strike="noStrike" kern="1200" cap="none" spc="0" normalizeH="0" baseline="0" noProof="0">
                <a:ln>
                  <a:noFill/>
                </a:ln>
                <a:solidFill>
                  <a:prstClr val="black"/>
                </a:solidFill>
                <a:effectLst/>
                <a:uLnTx/>
                <a:uFillTx/>
                <a:latin typeface="Segoe UI"/>
                <a:ea typeface="+mn-ea"/>
                <a:cs typeface="+mn-cs"/>
              </a:rPr>
              <a:t>.</a:t>
            </a:r>
          </a:p>
          <a:p>
            <a:pPr marL="342900" indent="-342900">
              <a:buFont typeface="Arial" panose="020B0604020202020204" pitchFamily="34" charset="0"/>
              <a:buChar char="•"/>
            </a:pPr>
            <a:r>
              <a:rPr lang="de-DE" sz="2400" err="1"/>
              <a:t>Consider</a:t>
            </a:r>
            <a:r>
              <a:rPr lang="de-DE" sz="2400"/>
              <a:t> </a:t>
            </a:r>
            <a:r>
              <a:rPr lang="de-DE" sz="2400" err="1"/>
              <a:t>naming</a:t>
            </a:r>
            <a:r>
              <a:rPr lang="de-DE" sz="2400"/>
              <a:t> a </a:t>
            </a:r>
            <a:r>
              <a:rPr lang="de-DE" sz="2400" err="1"/>
              <a:t>backup</a:t>
            </a:r>
            <a:r>
              <a:rPr lang="de-DE" sz="2400"/>
              <a:t> </a:t>
            </a:r>
            <a:r>
              <a:rPr lang="de-DE" sz="2400" err="1"/>
              <a:t>executive</a:t>
            </a:r>
            <a:r>
              <a:rPr lang="de-DE" sz="2400"/>
              <a:t> sponsor.</a:t>
            </a:r>
          </a:p>
          <a:p>
            <a:pPr marL="342900" indent="-342900">
              <a:buFont typeface="Arial" panose="020B0604020202020204" pitchFamily="34" charset="0"/>
              <a:buChar char="•"/>
            </a:pPr>
            <a:r>
              <a:rPr lang="de-DE" sz="2400" err="1"/>
              <a:t>Identify</a:t>
            </a:r>
            <a:r>
              <a:rPr lang="de-DE" sz="2400"/>
              <a:t> </a:t>
            </a:r>
            <a:r>
              <a:rPr lang="de-DE" sz="2400" err="1"/>
              <a:t>influential</a:t>
            </a:r>
            <a:r>
              <a:rPr lang="de-DE" sz="2400"/>
              <a:t> </a:t>
            </a:r>
            <a:r>
              <a:rPr lang="de-DE" sz="2400" err="1"/>
              <a:t>advocates</a:t>
            </a:r>
            <a:r>
              <a:rPr lang="de-DE" sz="2400"/>
              <a:t> </a:t>
            </a:r>
            <a:r>
              <a:rPr lang="de-DE" sz="2400" err="1"/>
              <a:t>within</a:t>
            </a:r>
            <a:r>
              <a:rPr lang="de-DE" sz="2400"/>
              <a:t> </a:t>
            </a:r>
            <a:r>
              <a:rPr lang="de-DE" sz="2400" err="1"/>
              <a:t>the</a:t>
            </a:r>
            <a:r>
              <a:rPr lang="de-DE" sz="2400"/>
              <a:t> </a:t>
            </a:r>
            <a:r>
              <a:rPr lang="de-DE" sz="2400" err="1"/>
              <a:t>leadership</a:t>
            </a:r>
            <a:r>
              <a:rPr lang="de-DE" sz="2400"/>
              <a:t> </a:t>
            </a:r>
            <a:r>
              <a:rPr lang="de-DE" sz="2400" err="1"/>
              <a:t>team</a:t>
            </a:r>
            <a:r>
              <a:rPr lang="de-DE" sz="2400"/>
              <a:t> </a:t>
            </a:r>
            <a:r>
              <a:rPr lang="de-DE" sz="2400" err="1"/>
              <a:t>for</a:t>
            </a:r>
            <a:r>
              <a:rPr lang="de-DE" sz="2400"/>
              <a:t> </a:t>
            </a:r>
            <a:r>
              <a:rPr lang="de-DE" sz="2400" err="1"/>
              <a:t>each</a:t>
            </a:r>
            <a:r>
              <a:rPr lang="de-DE" sz="2400"/>
              <a:t> </a:t>
            </a:r>
            <a:r>
              <a:rPr lang="de-DE" sz="2400" err="1"/>
              <a:t>business</a:t>
            </a:r>
            <a:r>
              <a:rPr lang="de-DE" sz="2400"/>
              <a:t> </a:t>
            </a:r>
            <a:r>
              <a:rPr lang="de-DE" sz="2400" err="1"/>
              <a:t>unit</a:t>
            </a:r>
            <a:r>
              <a:rPr lang="de-DE" sz="2400"/>
              <a:t>.</a:t>
            </a:r>
          </a:p>
          <a:p>
            <a:endParaRPr kumimoji="0" lang="de-DE" sz="2400" b="0" i="0" u="none" strike="noStrike" kern="1200" cap="none" spc="0" normalizeH="0" baseline="0" noProof="0">
              <a:ln>
                <a:noFill/>
              </a:ln>
              <a:solidFill>
                <a:prstClr val="black"/>
              </a:solidFill>
              <a:effectLst/>
              <a:uLnTx/>
              <a:uFillTx/>
              <a:latin typeface="Segoe UI"/>
              <a:ea typeface="+mn-ea"/>
              <a:cs typeface="+mn-cs"/>
            </a:endParaRPr>
          </a:p>
          <a:p>
            <a:endParaRPr lang="en-US" sz="3600"/>
          </a:p>
          <a:p>
            <a:endParaRPr lang="en-US"/>
          </a:p>
          <a:p>
            <a:endParaRPr lang="de-DE"/>
          </a:p>
        </p:txBody>
      </p:sp>
    </p:spTree>
    <p:extLst>
      <p:ext uri="{BB962C8B-B14F-4D97-AF65-F5344CB8AC3E}">
        <p14:creationId xmlns:p14="http://schemas.microsoft.com/office/powerpoint/2010/main" val="35857667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7D127-9669-428F-9CA0-FD945CE7AD2E}"/>
              </a:ext>
            </a:extLst>
          </p:cNvPr>
          <p:cNvSpPr>
            <a:spLocks noGrp="1"/>
          </p:cNvSpPr>
          <p:nvPr>
            <p:ph type="title"/>
          </p:nvPr>
        </p:nvSpPr>
        <p:spPr/>
        <p:txBody>
          <a:bodyPr/>
          <a:lstStyle/>
          <a:p>
            <a:r>
              <a:rPr lang="de-DE" err="1"/>
              <a:t>Maturity</a:t>
            </a:r>
            <a:r>
              <a:rPr lang="de-DE"/>
              <a:t> Level – Executive Sponsor</a:t>
            </a:r>
            <a:endParaRPr lang="en-US"/>
          </a:p>
        </p:txBody>
      </p:sp>
      <p:graphicFrame>
        <p:nvGraphicFramePr>
          <p:cNvPr id="4" name="Tabelle 3">
            <a:extLst>
              <a:ext uri="{FF2B5EF4-FFF2-40B4-BE49-F238E27FC236}">
                <a16:creationId xmlns:a16="http://schemas.microsoft.com/office/drawing/2014/main" id="{624AEF13-8484-4F7D-8A90-F55F5A7CF579}"/>
              </a:ext>
            </a:extLst>
          </p:cNvPr>
          <p:cNvGraphicFramePr/>
          <p:nvPr/>
        </p:nvGraphicFramePr>
        <p:xfrm>
          <a:off x="568082" y="1192550"/>
          <a:ext cx="10890140" cy="5342782"/>
        </p:xfrm>
        <a:graphic>
          <a:graphicData uri="http://schemas.openxmlformats.org/drawingml/2006/table">
            <a:tbl>
              <a:tblPr>
                <a:tableStyleId>{5C22544A-7EE6-4342-B048-85BDC9FD1C3A}</a:tableStyleId>
              </a:tblPr>
              <a:tblGrid>
                <a:gridCol w="1621962">
                  <a:extLst>
                    <a:ext uri="{9D8B030D-6E8A-4147-A177-3AD203B41FA5}">
                      <a16:colId xmlns:a16="http://schemas.microsoft.com/office/drawing/2014/main" val="4169545236"/>
                    </a:ext>
                  </a:extLst>
                </a:gridCol>
                <a:gridCol w="9268178">
                  <a:extLst>
                    <a:ext uri="{9D8B030D-6E8A-4147-A177-3AD203B41FA5}">
                      <a16:colId xmlns:a16="http://schemas.microsoft.com/office/drawing/2014/main" val="3014618894"/>
                    </a:ext>
                  </a:extLst>
                </a:gridCol>
              </a:tblGrid>
              <a:tr h="557228">
                <a:tc>
                  <a:txBody>
                    <a:bodyPr/>
                    <a:lstStyle/>
                    <a:p>
                      <a:pPr algn="l" fontAlgn="t">
                        <a:spcBef>
                          <a:spcPts val="0"/>
                        </a:spcBef>
                        <a:spcAft>
                          <a:spcPts val="0"/>
                        </a:spcAft>
                      </a:pPr>
                      <a:r>
                        <a:rPr lang="en-US" sz="1600" b="1" u="none" strike="noStrike">
                          <a:effectLst/>
                        </a:rPr>
                        <a:t>Level</a:t>
                      </a:r>
                      <a:endParaRPr lang="en-US" sz="1600" b="1"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b="1" u="none" strike="noStrike">
                          <a:effectLst/>
                        </a:rPr>
                        <a:t>State of Power BI executive support</a:t>
                      </a:r>
                      <a:endParaRPr lang="en-US" sz="1600" b="1"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3923148310"/>
                  </a:ext>
                </a:extLst>
              </a:tr>
              <a:tr h="1069944">
                <a:tc>
                  <a:txBody>
                    <a:bodyPr/>
                    <a:lstStyle/>
                    <a:p>
                      <a:pPr algn="l" fontAlgn="t">
                        <a:spcBef>
                          <a:spcPts val="0"/>
                        </a:spcBef>
                        <a:spcAft>
                          <a:spcPts val="0"/>
                        </a:spcAft>
                      </a:pPr>
                      <a:r>
                        <a:rPr lang="en-US" sz="1600" u="none" strike="noStrike">
                          <a:effectLst/>
                        </a:rPr>
                        <a:t>100: Initial</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There is awareness from at least one executive about the strategic importance of how Power BI can play a part in advancing the organization's data culture goals. However, neither a Power BI sponsor nor an executive-level decision-maker is identified.</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3957909456"/>
                  </a:ext>
                </a:extLst>
              </a:tr>
              <a:tr h="604314">
                <a:tc>
                  <a:txBody>
                    <a:bodyPr/>
                    <a:lstStyle/>
                    <a:p>
                      <a:pPr algn="l" fontAlgn="t">
                        <a:spcBef>
                          <a:spcPts val="0"/>
                        </a:spcBef>
                        <a:spcAft>
                          <a:spcPts val="0"/>
                        </a:spcAft>
                      </a:pPr>
                      <a:r>
                        <a:rPr lang="en-US" sz="1600" u="none" strike="noStrike">
                          <a:effectLst/>
                        </a:rPr>
                        <a:t>200: Repeatable</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Executive support exists for Power BI through informal channels and relationships.</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1723496857"/>
                  </a:ext>
                </a:extLst>
              </a:tr>
              <a:tr h="944241">
                <a:tc>
                  <a:txBody>
                    <a:bodyPr/>
                    <a:lstStyle/>
                    <a:p>
                      <a:pPr algn="l" fontAlgn="t">
                        <a:spcBef>
                          <a:spcPts val="0"/>
                        </a:spcBef>
                        <a:spcAft>
                          <a:spcPts val="0"/>
                        </a:spcAft>
                      </a:pPr>
                      <a:r>
                        <a:rPr lang="en-US" sz="1600" u="none" strike="noStrike">
                          <a:effectLst/>
                        </a:rPr>
                        <a:t>300: Defined</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A formal arrangement exists for C-level Power BI sponsorship and support, with well-understood expectations for the role.</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157519176"/>
                  </a:ext>
                </a:extLst>
              </a:tr>
              <a:tr h="882886">
                <a:tc>
                  <a:txBody>
                    <a:bodyPr/>
                    <a:lstStyle/>
                    <a:p>
                      <a:pPr algn="l" fontAlgn="t">
                        <a:spcBef>
                          <a:spcPts val="0"/>
                        </a:spcBef>
                        <a:spcAft>
                          <a:spcPts val="0"/>
                        </a:spcAft>
                      </a:pPr>
                      <a:r>
                        <a:rPr lang="en-US" sz="1600" u="none" strike="noStrike">
                          <a:effectLst/>
                        </a:rPr>
                        <a:t>400: Capable</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Senior-level support is in place to grow and sustain the investment in Power BI by someone with sufficient authority across organizational boundaries.</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868357730"/>
                  </a:ext>
                </a:extLst>
              </a:tr>
              <a:tr h="1284169">
                <a:tc>
                  <a:txBody>
                    <a:bodyPr/>
                    <a:lstStyle/>
                    <a:p>
                      <a:pPr algn="l" fontAlgn="t">
                        <a:spcBef>
                          <a:spcPts val="0"/>
                        </a:spcBef>
                        <a:spcAft>
                          <a:spcPts val="0"/>
                        </a:spcAft>
                      </a:pPr>
                      <a:r>
                        <a:rPr lang="en-US" sz="1600" u="none" strike="noStrike">
                          <a:effectLst/>
                        </a:rPr>
                        <a:t>500: Efficient</a:t>
                      </a:r>
                      <a:endParaRPr lang="en-US" sz="1600" b="0" i="0" u="none" strike="noStrike">
                        <a:effectLst/>
                        <a:latin typeface="Arial" panose="020B0604020202020204" pitchFamily="34" charset="0"/>
                      </a:endParaRPr>
                    </a:p>
                  </a:txBody>
                  <a:tcPr marL="33666" marR="33666" marT="16833" marB="16833"/>
                </a:tc>
                <a:tc>
                  <a:txBody>
                    <a:bodyPr/>
                    <a:lstStyle/>
                    <a:p>
                      <a:pPr algn="l" fontAlgn="t">
                        <a:spcBef>
                          <a:spcPts val="0"/>
                        </a:spcBef>
                        <a:spcAft>
                          <a:spcPts val="0"/>
                        </a:spcAft>
                      </a:pPr>
                      <a:r>
                        <a:rPr lang="en-US" sz="1600" u="none" strike="noStrike">
                          <a:effectLst/>
                        </a:rPr>
                        <a:t>Executive support is a driver for advancing the data culture vision. The executive sponsor is involved with ongoing organizational adoption improvements, and measurable goals are in place.</a:t>
                      </a:r>
                      <a:endParaRPr lang="en-US" sz="1600" b="0" i="0" u="none" strike="noStrike">
                        <a:effectLst/>
                        <a:latin typeface="Arial" panose="020B0604020202020204" pitchFamily="34" charset="0"/>
                      </a:endParaRPr>
                    </a:p>
                  </a:txBody>
                  <a:tcPr marL="33666" marR="33666" marT="16833" marB="16833"/>
                </a:tc>
                <a:extLst>
                  <a:ext uri="{0D108BD9-81ED-4DB2-BD59-A6C34878D82A}">
                    <a16:rowId xmlns:a16="http://schemas.microsoft.com/office/drawing/2014/main" val="2641117156"/>
                  </a:ext>
                </a:extLst>
              </a:tr>
            </a:tbl>
          </a:graphicData>
        </a:graphic>
      </p:graphicFrame>
    </p:spTree>
    <p:extLst>
      <p:ext uri="{BB962C8B-B14F-4D97-AF65-F5344CB8AC3E}">
        <p14:creationId xmlns:p14="http://schemas.microsoft.com/office/powerpoint/2010/main" val="12636756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6D3993-75C8-41EF-AC24-8B2F6F707EE4}"/>
              </a:ext>
            </a:extLst>
          </p:cNvPr>
          <p:cNvSpPr>
            <a:spLocks noGrp="1"/>
          </p:cNvSpPr>
          <p:nvPr>
            <p:ph type="ctrTitle"/>
          </p:nvPr>
        </p:nvSpPr>
        <p:spPr>
          <a:xfrm>
            <a:off x="2467610" y="1140469"/>
            <a:ext cx="10408581" cy="1655108"/>
          </a:xfrm>
        </p:spPr>
        <p:txBody>
          <a:bodyPr/>
          <a:lstStyle/>
          <a:p>
            <a:r>
              <a:rPr lang="de-DE" sz="6000" err="1"/>
              <a:t>Governance</a:t>
            </a:r>
            <a:endParaRPr lang="de-DE" sz="6000"/>
          </a:p>
        </p:txBody>
      </p:sp>
      <p:sp>
        <p:nvSpPr>
          <p:cNvPr id="4" name="Textfeld 3">
            <a:extLst>
              <a:ext uri="{FF2B5EF4-FFF2-40B4-BE49-F238E27FC236}">
                <a16:creationId xmlns:a16="http://schemas.microsoft.com/office/drawing/2014/main" id="{62DAD56F-D264-487F-BE5B-0F8A3B9D43A0}"/>
              </a:ext>
            </a:extLst>
          </p:cNvPr>
          <p:cNvSpPr txBox="1"/>
          <p:nvPr/>
        </p:nvSpPr>
        <p:spPr>
          <a:xfrm>
            <a:off x="314960" y="429140"/>
            <a:ext cx="173736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0" b="0" i="0" u="none" strike="noStrike" kern="1200" cap="none" spc="0" normalizeH="0" baseline="0" noProof="0">
                <a:ln>
                  <a:noFill/>
                </a:ln>
                <a:solidFill>
                  <a:prstClr val="black"/>
                </a:solidFill>
                <a:effectLst/>
                <a:uLnTx/>
                <a:uFillTx/>
                <a:latin typeface="Segoe UI"/>
                <a:ea typeface="+mn-ea"/>
                <a:cs typeface="+mn-cs"/>
              </a:rPr>
              <a:t>3</a:t>
            </a:r>
            <a:endParaRPr kumimoji="0" lang="en-US" sz="20000" b="0" i="0" u="none" strike="noStrike" kern="1200" cap="none" spc="0" normalizeH="0" baseline="0" noProof="0" err="1">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0667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776AC0-CA62-4690-9755-9E524C2C1A86}"/>
              </a:ext>
            </a:extLst>
          </p:cNvPr>
          <p:cNvSpPr>
            <a:spLocks noGrp="1"/>
          </p:cNvSpPr>
          <p:nvPr>
            <p:ph type="ctrTitle"/>
          </p:nvPr>
        </p:nvSpPr>
        <p:spPr/>
        <p:txBody>
          <a:bodyPr/>
          <a:lstStyle/>
          <a:p>
            <a:r>
              <a:rPr lang="de-DE" err="1"/>
              <a:t>PowerBI</a:t>
            </a:r>
            <a:r>
              <a:rPr lang="de-DE"/>
              <a:t> </a:t>
            </a:r>
            <a:r>
              <a:rPr lang="de-DE" err="1"/>
              <a:t>Governance</a:t>
            </a:r>
            <a:r>
              <a:rPr lang="de-DE"/>
              <a:t>: </a:t>
            </a:r>
            <a:br>
              <a:rPr lang="de-DE"/>
            </a:br>
            <a:r>
              <a:rPr lang="de-DE" err="1"/>
              <a:t>Why</a:t>
            </a:r>
            <a:r>
              <a:rPr lang="de-DE"/>
              <a:t> Do </a:t>
            </a:r>
            <a:r>
              <a:rPr lang="de-DE" err="1"/>
              <a:t>We</a:t>
            </a:r>
            <a:r>
              <a:rPr lang="de-DE"/>
              <a:t> Need </a:t>
            </a:r>
            <a:r>
              <a:rPr lang="de-DE" err="1"/>
              <a:t>It</a:t>
            </a:r>
            <a:r>
              <a:rPr lang="de-DE"/>
              <a:t>?</a:t>
            </a:r>
          </a:p>
        </p:txBody>
      </p:sp>
    </p:spTree>
    <p:extLst>
      <p:ext uri="{BB962C8B-B14F-4D97-AF65-F5344CB8AC3E}">
        <p14:creationId xmlns:p14="http://schemas.microsoft.com/office/powerpoint/2010/main" val="55045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Freeform 112"/>
          <p:cNvSpPr/>
          <p:nvPr/>
        </p:nvSpPr>
        <p:spPr bwMode="auto">
          <a:xfrm>
            <a:off x="234313"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113"/>
          <p:cNvSpPr/>
          <p:nvPr/>
        </p:nvSpPr>
        <p:spPr bwMode="auto">
          <a:xfrm>
            <a:off x="827745"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reeform 114"/>
          <p:cNvSpPr/>
          <p:nvPr/>
        </p:nvSpPr>
        <p:spPr bwMode="auto">
          <a:xfrm>
            <a:off x="1421176"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115"/>
          <p:cNvSpPr/>
          <p:nvPr/>
        </p:nvSpPr>
        <p:spPr bwMode="auto">
          <a:xfrm>
            <a:off x="201460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Freeform 116"/>
          <p:cNvSpPr/>
          <p:nvPr/>
        </p:nvSpPr>
        <p:spPr bwMode="auto">
          <a:xfrm>
            <a:off x="2608039"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117"/>
          <p:cNvSpPr/>
          <p:nvPr/>
        </p:nvSpPr>
        <p:spPr bwMode="auto">
          <a:xfrm>
            <a:off x="3201471"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118"/>
          <p:cNvSpPr/>
          <p:nvPr/>
        </p:nvSpPr>
        <p:spPr bwMode="auto">
          <a:xfrm>
            <a:off x="3794902"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119"/>
          <p:cNvSpPr/>
          <p:nvPr/>
        </p:nvSpPr>
        <p:spPr bwMode="auto">
          <a:xfrm>
            <a:off x="4388334"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120"/>
          <p:cNvSpPr/>
          <p:nvPr/>
        </p:nvSpPr>
        <p:spPr bwMode="auto">
          <a:xfrm>
            <a:off x="4981766"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Freeform 121"/>
          <p:cNvSpPr/>
          <p:nvPr/>
        </p:nvSpPr>
        <p:spPr bwMode="auto">
          <a:xfrm>
            <a:off x="5575197"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Freeform 122"/>
          <p:cNvSpPr/>
          <p:nvPr/>
        </p:nvSpPr>
        <p:spPr bwMode="auto">
          <a:xfrm>
            <a:off x="6168629"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Freeform 123"/>
          <p:cNvSpPr/>
          <p:nvPr/>
        </p:nvSpPr>
        <p:spPr bwMode="auto">
          <a:xfrm>
            <a:off x="6762060"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Freeform 124"/>
          <p:cNvSpPr/>
          <p:nvPr/>
        </p:nvSpPr>
        <p:spPr bwMode="auto">
          <a:xfrm>
            <a:off x="7355492"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Freeform 125"/>
          <p:cNvSpPr/>
          <p:nvPr/>
        </p:nvSpPr>
        <p:spPr bwMode="auto">
          <a:xfrm>
            <a:off x="7948923"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26"/>
          <p:cNvSpPr/>
          <p:nvPr/>
        </p:nvSpPr>
        <p:spPr bwMode="auto">
          <a:xfrm>
            <a:off x="8542355"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Freeform 127"/>
          <p:cNvSpPr/>
          <p:nvPr/>
        </p:nvSpPr>
        <p:spPr bwMode="auto">
          <a:xfrm>
            <a:off x="9135787"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128"/>
          <p:cNvSpPr/>
          <p:nvPr/>
        </p:nvSpPr>
        <p:spPr bwMode="auto">
          <a:xfrm>
            <a:off x="972921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129"/>
          <p:cNvSpPr/>
          <p:nvPr/>
        </p:nvSpPr>
        <p:spPr bwMode="auto">
          <a:xfrm>
            <a:off x="10322650"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Freeform 130"/>
          <p:cNvSpPr/>
          <p:nvPr/>
        </p:nvSpPr>
        <p:spPr bwMode="auto">
          <a:xfrm>
            <a:off x="10916081"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Freeform 131"/>
          <p:cNvSpPr/>
          <p:nvPr/>
        </p:nvSpPr>
        <p:spPr bwMode="auto">
          <a:xfrm>
            <a:off x="11509508" y="2296295"/>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p:nvPr/>
        </p:nvSpPr>
        <p:spPr bwMode="auto">
          <a:xfrm>
            <a:off x="234313"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Freeform 50"/>
          <p:cNvSpPr/>
          <p:nvPr/>
        </p:nvSpPr>
        <p:spPr bwMode="auto">
          <a:xfrm>
            <a:off x="827745"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51"/>
          <p:cNvSpPr/>
          <p:nvPr/>
        </p:nvSpPr>
        <p:spPr bwMode="auto">
          <a:xfrm>
            <a:off x="1421176"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52"/>
          <p:cNvSpPr/>
          <p:nvPr/>
        </p:nvSpPr>
        <p:spPr bwMode="auto">
          <a:xfrm>
            <a:off x="201460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53"/>
          <p:cNvSpPr/>
          <p:nvPr/>
        </p:nvSpPr>
        <p:spPr bwMode="auto">
          <a:xfrm>
            <a:off x="2608039"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54"/>
          <p:cNvSpPr/>
          <p:nvPr/>
        </p:nvSpPr>
        <p:spPr bwMode="auto">
          <a:xfrm>
            <a:off x="3201471"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p:nvPr/>
        </p:nvSpPr>
        <p:spPr bwMode="auto">
          <a:xfrm>
            <a:off x="3794902"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56"/>
          <p:cNvSpPr/>
          <p:nvPr/>
        </p:nvSpPr>
        <p:spPr bwMode="auto">
          <a:xfrm>
            <a:off x="4388334"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57"/>
          <p:cNvSpPr/>
          <p:nvPr/>
        </p:nvSpPr>
        <p:spPr bwMode="auto">
          <a:xfrm>
            <a:off x="4981766"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58"/>
          <p:cNvSpPr/>
          <p:nvPr/>
        </p:nvSpPr>
        <p:spPr bwMode="auto">
          <a:xfrm>
            <a:off x="5575197"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59"/>
          <p:cNvSpPr/>
          <p:nvPr/>
        </p:nvSpPr>
        <p:spPr bwMode="auto">
          <a:xfrm>
            <a:off x="6168629"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60"/>
          <p:cNvSpPr/>
          <p:nvPr/>
        </p:nvSpPr>
        <p:spPr bwMode="auto">
          <a:xfrm>
            <a:off x="6762060"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61"/>
          <p:cNvSpPr/>
          <p:nvPr/>
        </p:nvSpPr>
        <p:spPr bwMode="auto">
          <a:xfrm>
            <a:off x="7355492"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62"/>
          <p:cNvSpPr/>
          <p:nvPr/>
        </p:nvSpPr>
        <p:spPr bwMode="auto">
          <a:xfrm>
            <a:off x="7948923"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reeform 63"/>
          <p:cNvSpPr/>
          <p:nvPr/>
        </p:nvSpPr>
        <p:spPr bwMode="auto">
          <a:xfrm>
            <a:off x="8542355"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64"/>
          <p:cNvSpPr/>
          <p:nvPr/>
        </p:nvSpPr>
        <p:spPr bwMode="auto">
          <a:xfrm>
            <a:off x="9135787"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a:off x="972921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a:off x="10322650"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a:off x="10916081"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68"/>
          <p:cNvSpPr/>
          <p:nvPr/>
        </p:nvSpPr>
        <p:spPr bwMode="auto">
          <a:xfrm>
            <a:off x="11509508" y="2835330"/>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Freeform 70"/>
          <p:cNvSpPr/>
          <p:nvPr/>
        </p:nvSpPr>
        <p:spPr bwMode="auto">
          <a:xfrm>
            <a:off x="234313"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71"/>
          <p:cNvSpPr/>
          <p:nvPr/>
        </p:nvSpPr>
        <p:spPr bwMode="auto">
          <a:xfrm>
            <a:off x="827745"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Freeform 72"/>
          <p:cNvSpPr/>
          <p:nvPr/>
        </p:nvSpPr>
        <p:spPr bwMode="auto">
          <a:xfrm>
            <a:off x="1421176"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73"/>
          <p:cNvSpPr/>
          <p:nvPr/>
        </p:nvSpPr>
        <p:spPr bwMode="auto">
          <a:xfrm>
            <a:off x="201460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74"/>
          <p:cNvSpPr/>
          <p:nvPr/>
        </p:nvSpPr>
        <p:spPr bwMode="auto">
          <a:xfrm>
            <a:off x="2608039"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75"/>
          <p:cNvSpPr/>
          <p:nvPr/>
        </p:nvSpPr>
        <p:spPr bwMode="auto">
          <a:xfrm>
            <a:off x="3201471"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76"/>
          <p:cNvSpPr/>
          <p:nvPr/>
        </p:nvSpPr>
        <p:spPr bwMode="auto">
          <a:xfrm>
            <a:off x="3794902"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Freeform 77"/>
          <p:cNvSpPr/>
          <p:nvPr/>
        </p:nvSpPr>
        <p:spPr bwMode="auto">
          <a:xfrm>
            <a:off x="4388334"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Freeform 78"/>
          <p:cNvSpPr/>
          <p:nvPr/>
        </p:nvSpPr>
        <p:spPr bwMode="auto">
          <a:xfrm>
            <a:off x="4981766"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79"/>
          <p:cNvSpPr/>
          <p:nvPr/>
        </p:nvSpPr>
        <p:spPr bwMode="auto">
          <a:xfrm>
            <a:off x="5575197"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80"/>
          <p:cNvSpPr/>
          <p:nvPr/>
        </p:nvSpPr>
        <p:spPr bwMode="auto">
          <a:xfrm>
            <a:off x="6168629"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81"/>
          <p:cNvSpPr/>
          <p:nvPr/>
        </p:nvSpPr>
        <p:spPr bwMode="auto">
          <a:xfrm>
            <a:off x="6762060"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82"/>
          <p:cNvSpPr/>
          <p:nvPr/>
        </p:nvSpPr>
        <p:spPr bwMode="auto">
          <a:xfrm>
            <a:off x="7355492"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83"/>
          <p:cNvSpPr/>
          <p:nvPr/>
        </p:nvSpPr>
        <p:spPr bwMode="auto">
          <a:xfrm>
            <a:off x="7948923"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84"/>
          <p:cNvSpPr/>
          <p:nvPr/>
        </p:nvSpPr>
        <p:spPr bwMode="auto">
          <a:xfrm>
            <a:off x="8542355"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Freeform 85"/>
          <p:cNvSpPr/>
          <p:nvPr/>
        </p:nvSpPr>
        <p:spPr bwMode="auto">
          <a:xfrm>
            <a:off x="9135787"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86"/>
          <p:cNvSpPr/>
          <p:nvPr/>
        </p:nvSpPr>
        <p:spPr bwMode="auto">
          <a:xfrm>
            <a:off x="972921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87"/>
          <p:cNvSpPr/>
          <p:nvPr/>
        </p:nvSpPr>
        <p:spPr bwMode="auto">
          <a:xfrm>
            <a:off x="10322650"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Freeform 88"/>
          <p:cNvSpPr/>
          <p:nvPr/>
        </p:nvSpPr>
        <p:spPr bwMode="auto">
          <a:xfrm>
            <a:off x="10916081"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89"/>
          <p:cNvSpPr/>
          <p:nvPr/>
        </p:nvSpPr>
        <p:spPr bwMode="auto">
          <a:xfrm>
            <a:off x="11509508" y="337436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28"/>
          <p:cNvSpPr/>
          <p:nvPr/>
        </p:nvSpPr>
        <p:spPr bwMode="auto">
          <a:xfrm>
            <a:off x="234313"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Freeform 29"/>
          <p:cNvSpPr/>
          <p:nvPr/>
        </p:nvSpPr>
        <p:spPr bwMode="auto">
          <a:xfrm>
            <a:off x="827745"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30"/>
          <p:cNvSpPr/>
          <p:nvPr/>
        </p:nvSpPr>
        <p:spPr bwMode="auto">
          <a:xfrm>
            <a:off x="1421176"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31"/>
          <p:cNvSpPr/>
          <p:nvPr/>
        </p:nvSpPr>
        <p:spPr bwMode="auto">
          <a:xfrm>
            <a:off x="201460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Freeform 32"/>
          <p:cNvSpPr/>
          <p:nvPr/>
        </p:nvSpPr>
        <p:spPr bwMode="auto">
          <a:xfrm>
            <a:off x="2608039"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33"/>
          <p:cNvSpPr/>
          <p:nvPr/>
        </p:nvSpPr>
        <p:spPr bwMode="auto">
          <a:xfrm>
            <a:off x="3201471"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34"/>
          <p:cNvSpPr/>
          <p:nvPr/>
        </p:nvSpPr>
        <p:spPr bwMode="auto">
          <a:xfrm>
            <a:off x="3794902"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Freeform 35"/>
          <p:cNvSpPr/>
          <p:nvPr/>
        </p:nvSpPr>
        <p:spPr bwMode="auto">
          <a:xfrm>
            <a:off x="4388334"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Freeform 36"/>
          <p:cNvSpPr/>
          <p:nvPr/>
        </p:nvSpPr>
        <p:spPr bwMode="auto">
          <a:xfrm>
            <a:off x="4981766"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37"/>
          <p:cNvSpPr/>
          <p:nvPr/>
        </p:nvSpPr>
        <p:spPr bwMode="auto">
          <a:xfrm>
            <a:off x="5575197"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38"/>
          <p:cNvSpPr/>
          <p:nvPr/>
        </p:nvSpPr>
        <p:spPr bwMode="auto">
          <a:xfrm>
            <a:off x="6168629"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Freeform 39"/>
          <p:cNvSpPr/>
          <p:nvPr/>
        </p:nvSpPr>
        <p:spPr bwMode="auto">
          <a:xfrm>
            <a:off x="6762060"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40"/>
          <p:cNvSpPr/>
          <p:nvPr/>
        </p:nvSpPr>
        <p:spPr bwMode="auto">
          <a:xfrm>
            <a:off x="7355492"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Freeform 41"/>
          <p:cNvSpPr/>
          <p:nvPr/>
        </p:nvSpPr>
        <p:spPr bwMode="auto">
          <a:xfrm>
            <a:off x="7948923"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42"/>
          <p:cNvSpPr/>
          <p:nvPr/>
        </p:nvSpPr>
        <p:spPr bwMode="auto">
          <a:xfrm>
            <a:off x="8542355"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43"/>
          <p:cNvSpPr/>
          <p:nvPr/>
        </p:nvSpPr>
        <p:spPr bwMode="auto">
          <a:xfrm>
            <a:off x="9135787"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44"/>
          <p:cNvSpPr/>
          <p:nvPr/>
        </p:nvSpPr>
        <p:spPr bwMode="auto">
          <a:xfrm>
            <a:off x="972921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45"/>
          <p:cNvSpPr/>
          <p:nvPr/>
        </p:nvSpPr>
        <p:spPr bwMode="auto">
          <a:xfrm>
            <a:off x="10322650"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Freeform 46"/>
          <p:cNvSpPr/>
          <p:nvPr/>
        </p:nvSpPr>
        <p:spPr bwMode="auto">
          <a:xfrm>
            <a:off x="10916081"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47"/>
          <p:cNvSpPr/>
          <p:nvPr/>
        </p:nvSpPr>
        <p:spPr bwMode="auto">
          <a:xfrm>
            <a:off x="11509508" y="3905441"/>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3"/>
          <p:cNvSpPr/>
          <p:nvPr/>
        </p:nvSpPr>
        <p:spPr bwMode="auto">
          <a:xfrm>
            <a:off x="234313"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reeform 4"/>
          <p:cNvSpPr/>
          <p:nvPr/>
        </p:nvSpPr>
        <p:spPr bwMode="auto">
          <a:xfrm>
            <a:off x="827745"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5"/>
          <p:cNvSpPr/>
          <p:nvPr/>
        </p:nvSpPr>
        <p:spPr bwMode="auto">
          <a:xfrm>
            <a:off x="1421176"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6"/>
          <p:cNvSpPr/>
          <p:nvPr/>
        </p:nvSpPr>
        <p:spPr bwMode="auto">
          <a:xfrm>
            <a:off x="201460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Freeform 7"/>
          <p:cNvSpPr/>
          <p:nvPr/>
        </p:nvSpPr>
        <p:spPr bwMode="auto">
          <a:xfrm>
            <a:off x="2608039"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reeform 8"/>
          <p:cNvSpPr/>
          <p:nvPr/>
        </p:nvSpPr>
        <p:spPr bwMode="auto">
          <a:xfrm>
            <a:off x="3201471"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9"/>
          <p:cNvSpPr/>
          <p:nvPr/>
        </p:nvSpPr>
        <p:spPr bwMode="auto">
          <a:xfrm>
            <a:off x="3794902"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10"/>
          <p:cNvSpPr/>
          <p:nvPr/>
        </p:nvSpPr>
        <p:spPr bwMode="auto">
          <a:xfrm>
            <a:off x="4388334"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11"/>
          <p:cNvSpPr/>
          <p:nvPr/>
        </p:nvSpPr>
        <p:spPr bwMode="auto">
          <a:xfrm>
            <a:off x="4981766"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12"/>
          <p:cNvSpPr/>
          <p:nvPr/>
        </p:nvSpPr>
        <p:spPr bwMode="auto">
          <a:xfrm>
            <a:off x="5575197"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Freeform 13"/>
          <p:cNvSpPr/>
          <p:nvPr/>
        </p:nvSpPr>
        <p:spPr bwMode="auto">
          <a:xfrm>
            <a:off x="6168629"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14"/>
          <p:cNvSpPr/>
          <p:nvPr/>
        </p:nvSpPr>
        <p:spPr bwMode="auto">
          <a:xfrm>
            <a:off x="6762060"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Freeform 15"/>
          <p:cNvSpPr/>
          <p:nvPr/>
        </p:nvSpPr>
        <p:spPr bwMode="auto">
          <a:xfrm>
            <a:off x="7355492"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6"/>
          <p:cNvSpPr/>
          <p:nvPr/>
        </p:nvSpPr>
        <p:spPr bwMode="auto">
          <a:xfrm>
            <a:off x="7948923"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17"/>
          <p:cNvSpPr/>
          <p:nvPr/>
        </p:nvSpPr>
        <p:spPr bwMode="auto">
          <a:xfrm>
            <a:off x="8542355"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18"/>
          <p:cNvSpPr/>
          <p:nvPr/>
        </p:nvSpPr>
        <p:spPr bwMode="auto">
          <a:xfrm>
            <a:off x="9135787"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9"/>
          <p:cNvSpPr/>
          <p:nvPr/>
        </p:nvSpPr>
        <p:spPr bwMode="auto">
          <a:xfrm>
            <a:off x="972921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20"/>
          <p:cNvSpPr/>
          <p:nvPr/>
        </p:nvSpPr>
        <p:spPr bwMode="auto">
          <a:xfrm>
            <a:off x="10322650"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21"/>
          <p:cNvSpPr/>
          <p:nvPr/>
        </p:nvSpPr>
        <p:spPr bwMode="auto">
          <a:xfrm>
            <a:off x="10916081"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3C3C3C"/>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22"/>
          <p:cNvSpPr/>
          <p:nvPr/>
        </p:nvSpPr>
        <p:spPr bwMode="auto">
          <a:xfrm>
            <a:off x="11509508" y="4436522"/>
            <a:ext cx="514058" cy="1310147"/>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rgbClr val="EDC30D"/>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Content Placeholder 2"/>
          <p:cNvSpPr txBox="1">
            <a:spLocks/>
          </p:cNvSpPr>
          <p:nvPr/>
        </p:nvSpPr>
        <p:spPr>
          <a:xfrm>
            <a:off x="1194381" y="6112564"/>
            <a:ext cx="10095339" cy="459686"/>
          </a:xfrm>
          <a:prstGeom prst="rect">
            <a:avLst/>
          </a:prstGeom>
        </p:spPr>
        <p:txBody>
          <a:bodyPr vert="horz" lIns="91440" tIns="45720" rIns="91440" bIns="45720" rtlCol="0">
            <a:normAutofit/>
          </a:bodyPr>
          <a:lstStyle>
            <a:lvl1pPr indent="0">
              <a:lnSpc>
                <a:spcPct val="90000"/>
              </a:lnSpc>
              <a:spcBef>
                <a:spcPts val="1000"/>
              </a:spcBef>
              <a:buFont typeface="Arial" panose="020B0604020202020204" pitchFamily="34" charset="0"/>
              <a:buNone/>
              <a:defRPr sz="4400">
                <a:latin typeface="Segoe UI Light" panose="020B0502040204020203" pitchFamily="34" charset="0"/>
                <a:cs typeface="Segoe UI Light"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t, fewer than 25% of workers have access to analytical insights</a:t>
            </a:r>
          </a:p>
        </p:txBody>
      </p:sp>
      <p:sp>
        <p:nvSpPr>
          <p:cNvPr id="110" name="Content Placeholder 2"/>
          <p:cNvSpPr txBox="1">
            <a:spLocks/>
          </p:cNvSpPr>
          <p:nvPr/>
        </p:nvSpPr>
        <p:spPr>
          <a:xfrm>
            <a:off x="354665" y="429053"/>
            <a:ext cx="9768260" cy="13806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rPr>
              <a:t>Nearly everyone across the organization engages with software</a:t>
            </a:r>
          </a:p>
        </p:txBody>
      </p:sp>
    </p:spTree>
    <p:extLst>
      <p:ext uri="{BB962C8B-B14F-4D97-AF65-F5344CB8AC3E}">
        <p14:creationId xmlns:p14="http://schemas.microsoft.com/office/powerpoint/2010/main" val="37065522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3956116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p:bldP spid="31" grpId="0"/>
      <p:bldP spid="32" grpId="0" animBg="1"/>
      <p:bldP spid="33" grpId="0"/>
      <p:bldP spid="34" grpId="0"/>
      <p:bldP spid="35" grpId="0"/>
      <p:bldP spid="39" grpId="0"/>
      <p:bldP spid="40" grpId="0" animBg="1"/>
      <p:bldP spid="41" grpId="0"/>
      <p:bldP spid="44" grpId="0"/>
      <p:bldP spid="46" grpId="0"/>
      <p:bldP spid="47" grpId="0"/>
      <p:bldP spid="2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9488" y="25246"/>
            <a:ext cx="11887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Segoe UI Light"/>
                <a:ea typeface="+mn-ea"/>
                <a:cs typeface="+mn-cs"/>
              </a:rPr>
              <a:t>Today, BI extends to everyone</a:t>
            </a:r>
            <a:endParaRPr kumimoji="0" lang="en-US" sz="3600" b="0" i="0" u="none" strike="noStrike" kern="1200" cap="none" spc="0" normalizeH="0" baseline="0" noProof="0">
              <a:ln>
                <a:noFill/>
              </a:ln>
              <a:solidFill>
                <a:srgbClr val="000000"/>
              </a:solidFill>
              <a:effectLst/>
              <a:uLnTx/>
              <a:uFillTx/>
              <a:latin typeface="Segoe UI Light"/>
              <a:ea typeface="+mn-ea"/>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505050"/>
                  </a:solidFill>
                  <a:effectLst/>
                  <a:uLnTx/>
                  <a:uFillTx/>
                  <a:latin typeface="Segoe UI"/>
                  <a:ea typeface="+mn-ea"/>
                  <a:cs typeface="+mn-cs"/>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100" normalizeH="0" baseline="0" noProof="0">
                  <a:ln w="3175">
                    <a:noFill/>
                  </a:ln>
                  <a:solidFill>
                    <a:srgbClr val="EDC30D"/>
                  </a:solidFill>
                  <a:effectLst/>
                  <a:uLnTx/>
                  <a:uFillTx/>
                  <a:latin typeface="Segoe UI"/>
                  <a:ea typeface="+mn-ea"/>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2</a:t>
              </a:r>
              <a:r>
                <a:rPr kumimoji="0" lang="en-US" sz="2400" b="0" i="0" u="none" strike="noStrike" kern="1200" cap="none" spc="-102" normalizeH="0" baseline="3000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nd</a:t>
              </a: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1st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3rd wave</a:t>
              </a:r>
              <a:br>
                <a:rPr kumimoji="0" lang="en-US" sz="2400" b="0" i="0" u="none" strike="noStrike" kern="1200" cap="none" spc="-102"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7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6328" b="9271"/>
          <a:stretch/>
        </p:blipFill>
        <p:spPr>
          <a:xfrm flipH="1">
            <a:off x="0" y="0"/>
            <a:ext cx="12192000" cy="6858000"/>
          </a:xfrm>
          <a:prstGeom prst="rect">
            <a:avLst/>
          </a:prstGeom>
        </p:spPr>
      </p:pic>
      <p:sp>
        <p:nvSpPr>
          <p:cNvPr id="6" name="Rectangle 5"/>
          <p:cNvSpPr/>
          <p:nvPr/>
        </p:nvSpPr>
        <p:spPr bwMode="auto">
          <a:xfrm>
            <a:off x="0" y="0"/>
            <a:ext cx="12192000" cy="6857028"/>
          </a:xfrm>
          <a:prstGeom prst="rect">
            <a:avLst/>
          </a:prstGeom>
          <a:solidFill>
            <a:schemeClr val="tx1">
              <a:alpha val="8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150" normalizeH="0" baseline="0" noProof="0">
              <a:ln>
                <a:noFill/>
              </a:ln>
              <a:solidFill>
                <a:srgbClr val="4394F8"/>
              </a:solidFill>
              <a:effectLst/>
              <a:uLnTx/>
              <a:uFillTx/>
              <a:latin typeface="Segoe UI"/>
              <a:ea typeface="Segoe UI" pitchFamily="34" charset="0"/>
              <a:cs typeface="Segoe UI" pitchFamily="34" charset="0"/>
            </a:endParaRPr>
          </a:p>
        </p:txBody>
      </p:sp>
      <p:sp>
        <p:nvSpPr>
          <p:cNvPr id="9" name="Rectangle 8"/>
          <p:cNvSpPr/>
          <p:nvPr/>
        </p:nvSpPr>
        <p:spPr bwMode="auto">
          <a:xfrm rot="5400000">
            <a:off x="1766534" y="-1766535"/>
            <a:ext cx="6857028" cy="10390097"/>
          </a:xfrm>
          <a:prstGeom prst="rect">
            <a:avLst/>
          </a:prstGeom>
          <a:gradFill>
            <a:gsLst>
              <a:gs pos="50000">
                <a:schemeClr val="tx1">
                  <a:alpha val="60000"/>
                </a:schemeClr>
              </a:gs>
              <a:gs pos="0">
                <a:schemeClr val="tx1">
                  <a:alpha val="0"/>
                </a:schemeClr>
              </a:gs>
              <a:gs pos="100000">
                <a:schemeClr val="tx1">
                  <a:alpha val="9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431583" y="884616"/>
            <a:ext cx="5444782" cy="1460500"/>
          </a:xfrm>
        </p:spPr>
        <p:txBody>
          <a:bodyPr anchor="t">
            <a:noAutofit/>
          </a:bodyPr>
          <a:lstStyle/>
          <a:p>
            <a:r>
              <a:rPr lang="en-US">
                <a:solidFill>
                  <a:srgbClr val="EDC30D"/>
                </a:solidFill>
                <a:latin typeface="Segoe UI Light" panose="020B0502040204020203" pitchFamily="34" charset="0"/>
                <a:cs typeface="Segoe UI Light" panose="020B0502040204020203" pitchFamily="34" charset="0"/>
              </a:rPr>
              <a:t>What if you could empower everyone with analytics anywhere decisions are made?</a:t>
            </a:r>
          </a:p>
        </p:txBody>
      </p:sp>
    </p:spTree>
    <p:extLst>
      <p:ext uri="{BB962C8B-B14F-4D97-AF65-F5344CB8AC3E}">
        <p14:creationId xmlns:p14="http://schemas.microsoft.com/office/powerpoint/2010/main" val="278405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296949" y="1112779"/>
            <a:ext cx="7426960" cy="495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3975" marR="0" lvl="1" indent="0" algn="l" defTabSz="914367" rtl="0" eaLnBrk="1" fontAlgn="base" latinLnBrk="0" hangingPunct="1">
              <a:lnSpc>
                <a:spcPct val="90000"/>
              </a:lnSpc>
              <a:spcBef>
                <a:spcPct val="20000"/>
              </a:spcBef>
              <a:spcAft>
                <a:spcPct val="0"/>
              </a:spcAft>
              <a:buClrTx/>
              <a:buSzPct val="90000"/>
              <a:buFontTx/>
              <a:buNone/>
              <a:tabLst/>
              <a:defRPr/>
            </a:pPr>
            <a:r>
              <a:rPr kumimoji="0" lang="en-US" sz="2400" b="0" i="0" u="none" strike="noStrike" kern="1200" cap="none" spc="0" normalizeH="0" baseline="0" noProof="0">
                <a:ln w="3175">
                  <a:noFill/>
                </a:ln>
                <a:solidFill>
                  <a:srgbClr val="000000"/>
                </a:solidFill>
                <a:effectLst/>
                <a:uLnTx/>
                <a:uFillTx/>
                <a:latin typeface="Segoe UI"/>
                <a:ea typeface="+mn-ea"/>
                <a:cs typeface="+mn-cs"/>
              </a:rPr>
              <a:t>Common BI challenges include…</a:t>
            </a:r>
          </a:p>
        </p:txBody>
      </p:sp>
      <p:grpSp>
        <p:nvGrpSpPr>
          <p:cNvPr id="3" name="Group 2"/>
          <p:cNvGrpSpPr/>
          <p:nvPr/>
        </p:nvGrpSpPr>
        <p:grpSpPr>
          <a:xfrm>
            <a:off x="461438" y="2943609"/>
            <a:ext cx="11131423" cy="919829"/>
            <a:chOff x="419875" y="3553208"/>
            <a:chExt cx="11131423" cy="919829"/>
          </a:xfrm>
        </p:grpSpPr>
        <p:grpSp>
          <p:nvGrpSpPr>
            <p:cNvPr id="54" name="Group 11"/>
            <p:cNvGrpSpPr/>
            <p:nvPr/>
          </p:nvGrpSpPr>
          <p:grpSpPr>
            <a:xfrm>
              <a:off x="419875" y="3553208"/>
              <a:ext cx="11131423" cy="919829"/>
              <a:chOff x="419875" y="3540205"/>
              <a:chExt cx="11131423" cy="919829"/>
            </a:xfrm>
          </p:grpSpPr>
          <p:sp>
            <p:nvSpPr>
              <p:cNvPr id="55"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Multiple data sources</a:t>
                </a:r>
              </a:p>
            </p:txBody>
          </p:sp>
          <p:sp>
            <p:nvSpPr>
              <p:cNvPr id="56"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ata residing in cloud solutions and on-premise locations is difficult to access and refresh securely</a:t>
                </a:r>
              </a:p>
            </p:txBody>
          </p:sp>
          <p:sp>
            <p:nvSpPr>
              <p:cNvPr id="57"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6" name="Freeform 1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000000"/>
                </a:solidFill>
                <a:effectLst/>
                <a:uLnTx/>
                <a:uFillTx/>
                <a:latin typeface="Segoe UI" charset="0"/>
                <a:ea typeface="MS PGothic" charset="0"/>
              </a:endParaRPr>
            </a:p>
          </p:txBody>
        </p:sp>
        <p:sp>
          <p:nvSpPr>
            <p:cNvPr id="17" name="Freeform 1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w="19050">
                  <a:solidFill>
                    <a:srgbClr val="000000"/>
                  </a:solidFill>
                </a:ln>
                <a:solidFill>
                  <a:srgbClr val="000000"/>
                </a:solidFill>
                <a:effectLst/>
                <a:uLnTx/>
                <a:uFillTx/>
                <a:latin typeface="Segoe UI"/>
                <a:ea typeface="+mn-ea"/>
                <a:cs typeface="+mn-cs"/>
              </a:endParaRPr>
            </a:p>
          </p:txBody>
        </p:sp>
      </p:grpSp>
      <p:grpSp>
        <p:nvGrpSpPr>
          <p:cNvPr id="2" name="Group 1"/>
          <p:cNvGrpSpPr/>
          <p:nvPr/>
        </p:nvGrpSpPr>
        <p:grpSpPr>
          <a:xfrm>
            <a:off x="461438" y="1893137"/>
            <a:ext cx="11131422" cy="914400"/>
            <a:chOff x="419875" y="2502736"/>
            <a:chExt cx="11131422" cy="914400"/>
          </a:xfrm>
        </p:grpSpPr>
        <p:grpSp>
          <p:nvGrpSpPr>
            <p:cNvPr id="50" name="Group 49"/>
            <p:cNvGrpSpPr/>
            <p:nvPr/>
          </p:nvGrpSpPr>
          <p:grpSpPr>
            <a:xfrm>
              <a:off x="419875" y="2502736"/>
              <a:ext cx="11131422" cy="914400"/>
              <a:chOff x="419875" y="2369977"/>
              <a:chExt cx="11131422" cy="914400"/>
            </a:xfrm>
          </p:grpSpPr>
          <p:sp>
            <p:nvSpPr>
              <p:cNvPr id="51" name="Rectangle 50"/>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End-to-end view</a:t>
                </a:r>
              </a:p>
            </p:txBody>
          </p:sp>
          <p:sp>
            <p:nvSpPr>
              <p:cNvPr id="52" name="Rectangle 51"/>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ata often resides in disparate locations, making it difficult to see a complete picture of your business </a:t>
                </a:r>
              </a:p>
            </p:txBody>
          </p:sp>
          <p:sp>
            <p:nvSpPr>
              <p:cNvPr id="53" name="Rectangle 52"/>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8" name="Freeform 17"/>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p:cNvGrpSpPr/>
          <p:nvPr/>
        </p:nvGrpSpPr>
        <p:grpSpPr>
          <a:xfrm>
            <a:off x="461438" y="4044654"/>
            <a:ext cx="11131423" cy="914400"/>
            <a:chOff x="419875" y="4654253"/>
            <a:chExt cx="11131423" cy="914400"/>
          </a:xfrm>
        </p:grpSpPr>
        <p:grpSp>
          <p:nvGrpSpPr>
            <p:cNvPr id="58" name="Group 24"/>
            <p:cNvGrpSpPr/>
            <p:nvPr/>
          </p:nvGrpSpPr>
          <p:grpSpPr>
            <a:xfrm>
              <a:off x="419875" y="4654253"/>
              <a:ext cx="11131423" cy="914400"/>
              <a:chOff x="419875" y="4721288"/>
              <a:chExt cx="11131423" cy="1690145"/>
            </a:xfrm>
          </p:grpSpPr>
          <p:sp>
            <p:nvSpPr>
              <p:cNvPr id="59"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ight data for the right users at the right time</a:t>
                </a:r>
              </a:p>
            </p:txBody>
          </p:sp>
          <p:sp>
            <p:nvSpPr>
              <p:cNvPr id="60"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srgbClr val="000000"/>
                    </a:solidFill>
                    <a:effectLst/>
                    <a:uLnTx/>
                    <a:uFillTx/>
                    <a:latin typeface="Segoe UI Light"/>
                    <a:ea typeface="+mn-ea"/>
                    <a:cs typeface="+mn-cs"/>
                  </a:rPr>
                  <a:t>Different roles have different needs and business users need the latest operational data</a:t>
                </a:r>
              </a:p>
            </p:txBody>
          </p:sp>
          <p:sp>
            <p:nvSpPr>
              <p:cNvPr id="61"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22"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 name="Titel 6">
            <a:extLst>
              <a:ext uri="{FF2B5EF4-FFF2-40B4-BE49-F238E27FC236}">
                <a16:creationId xmlns:a16="http://schemas.microsoft.com/office/drawing/2014/main" id="{05C97710-0652-4DBA-B83F-BA3531F5863C}"/>
              </a:ext>
            </a:extLst>
          </p:cNvPr>
          <p:cNvSpPr>
            <a:spLocks noGrp="1"/>
          </p:cNvSpPr>
          <p:nvPr>
            <p:ph type="title"/>
          </p:nvPr>
        </p:nvSpPr>
        <p:spPr/>
        <p:txBody>
          <a:bodyPr/>
          <a:lstStyle/>
          <a:p>
            <a:r>
              <a:rPr lang="de-DE" err="1"/>
              <a:t>Turning</a:t>
            </a:r>
            <a:r>
              <a:rPr lang="de-DE"/>
              <a:t> Data </a:t>
            </a:r>
            <a:r>
              <a:rPr lang="de-DE" err="1"/>
              <a:t>into</a:t>
            </a:r>
            <a:r>
              <a:rPr lang="de-DE"/>
              <a:t> Business </a:t>
            </a:r>
            <a:r>
              <a:rPr lang="de-DE" err="1"/>
              <a:t>Insights</a:t>
            </a:r>
            <a:endParaRPr lang="de-DE"/>
          </a:p>
        </p:txBody>
      </p:sp>
    </p:spTree>
    <p:custDataLst>
      <p:tags r:id="rId1"/>
    </p:custDataLst>
    <p:extLst>
      <p:ext uri="{BB962C8B-B14F-4D97-AF65-F5344CB8AC3E}">
        <p14:creationId xmlns:p14="http://schemas.microsoft.com/office/powerpoint/2010/main" val="146805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92DFC-43CF-4C2C-9819-30C93DB7A4CD}"/>
              </a:ext>
            </a:extLst>
          </p:cNvPr>
          <p:cNvSpPr>
            <a:spLocks noGrp="1"/>
          </p:cNvSpPr>
          <p:nvPr>
            <p:ph type="title"/>
          </p:nvPr>
        </p:nvSpPr>
        <p:spPr/>
        <p:txBody>
          <a:bodyPr/>
          <a:lstStyle/>
          <a:p>
            <a:pPr lvl="0"/>
            <a:r>
              <a:rPr lang="en-US">
                <a:solidFill>
                  <a:srgbClr val="EDC30D"/>
                </a:solidFill>
              </a:rPr>
              <a:t>Uncontrolled proliferation of BI apps</a:t>
            </a:r>
            <a:endParaRPr lang="en-GB">
              <a:solidFill>
                <a:srgbClr val="EDC30D"/>
              </a:solidFill>
            </a:endParaRPr>
          </a:p>
        </p:txBody>
      </p:sp>
      <p:pic>
        <p:nvPicPr>
          <p:cNvPr id="5" name="Graphic 4" descr="Bar chart">
            <a:extLst>
              <a:ext uri="{FF2B5EF4-FFF2-40B4-BE49-F238E27FC236}">
                <a16:creationId xmlns:a16="http://schemas.microsoft.com/office/drawing/2014/main" id="{ECE443FB-1CCD-467F-8D9C-D7505B32F6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31776" y="3465120"/>
            <a:ext cx="914400" cy="914400"/>
          </a:xfrm>
          <a:prstGeom prst="rect">
            <a:avLst/>
          </a:prstGeom>
        </p:spPr>
      </p:pic>
      <p:pic>
        <p:nvPicPr>
          <p:cNvPr id="7" name="Graphic 6" descr="Bar graph with upward trend">
            <a:extLst>
              <a:ext uri="{FF2B5EF4-FFF2-40B4-BE49-F238E27FC236}">
                <a16:creationId xmlns:a16="http://schemas.microsoft.com/office/drawing/2014/main" id="{AE39C24A-E65F-4E5E-97C1-4B7EA3DF5D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04999" y="1910181"/>
            <a:ext cx="914400" cy="914400"/>
          </a:xfrm>
          <a:prstGeom prst="rect">
            <a:avLst/>
          </a:prstGeom>
        </p:spPr>
      </p:pic>
      <p:pic>
        <p:nvPicPr>
          <p:cNvPr id="9" name="Graphic 8" descr="Pie chart">
            <a:extLst>
              <a:ext uri="{FF2B5EF4-FFF2-40B4-BE49-F238E27FC236}">
                <a16:creationId xmlns:a16="http://schemas.microsoft.com/office/drawing/2014/main" id="{E32ECBDB-2EE9-4FA9-A909-E05A02CE58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45490" y="3378480"/>
            <a:ext cx="914400" cy="914400"/>
          </a:xfrm>
          <a:prstGeom prst="rect">
            <a:avLst/>
          </a:prstGeom>
        </p:spPr>
      </p:pic>
      <p:pic>
        <p:nvPicPr>
          <p:cNvPr id="11" name="Graphic 10" descr="Upward trend">
            <a:extLst>
              <a:ext uri="{FF2B5EF4-FFF2-40B4-BE49-F238E27FC236}">
                <a16:creationId xmlns:a16="http://schemas.microsoft.com/office/drawing/2014/main" id="{03B75EA4-A18E-4B81-A4AF-1DE1B9550F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03828" y="4587317"/>
            <a:ext cx="914400" cy="914400"/>
          </a:xfrm>
          <a:prstGeom prst="rect">
            <a:avLst/>
          </a:prstGeom>
        </p:spPr>
      </p:pic>
      <p:pic>
        <p:nvPicPr>
          <p:cNvPr id="13" name="Graphic 12" descr="Statistics">
            <a:extLst>
              <a:ext uri="{FF2B5EF4-FFF2-40B4-BE49-F238E27FC236}">
                <a16:creationId xmlns:a16="http://schemas.microsoft.com/office/drawing/2014/main" id="{F725D752-CA14-4387-968C-69398755DB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0056" y="4964280"/>
            <a:ext cx="914400" cy="914400"/>
          </a:xfrm>
          <a:prstGeom prst="rect">
            <a:avLst/>
          </a:prstGeom>
        </p:spPr>
      </p:pic>
      <p:pic>
        <p:nvPicPr>
          <p:cNvPr id="15" name="Graphic 14" descr="Bar graph with downward trend">
            <a:extLst>
              <a:ext uri="{FF2B5EF4-FFF2-40B4-BE49-F238E27FC236}">
                <a16:creationId xmlns:a16="http://schemas.microsoft.com/office/drawing/2014/main" id="{61DA3248-AB4E-442E-8162-C26447802C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19800" y="2196561"/>
            <a:ext cx="914400" cy="914400"/>
          </a:xfrm>
          <a:prstGeom prst="rect">
            <a:avLst/>
          </a:prstGeom>
        </p:spPr>
      </p:pic>
      <p:pic>
        <p:nvPicPr>
          <p:cNvPr id="17" name="Graphic 16" descr="Downward trend RTL">
            <a:extLst>
              <a:ext uri="{FF2B5EF4-FFF2-40B4-BE49-F238E27FC236}">
                <a16:creationId xmlns:a16="http://schemas.microsoft.com/office/drawing/2014/main" id="{BEF84DF6-E680-40F4-8ECB-EFF5C0D4DB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16856" y="4052280"/>
            <a:ext cx="914400" cy="914400"/>
          </a:xfrm>
          <a:prstGeom prst="rect">
            <a:avLst/>
          </a:prstGeom>
        </p:spPr>
      </p:pic>
      <p:pic>
        <p:nvPicPr>
          <p:cNvPr id="19" name="Graphic 18" descr="Table">
            <a:extLst>
              <a:ext uri="{FF2B5EF4-FFF2-40B4-BE49-F238E27FC236}">
                <a16:creationId xmlns:a16="http://schemas.microsoft.com/office/drawing/2014/main" id="{42CA9ADF-4163-4D1B-A983-315DA100D32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795757" y="2576333"/>
            <a:ext cx="914400" cy="914400"/>
          </a:xfrm>
          <a:prstGeom prst="rect">
            <a:avLst/>
          </a:prstGeom>
        </p:spPr>
      </p:pic>
      <p:pic>
        <p:nvPicPr>
          <p:cNvPr id="20" name="Graphic 19" descr="Table">
            <a:extLst>
              <a:ext uri="{FF2B5EF4-FFF2-40B4-BE49-F238E27FC236}">
                <a16:creationId xmlns:a16="http://schemas.microsoft.com/office/drawing/2014/main" id="{2C7A5B31-8D92-4FD6-BA77-91769B1E67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21786" y="837967"/>
            <a:ext cx="914400" cy="914400"/>
          </a:xfrm>
          <a:prstGeom prst="rect">
            <a:avLst/>
          </a:prstGeom>
        </p:spPr>
      </p:pic>
      <p:pic>
        <p:nvPicPr>
          <p:cNvPr id="21" name="Graphic 20" descr="Table">
            <a:extLst>
              <a:ext uri="{FF2B5EF4-FFF2-40B4-BE49-F238E27FC236}">
                <a16:creationId xmlns:a16="http://schemas.microsoft.com/office/drawing/2014/main" id="{6F0D6BA2-2787-44AF-9BA4-7AE90C9F6C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58518" y="3478927"/>
            <a:ext cx="914400" cy="914400"/>
          </a:xfrm>
          <a:prstGeom prst="rect">
            <a:avLst/>
          </a:prstGeom>
        </p:spPr>
      </p:pic>
      <p:pic>
        <p:nvPicPr>
          <p:cNvPr id="22" name="Graphic 21" descr="Table">
            <a:extLst>
              <a:ext uri="{FF2B5EF4-FFF2-40B4-BE49-F238E27FC236}">
                <a16:creationId xmlns:a16="http://schemas.microsoft.com/office/drawing/2014/main" id="{B3D66DBC-E691-4CE1-A009-F2149C783C9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860043" y="1017145"/>
            <a:ext cx="914400" cy="914400"/>
          </a:xfrm>
          <a:prstGeom prst="rect">
            <a:avLst/>
          </a:prstGeom>
        </p:spPr>
      </p:pic>
      <p:pic>
        <p:nvPicPr>
          <p:cNvPr id="25" name="Graphic 24" descr="Bar graph with downward trend">
            <a:extLst>
              <a:ext uri="{FF2B5EF4-FFF2-40B4-BE49-F238E27FC236}">
                <a16:creationId xmlns:a16="http://schemas.microsoft.com/office/drawing/2014/main" id="{C5D02841-BC2C-40BE-B9BF-C91047A7927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26880" y="2196561"/>
            <a:ext cx="914400" cy="914400"/>
          </a:xfrm>
          <a:prstGeom prst="rect">
            <a:avLst/>
          </a:prstGeom>
        </p:spPr>
      </p:pic>
      <p:pic>
        <p:nvPicPr>
          <p:cNvPr id="26" name="Graphic 25" descr="Bar graph with downward trend">
            <a:extLst>
              <a:ext uri="{FF2B5EF4-FFF2-40B4-BE49-F238E27FC236}">
                <a16:creationId xmlns:a16="http://schemas.microsoft.com/office/drawing/2014/main" id="{5382D2A3-351A-4B3D-BE77-99BA7E4A973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31625" y="3506040"/>
            <a:ext cx="914400" cy="914400"/>
          </a:xfrm>
          <a:prstGeom prst="rect">
            <a:avLst/>
          </a:prstGeom>
        </p:spPr>
      </p:pic>
      <p:pic>
        <p:nvPicPr>
          <p:cNvPr id="27" name="Graphic 26" descr="Bar graph with downward trend">
            <a:extLst>
              <a:ext uri="{FF2B5EF4-FFF2-40B4-BE49-F238E27FC236}">
                <a16:creationId xmlns:a16="http://schemas.microsoft.com/office/drawing/2014/main" id="{7684D0D6-3FCE-4C83-B387-EF48DB157B5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16170" y="4212949"/>
            <a:ext cx="914400" cy="914400"/>
          </a:xfrm>
          <a:prstGeom prst="rect">
            <a:avLst/>
          </a:prstGeom>
        </p:spPr>
      </p:pic>
      <p:pic>
        <p:nvPicPr>
          <p:cNvPr id="28" name="Graphic 27" descr="Bar graph with downward trend">
            <a:extLst>
              <a:ext uri="{FF2B5EF4-FFF2-40B4-BE49-F238E27FC236}">
                <a16:creationId xmlns:a16="http://schemas.microsoft.com/office/drawing/2014/main" id="{93F3178C-77E9-428D-8EF4-043F03672D1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19800" y="582282"/>
            <a:ext cx="914400" cy="914400"/>
          </a:xfrm>
          <a:prstGeom prst="rect">
            <a:avLst/>
          </a:prstGeom>
        </p:spPr>
      </p:pic>
      <p:pic>
        <p:nvPicPr>
          <p:cNvPr id="29" name="Graphic 28" descr="Bar graph with upward trend">
            <a:extLst>
              <a:ext uri="{FF2B5EF4-FFF2-40B4-BE49-F238E27FC236}">
                <a16:creationId xmlns:a16="http://schemas.microsoft.com/office/drawing/2014/main" id="{2B344047-18B7-4082-9188-74BB30C3FA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12480" y="559945"/>
            <a:ext cx="914400" cy="914400"/>
          </a:xfrm>
          <a:prstGeom prst="rect">
            <a:avLst/>
          </a:prstGeom>
        </p:spPr>
      </p:pic>
      <p:pic>
        <p:nvPicPr>
          <p:cNvPr id="30" name="Graphic 29" descr="Bar graph with upward trend">
            <a:extLst>
              <a:ext uri="{FF2B5EF4-FFF2-40B4-BE49-F238E27FC236}">
                <a16:creationId xmlns:a16="http://schemas.microsoft.com/office/drawing/2014/main" id="{95F10FA2-68F3-47F8-8357-646B2097D6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05400" y="761181"/>
            <a:ext cx="914400" cy="914400"/>
          </a:xfrm>
          <a:prstGeom prst="rect">
            <a:avLst/>
          </a:prstGeom>
        </p:spPr>
      </p:pic>
      <p:pic>
        <p:nvPicPr>
          <p:cNvPr id="31" name="Graphic 30" descr="Bar graph with upward trend">
            <a:extLst>
              <a:ext uri="{FF2B5EF4-FFF2-40B4-BE49-F238E27FC236}">
                <a16:creationId xmlns:a16="http://schemas.microsoft.com/office/drawing/2014/main" id="{25B84EC1-7815-4B71-BD10-84FEA5603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65906" y="5288018"/>
            <a:ext cx="914400" cy="914400"/>
          </a:xfrm>
          <a:prstGeom prst="rect">
            <a:avLst/>
          </a:prstGeom>
        </p:spPr>
      </p:pic>
      <p:pic>
        <p:nvPicPr>
          <p:cNvPr id="32" name="Graphic 31" descr="Bar chart">
            <a:extLst>
              <a:ext uri="{FF2B5EF4-FFF2-40B4-BE49-F238E27FC236}">
                <a16:creationId xmlns:a16="http://schemas.microsoft.com/office/drawing/2014/main" id="{04932354-63B4-4A5A-92BB-5C873D9018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0880" y="2249714"/>
            <a:ext cx="914400" cy="914400"/>
          </a:xfrm>
          <a:prstGeom prst="rect">
            <a:avLst/>
          </a:prstGeom>
        </p:spPr>
      </p:pic>
      <p:pic>
        <p:nvPicPr>
          <p:cNvPr id="33" name="Graphic 32" descr="Bar chart">
            <a:extLst>
              <a:ext uri="{FF2B5EF4-FFF2-40B4-BE49-F238E27FC236}">
                <a16:creationId xmlns:a16="http://schemas.microsoft.com/office/drawing/2014/main" id="{AF5BC899-E30E-4AE5-8E20-3559AD69A3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91406" y="5639619"/>
            <a:ext cx="914400" cy="914400"/>
          </a:xfrm>
          <a:prstGeom prst="rect">
            <a:avLst/>
          </a:prstGeom>
        </p:spPr>
      </p:pic>
      <p:pic>
        <p:nvPicPr>
          <p:cNvPr id="34" name="Graphic 33" descr="Bar chart">
            <a:extLst>
              <a:ext uri="{FF2B5EF4-FFF2-40B4-BE49-F238E27FC236}">
                <a16:creationId xmlns:a16="http://schemas.microsoft.com/office/drawing/2014/main" id="{6E01BE2C-0F2A-41DE-BAEA-9AF586A9B8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67769" y="5182419"/>
            <a:ext cx="914400" cy="914400"/>
          </a:xfrm>
          <a:prstGeom prst="rect">
            <a:avLst/>
          </a:prstGeom>
        </p:spPr>
      </p:pic>
      <p:pic>
        <p:nvPicPr>
          <p:cNvPr id="35" name="Graphic 34" descr="Pie chart">
            <a:extLst>
              <a:ext uri="{FF2B5EF4-FFF2-40B4-BE49-F238E27FC236}">
                <a16:creationId xmlns:a16="http://schemas.microsoft.com/office/drawing/2014/main" id="{4455A8E7-B121-42CF-878A-68C8C7886F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98347" y="1606853"/>
            <a:ext cx="914400" cy="914400"/>
          </a:xfrm>
          <a:prstGeom prst="rect">
            <a:avLst/>
          </a:prstGeom>
        </p:spPr>
      </p:pic>
      <p:pic>
        <p:nvPicPr>
          <p:cNvPr id="36" name="Graphic 35" descr="Pie chart">
            <a:extLst>
              <a:ext uri="{FF2B5EF4-FFF2-40B4-BE49-F238E27FC236}">
                <a16:creationId xmlns:a16="http://schemas.microsoft.com/office/drawing/2014/main" id="{7799A877-F17F-4175-B3A0-46EEEF35FF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72684" y="4212949"/>
            <a:ext cx="914400" cy="914400"/>
          </a:xfrm>
          <a:prstGeom prst="rect">
            <a:avLst/>
          </a:prstGeom>
        </p:spPr>
      </p:pic>
      <p:pic>
        <p:nvPicPr>
          <p:cNvPr id="37" name="Graphic 36" descr="Pie chart">
            <a:extLst>
              <a:ext uri="{FF2B5EF4-FFF2-40B4-BE49-F238E27FC236}">
                <a16:creationId xmlns:a16="http://schemas.microsoft.com/office/drawing/2014/main" id="{54F2BACB-730D-4FC0-9E79-ED4B64DCF3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94427" y="4386360"/>
            <a:ext cx="914400" cy="914400"/>
          </a:xfrm>
          <a:prstGeom prst="rect">
            <a:avLst/>
          </a:prstGeom>
        </p:spPr>
      </p:pic>
      <p:pic>
        <p:nvPicPr>
          <p:cNvPr id="38" name="Graphic 37" descr="Pie chart">
            <a:extLst>
              <a:ext uri="{FF2B5EF4-FFF2-40B4-BE49-F238E27FC236}">
                <a16:creationId xmlns:a16="http://schemas.microsoft.com/office/drawing/2014/main" id="{DBBBFB82-9588-4BC5-8F2E-C61C35AFE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31092" y="1383035"/>
            <a:ext cx="914400" cy="914400"/>
          </a:xfrm>
          <a:prstGeom prst="rect">
            <a:avLst/>
          </a:prstGeom>
        </p:spPr>
      </p:pic>
      <p:cxnSp>
        <p:nvCxnSpPr>
          <p:cNvPr id="40" name="Straight Arrow Connector 39">
            <a:extLst>
              <a:ext uri="{FF2B5EF4-FFF2-40B4-BE49-F238E27FC236}">
                <a16:creationId xmlns:a16="http://schemas.microsoft.com/office/drawing/2014/main" id="{A03E87CC-D13C-41AF-922C-1656E23FF4BC}"/>
              </a:ext>
            </a:extLst>
          </p:cNvPr>
          <p:cNvCxnSpPr>
            <a:cxnSpLocks/>
          </p:cNvCxnSpPr>
          <p:nvPr/>
        </p:nvCxnSpPr>
        <p:spPr>
          <a:xfrm flipV="1">
            <a:off x="8465869" y="3285000"/>
            <a:ext cx="329888" cy="2675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856BDBA-94FC-40D5-BDB8-AD7959257C0E}"/>
              </a:ext>
            </a:extLst>
          </p:cNvPr>
          <p:cNvCxnSpPr/>
          <p:nvPr/>
        </p:nvCxnSpPr>
        <p:spPr>
          <a:xfrm flipH="1">
            <a:off x="9036186" y="1474345"/>
            <a:ext cx="173158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A7CB2F45-54D7-446D-8412-2491891FA448}"/>
              </a:ext>
            </a:extLst>
          </p:cNvPr>
          <p:cNvCxnSpPr>
            <a:stCxn id="20" idx="2"/>
            <a:endCxn id="19" idx="0"/>
          </p:cNvCxnSpPr>
          <p:nvPr/>
        </p:nvCxnSpPr>
        <p:spPr>
          <a:xfrm>
            <a:off x="8578986" y="1752367"/>
            <a:ext cx="673971" cy="8239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5E0E9EA-831D-4BBA-B34E-CB61091ED918}"/>
              </a:ext>
            </a:extLst>
          </p:cNvPr>
          <p:cNvCxnSpPr>
            <a:endCxn id="22" idx="2"/>
          </p:cNvCxnSpPr>
          <p:nvPr/>
        </p:nvCxnSpPr>
        <p:spPr>
          <a:xfrm flipV="1">
            <a:off x="9710157" y="1931545"/>
            <a:ext cx="1607086" cy="8930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9340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100"/>
                            </p:stCondLst>
                            <p:childTnLst>
                              <p:par>
                                <p:cTn id="11" presetID="1" presetClass="entr" presetSubtype="0" fill="hold" nodeType="afterEffect">
                                  <p:stCondLst>
                                    <p:cond delay="100"/>
                                  </p:stCondLst>
                                  <p:childTnLst>
                                    <p:set>
                                      <p:cBhvr>
                                        <p:cTn id="12" dur="1" fill="hold">
                                          <p:stCondLst>
                                            <p:cond delay="0"/>
                                          </p:stCondLst>
                                        </p:cTn>
                                        <p:tgtEl>
                                          <p:spTgt spid="19"/>
                                        </p:tgtEl>
                                        <p:attrNameLst>
                                          <p:attrName>style.visibility</p:attrName>
                                        </p:attrNameLst>
                                      </p:cBhvr>
                                      <p:to>
                                        <p:strVal val="visible"/>
                                      </p:to>
                                    </p:set>
                                  </p:childTnLst>
                                </p:cTn>
                              </p:par>
                            </p:childTnLst>
                          </p:cTn>
                        </p:par>
                        <p:par>
                          <p:cTn id="13" fill="hold">
                            <p:stCondLst>
                              <p:cond delay="200"/>
                            </p:stCondLst>
                            <p:childTnLst>
                              <p:par>
                                <p:cTn id="14" presetID="1" presetClass="entr" presetSubtype="0" fill="hold" nodeType="afterEffect">
                                  <p:stCondLst>
                                    <p:cond delay="100"/>
                                  </p:stCondLst>
                                  <p:childTnLst>
                                    <p:set>
                                      <p:cBhvr>
                                        <p:cTn id="15" dur="1" fill="hold">
                                          <p:stCondLst>
                                            <p:cond delay="0"/>
                                          </p:stCondLst>
                                        </p:cTn>
                                        <p:tgtEl>
                                          <p:spTgt spid="25"/>
                                        </p:tgtEl>
                                        <p:attrNameLst>
                                          <p:attrName>style.visibility</p:attrName>
                                        </p:attrNameLst>
                                      </p:cBhvr>
                                      <p:to>
                                        <p:strVal val="visible"/>
                                      </p:to>
                                    </p:set>
                                  </p:childTnLst>
                                </p:cTn>
                              </p:par>
                            </p:childTnLst>
                          </p:cTn>
                        </p:par>
                        <p:par>
                          <p:cTn id="16" fill="hold">
                            <p:stCondLst>
                              <p:cond delay="300"/>
                            </p:stCondLst>
                            <p:childTnLst>
                              <p:par>
                                <p:cTn id="17" presetID="1" presetClass="entr" presetSubtype="0" fill="hold" nodeType="afterEffect">
                                  <p:stCondLst>
                                    <p:cond delay="100"/>
                                  </p:stCondLst>
                                  <p:childTnLst>
                                    <p:set>
                                      <p:cBhvr>
                                        <p:cTn id="18" dur="1" fill="hold">
                                          <p:stCondLst>
                                            <p:cond delay="0"/>
                                          </p:stCondLst>
                                        </p:cTn>
                                        <p:tgtEl>
                                          <p:spTgt spid="20"/>
                                        </p:tgtEl>
                                        <p:attrNameLst>
                                          <p:attrName>style.visibility</p:attrName>
                                        </p:attrNameLst>
                                      </p:cBhvr>
                                      <p:to>
                                        <p:strVal val="visible"/>
                                      </p:to>
                                    </p:set>
                                  </p:childTnLst>
                                </p:cTn>
                              </p:par>
                            </p:childTnLst>
                          </p:cTn>
                        </p:par>
                        <p:par>
                          <p:cTn id="19" fill="hold">
                            <p:stCondLst>
                              <p:cond delay="400"/>
                            </p:stCondLst>
                            <p:childTnLst>
                              <p:par>
                                <p:cTn id="20" presetID="1" presetClass="entr" presetSubtype="0" fill="hold" nodeType="afterEffect">
                                  <p:stCondLst>
                                    <p:cond delay="100"/>
                                  </p:stCondLst>
                                  <p:childTnLst>
                                    <p:set>
                                      <p:cBhvr>
                                        <p:cTn id="21" dur="1" fill="hold">
                                          <p:stCondLst>
                                            <p:cond delay="0"/>
                                          </p:stCondLst>
                                        </p:cTn>
                                        <p:tgtEl>
                                          <p:spTgt spid="30"/>
                                        </p:tgtEl>
                                        <p:attrNameLst>
                                          <p:attrName>style.visibility</p:attrName>
                                        </p:attrNameLst>
                                      </p:cBhvr>
                                      <p:to>
                                        <p:strVal val="visible"/>
                                      </p:to>
                                    </p:set>
                                  </p:childTnLst>
                                </p:cTn>
                              </p:par>
                            </p:childTnLst>
                          </p:cTn>
                        </p:par>
                        <p:par>
                          <p:cTn id="22" fill="hold">
                            <p:stCondLst>
                              <p:cond delay="500"/>
                            </p:stCondLst>
                            <p:childTnLst>
                              <p:par>
                                <p:cTn id="23" presetID="1" presetClass="entr" presetSubtype="0" fill="hold" nodeType="afterEffect">
                                  <p:stCondLst>
                                    <p:cond delay="100"/>
                                  </p:stCondLst>
                                  <p:childTnLst>
                                    <p:set>
                                      <p:cBhvr>
                                        <p:cTn id="24" dur="1" fill="hold">
                                          <p:stCondLst>
                                            <p:cond delay="0"/>
                                          </p:stCondLst>
                                        </p:cTn>
                                        <p:tgtEl>
                                          <p:spTgt spid="22"/>
                                        </p:tgtEl>
                                        <p:attrNameLst>
                                          <p:attrName>style.visibility</p:attrName>
                                        </p:attrNameLst>
                                      </p:cBhvr>
                                      <p:to>
                                        <p:strVal val="visible"/>
                                      </p:to>
                                    </p:set>
                                  </p:childTnLst>
                                </p:cTn>
                              </p:par>
                            </p:childTnLst>
                          </p:cTn>
                        </p:par>
                        <p:par>
                          <p:cTn id="25" fill="hold">
                            <p:stCondLst>
                              <p:cond delay="600"/>
                            </p:stCondLst>
                            <p:childTnLst>
                              <p:par>
                                <p:cTn id="26" presetID="1" presetClass="entr" presetSubtype="0" fill="hold" nodeType="afterEffect">
                                  <p:stCondLst>
                                    <p:cond delay="100"/>
                                  </p:stCondLst>
                                  <p:childTnLst>
                                    <p:set>
                                      <p:cBhvr>
                                        <p:cTn id="27" dur="1" fill="hold">
                                          <p:stCondLst>
                                            <p:cond delay="0"/>
                                          </p:stCondLst>
                                        </p:cTn>
                                        <p:tgtEl>
                                          <p:spTgt spid="33"/>
                                        </p:tgtEl>
                                        <p:attrNameLst>
                                          <p:attrName>style.visibility</p:attrName>
                                        </p:attrNameLst>
                                      </p:cBhvr>
                                      <p:to>
                                        <p:strVal val="visible"/>
                                      </p:to>
                                    </p:set>
                                  </p:childTnLst>
                                </p:cTn>
                              </p:par>
                            </p:childTnLst>
                          </p:cTn>
                        </p:par>
                        <p:par>
                          <p:cTn id="28" fill="hold">
                            <p:stCondLst>
                              <p:cond delay="700"/>
                            </p:stCondLst>
                            <p:childTnLst>
                              <p:par>
                                <p:cTn id="29" presetID="1" presetClass="entr" presetSubtype="0" fill="hold" nodeType="afterEffect">
                                  <p:stCondLst>
                                    <p:cond delay="100"/>
                                  </p:stCondLst>
                                  <p:childTnLst>
                                    <p:set>
                                      <p:cBhvr>
                                        <p:cTn id="30" dur="1" fill="hold">
                                          <p:stCondLst>
                                            <p:cond delay="0"/>
                                          </p:stCondLst>
                                        </p:cTn>
                                        <p:tgtEl>
                                          <p:spTgt spid="5"/>
                                        </p:tgtEl>
                                        <p:attrNameLst>
                                          <p:attrName>style.visibility</p:attrName>
                                        </p:attrNameLst>
                                      </p:cBhvr>
                                      <p:to>
                                        <p:strVal val="visible"/>
                                      </p:to>
                                    </p:set>
                                  </p:childTnLst>
                                </p:cTn>
                              </p:par>
                            </p:childTnLst>
                          </p:cTn>
                        </p:par>
                        <p:par>
                          <p:cTn id="31" fill="hold">
                            <p:stCondLst>
                              <p:cond delay="800"/>
                            </p:stCondLst>
                            <p:childTnLst>
                              <p:par>
                                <p:cTn id="32" presetID="1" presetClass="entr" presetSubtype="0" fill="hold" nodeType="afterEffect">
                                  <p:stCondLst>
                                    <p:cond delay="100"/>
                                  </p:stCondLst>
                                  <p:childTnLst>
                                    <p:set>
                                      <p:cBhvr>
                                        <p:cTn id="33" dur="1" fill="hold">
                                          <p:stCondLst>
                                            <p:cond delay="0"/>
                                          </p:stCondLst>
                                        </p:cTn>
                                        <p:tgtEl>
                                          <p:spTgt spid="7"/>
                                        </p:tgtEl>
                                        <p:attrNameLst>
                                          <p:attrName>style.visibility</p:attrName>
                                        </p:attrNameLst>
                                      </p:cBhvr>
                                      <p:to>
                                        <p:strVal val="visible"/>
                                      </p:to>
                                    </p:set>
                                  </p:childTnLst>
                                </p:cTn>
                              </p:par>
                            </p:childTnLst>
                          </p:cTn>
                        </p:par>
                        <p:par>
                          <p:cTn id="34" fill="hold">
                            <p:stCondLst>
                              <p:cond delay="900"/>
                            </p:stCondLst>
                            <p:childTnLst>
                              <p:par>
                                <p:cTn id="35" presetID="1" presetClass="entr" presetSubtype="0" fill="hold" nodeType="afterEffect">
                                  <p:stCondLst>
                                    <p:cond delay="100"/>
                                  </p:stCondLst>
                                  <p:childTnLst>
                                    <p:set>
                                      <p:cBhvr>
                                        <p:cTn id="36" dur="1" fill="hold">
                                          <p:stCondLst>
                                            <p:cond delay="0"/>
                                          </p:stCondLst>
                                        </p:cTn>
                                        <p:tgtEl>
                                          <p:spTgt spid="36"/>
                                        </p:tgtEl>
                                        <p:attrNameLst>
                                          <p:attrName>style.visibility</p:attrName>
                                        </p:attrNameLst>
                                      </p:cBhvr>
                                      <p:to>
                                        <p:strVal val="visible"/>
                                      </p:to>
                                    </p:set>
                                  </p:childTnLst>
                                </p:cTn>
                              </p:par>
                            </p:childTnLst>
                          </p:cTn>
                        </p:par>
                        <p:par>
                          <p:cTn id="37" fill="hold">
                            <p:stCondLst>
                              <p:cond delay="1000"/>
                            </p:stCondLst>
                            <p:childTnLst>
                              <p:par>
                                <p:cTn id="38" presetID="1" presetClass="entr" presetSubtype="0" fill="hold" nodeType="afterEffect">
                                  <p:stCondLst>
                                    <p:cond delay="100"/>
                                  </p:stCondLst>
                                  <p:childTnLst>
                                    <p:set>
                                      <p:cBhvr>
                                        <p:cTn id="39" dur="1" fill="hold">
                                          <p:stCondLst>
                                            <p:cond delay="0"/>
                                          </p:stCondLst>
                                        </p:cTn>
                                        <p:tgtEl>
                                          <p:spTgt spid="31"/>
                                        </p:tgtEl>
                                        <p:attrNameLst>
                                          <p:attrName>style.visibility</p:attrName>
                                        </p:attrNameLst>
                                      </p:cBhvr>
                                      <p:to>
                                        <p:strVal val="visible"/>
                                      </p:to>
                                    </p:set>
                                  </p:childTnLst>
                                </p:cTn>
                              </p:par>
                            </p:childTnLst>
                          </p:cTn>
                        </p:par>
                        <p:par>
                          <p:cTn id="40" fill="hold">
                            <p:stCondLst>
                              <p:cond delay="1100"/>
                            </p:stCondLst>
                            <p:childTnLst>
                              <p:par>
                                <p:cTn id="41" presetID="1" presetClass="entr" presetSubtype="0" fill="hold" nodeType="afterEffect">
                                  <p:stCondLst>
                                    <p:cond delay="100"/>
                                  </p:stCondLst>
                                  <p:childTnLst>
                                    <p:set>
                                      <p:cBhvr>
                                        <p:cTn id="42" dur="1" fill="hold">
                                          <p:stCondLst>
                                            <p:cond delay="0"/>
                                          </p:stCondLst>
                                        </p:cTn>
                                        <p:tgtEl>
                                          <p:spTgt spid="32"/>
                                        </p:tgtEl>
                                        <p:attrNameLst>
                                          <p:attrName>style.visibility</p:attrName>
                                        </p:attrNameLst>
                                      </p:cBhvr>
                                      <p:to>
                                        <p:strVal val="visible"/>
                                      </p:to>
                                    </p:set>
                                  </p:childTnLst>
                                </p:cTn>
                              </p:par>
                            </p:childTnLst>
                          </p:cTn>
                        </p:par>
                        <p:par>
                          <p:cTn id="43" fill="hold">
                            <p:stCondLst>
                              <p:cond delay="1200"/>
                            </p:stCondLst>
                            <p:childTnLst>
                              <p:par>
                                <p:cTn id="44" presetID="1" presetClass="entr" presetSubtype="0" fill="hold" nodeType="afterEffect">
                                  <p:stCondLst>
                                    <p:cond delay="100"/>
                                  </p:stCondLst>
                                  <p:childTnLst>
                                    <p:set>
                                      <p:cBhvr>
                                        <p:cTn id="45" dur="1" fill="hold">
                                          <p:stCondLst>
                                            <p:cond delay="0"/>
                                          </p:stCondLst>
                                        </p:cTn>
                                        <p:tgtEl>
                                          <p:spTgt spid="15"/>
                                        </p:tgtEl>
                                        <p:attrNameLst>
                                          <p:attrName>style.visibility</p:attrName>
                                        </p:attrNameLst>
                                      </p:cBhvr>
                                      <p:to>
                                        <p:strVal val="visible"/>
                                      </p:to>
                                    </p:set>
                                  </p:childTnLst>
                                </p:cTn>
                              </p:par>
                            </p:childTnLst>
                          </p:cTn>
                        </p:par>
                        <p:par>
                          <p:cTn id="46" fill="hold">
                            <p:stCondLst>
                              <p:cond delay="1300"/>
                            </p:stCondLst>
                            <p:childTnLst>
                              <p:par>
                                <p:cTn id="47" presetID="1" presetClass="entr" presetSubtype="0" fill="hold" nodeType="afterEffect">
                                  <p:stCondLst>
                                    <p:cond delay="100"/>
                                  </p:stCondLst>
                                  <p:childTnLst>
                                    <p:set>
                                      <p:cBhvr>
                                        <p:cTn id="48" dur="1" fill="hold">
                                          <p:stCondLst>
                                            <p:cond delay="0"/>
                                          </p:stCondLst>
                                        </p:cTn>
                                        <p:tgtEl>
                                          <p:spTgt spid="29"/>
                                        </p:tgtEl>
                                        <p:attrNameLst>
                                          <p:attrName>style.visibility</p:attrName>
                                        </p:attrNameLst>
                                      </p:cBhvr>
                                      <p:to>
                                        <p:strVal val="visible"/>
                                      </p:to>
                                    </p:set>
                                  </p:childTnLst>
                                </p:cTn>
                              </p:par>
                            </p:childTnLst>
                          </p:cTn>
                        </p:par>
                        <p:par>
                          <p:cTn id="49" fill="hold">
                            <p:stCondLst>
                              <p:cond delay="1400"/>
                            </p:stCondLst>
                            <p:childTnLst>
                              <p:par>
                                <p:cTn id="50" presetID="1" presetClass="entr" presetSubtype="0" fill="hold" nodeType="afterEffect">
                                  <p:stCondLst>
                                    <p:cond delay="100"/>
                                  </p:stCondLst>
                                  <p:childTnLst>
                                    <p:set>
                                      <p:cBhvr>
                                        <p:cTn id="51" dur="1" fill="hold">
                                          <p:stCondLst>
                                            <p:cond delay="0"/>
                                          </p:stCondLst>
                                        </p:cTn>
                                        <p:tgtEl>
                                          <p:spTgt spid="13"/>
                                        </p:tgtEl>
                                        <p:attrNameLst>
                                          <p:attrName>style.visibility</p:attrName>
                                        </p:attrNameLst>
                                      </p:cBhvr>
                                      <p:to>
                                        <p:strVal val="visible"/>
                                      </p:to>
                                    </p:set>
                                  </p:childTnLst>
                                </p:cTn>
                              </p:par>
                            </p:childTnLst>
                          </p:cTn>
                        </p:par>
                        <p:par>
                          <p:cTn id="52" fill="hold">
                            <p:stCondLst>
                              <p:cond delay="1500"/>
                            </p:stCondLst>
                            <p:childTnLst>
                              <p:par>
                                <p:cTn id="53" presetID="1" presetClass="entr" presetSubtype="0" fill="hold" nodeType="afterEffect">
                                  <p:stCondLst>
                                    <p:cond delay="100"/>
                                  </p:stCondLst>
                                  <p:childTnLst>
                                    <p:set>
                                      <p:cBhvr>
                                        <p:cTn id="54" dur="1" fill="hold">
                                          <p:stCondLst>
                                            <p:cond delay="0"/>
                                          </p:stCondLst>
                                        </p:cTn>
                                        <p:tgtEl>
                                          <p:spTgt spid="11"/>
                                        </p:tgtEl>
                                        <p:attrNameLst>
                                          <p:attrName>style.visibility</p:attrName>
                                        </p:attrNameLst>
                                      </p:cBhvr>
                                      <p:to>
                                        <p:strVal val="visible"/>
                                      </p:to>
                                    </p:set>
                                  </p:childTnLst>
                                </p:cTn>
                              </p:par>
                            </p:childTnLst>
                          </p:cTn>
                        </p:par>
                        <p:par>
                          <p:cTn id="55" fill="hold">
                            <p:stCondLst>
                              <p:cond delay="1600"/>
                            </p:stCondLst>
                            <p:childTnLst>
                              <p:par>
                                <p:cTn id="56" presetID="1" presetClass="entr" presetSubtype="0" fill="hold" nodeType="afterEffect">
                                  <p:stCondLst>
                                    <p:cond delay="100"/>
                                  </p:stCondLst>
                                  <p:childTnLst>
                                    <p:set>
                                      <p:cBhvr>
                                        <p:cTn id="57" dur="1" fill="hold">
                                          <p:stCondLst>
                                            <p:cond delay="0"/>
                                          </p:stCondLst>
                                        </p:cTn>
                                        <p:tgtEl>
                                          <p:spTgt spid="28"/>
                                        </p:tgtEl>
                                        <p:attrNameLst>
                                          <p:attrName>style.visibility</p:attrName>
                                        </p:attrNameLst>
                                      </p:cBhvr>
                                      <p:to>
                                        <p:strVal val="visible"/>
                                      </p:to>
                                    </p:set>
                                  </p:childTnLst>
                                </p:cTn>
                              </p:par>
                            </p:childTnLst>
                          </p:cTn>
                        </p:par>
                        <p:par>
                          <p:cTn id="58" fill="hold">
                            <p:stCondLst>
                              <p:cond delay="1700"/>
                            </p:stCondLst>
                            <p:childTnLst>
                              <p:par>
                                <p:cTn id="59" presetID="1" presetClass="entr" presetSubtype="0" fill="hold" nodeType="afterEffect">
                                  <p:stCondLst>
                                    <p:cond delay="100"/>
                                  </p:stCondLst>
                                  <p:childTnLst>
                                    <p:set>
                                      <p:cBhvr>
                                        <p:cTn id="60" dur="1" fill="hold">
                                          <p:stCondLst>
                                            <p:cond delay="0"/>
                                          </p:stCondLst>
                                        </p:cTn>
                                        <p:tgtEl>
                                          <p:spTgt spid="34"/>
                                        </p:tgtEl>
                                        <p:attrNameLst>
                                          <p:attrName>style.visibility</p:attrName>
                                        </p:attrNameLst>
                                      </p:cBhvr>
                                      <p:to>
                                        <p:strVal val="visible"/>
                                      </p:to>
                                    </p:set>
                                  </p:childTnLst>
                                </p:cTn>
                              </p:par>
                            </p:childTnLst>
                          </p:cTn>
                        </p:par>
                        <p:par>
                          <p:cTn id="61" fill="hold">
                            <p:stCondLst>
                              <p:cond delay="1800"/>
                            </p:stCondLst>
                            <p:childTnLst>
                              <p:par>
                                <p:cTn id="62" presetID="1" presetClass="entr" presetSubtype="0" fill="hold" nodeType="afterEffect">
                                  <p:stCondLst>
                                    <p:cond delay="100"/>
                                  </p:stCondLst>
                                  <p:childTnLst>
                                    <p:set>
                                      <p:cBhvr>
                                        <p:cTn id="63" dur="1" fill="hold">
                                          <p:stCondLst>
                                            <p:cond delay="0"/>
                                          </p:stCondLst>
                                        </p:cTn>
                                        <p:tgtEl>
                                          <p:spTgt spid="21"/>
                                        </p:tgtEl>
                                        <p:attrNameLst>
                                          <p:attrName>style.visibility</p:attrName>
                                        </p:attrNameLst>
                                      </p:cBhvr>
                                      <p:to>
                                        <p:strVal val="visible"/>
                                      </p:to>
                                    </p:set>
                                  </p:childTnLst>
                                </p:cTn>
                              </p:par>
                            </p:childTnLst>
                          </p:cTn>
                        </p:par>
                        <p:par>
                          <p:cTn id="64" fill="hold">
                            <p:stCondLst>
                              <p:cond delay="1900"/>
                            </p:stCondLst>
                            <p:childTnLst>
                              <p:par>
                                <p:cTn id="65" presetID="1" presetClass="entr" presetSubtype="0" fill="hold" nodeType="afterEffect">
                                  <p:stCondLst>
                                    <p:cond delay="100"/>
                                  </p:stCondLst>
                                  <p:childTnLst>
                                    <p:set>
                                      <p:cBhvr>
                                        <p:cTn id="66" dur="1" fill="hold">
                                          <p:stCondLst>
                                            <p:cond delay="0"/>
                                          </p:stCondLst>
                                        </p:cTn>
                                        <p:tgtEl>
                                          <p:spTgt spid="35"/>
                                        </p:tgtEl>
                                        <p:attrNameLst>
                                          <p:attrName>style.visibility</p:attrName>
                                        </p:attrNameLst>
                                      </p:cBhvr>
                                      <p:to>
                                        <p:strVal val="visible"/>
                                      </p:to>
                                    </p:set>
                                  </p:childTnLst>
                                </p:cTn>
                              </p:par>
                            </p:childTnLst>
                          </p:cTn>
                        </p:par>
                        <p:par>
                          <p:cTn id="67" fill="hold">
                            <p:stCondLst>
                              <p:cond delay="2000"/>
                            </p:stCondLst>
                            <p:childTnLst>
                              <p:par>
                                <p:cTn id="68" presetID="1" presetClass="entr" presetSubtype="0" fill="hold" nodeType="afterEffect">
                                  <p:stCondLst>
                                    <p:cond delay="100"/>
                                  </p:stCondLst>
                                  <p:childTnLst>
                                    <p:set>
                                      <p:cBhvr>
                                        <p:cTn id="69" dur="1" fill="hold">
                                          <p:stCondLst>
                                            <p:cond delay="0"/>
                                          </p:stCondLst>
                                        </p:cTn>
                                        <p:tgtEl>
                                          <p:spTgt spid="9"/>
                                        </p:tgtEl>
                                        <p:attrNameLst>
                                          <p:attrName>style.visibility</p:attrName>
                                        </p:attrNameLst>
                                      </p:cBhvr>
                                      <p:to>
                                        <p:strVal val="visible"/>
                                      </p:to>
                                    </p:set>
                                  </p:childTnLst>
                                </p:cTn>
                              </p:par>
                            </p:childTnLst>
                          </p:cTn>
                        </p:par>
                        <p:par>
                          <p:cTn id="70" fill="hold">
                            <p:stCondLst>
                              <p:cond delay="2100"/>
                            </p:stCondLst>
                            <p:childTnLst>
                              <p:par>
                                <p:cTn id="71" presetID="1" presetClass="entr" presetSubtype="0" fill="hold" nodeType="afterEffect">
                                  <p:stCondLst>
                                    <p:cond delay="100"/>
                                  </p:stCondLst>
                                  <p:childTnLst>
                                    <p:set>
                                      <p:cBhvr>
                                        <p:cTn id="72" dur="1" fill="hold">
                                          <p:stCondLst>
                                            <p:cond delay="0"/>
                                          </p:stCondLst>
                                        </p:cTn>
                                        <p:tgtEl>
                                          <p:spTgt spid="26"/>
                                        </p:tgtEl>
                                        <p:attrNameLst>
                                          <p:attrName>style.visibility</p:attrName>
                                        </p:attrNameLst>
                                      </p:cBhvr>
                                      <p:to>
                                        <p:strVal val="visible"/>
                                      </p:to>
                                    </p:set>
                                  </p:childTnLst>
                                </p:cTn>
                              </p:par>
                            </p:childTnLst>
                          </p:cTn>
                        </p:par>
                        <p:par>
                          <p:cTn id="73" fill="hold">
                            <p:stCondLst>
                              <p:cond delay="2200"/>
                            </p:stCondLst>
                            <p:childTnLst>
                              <p:par>
                                <p:cTn id="74" presetID="1" presetClass="entr" presetSubtype="0" fill="hold" nodeType="afterEffect">
                                  <p:stCondLst>
                                    <p:cond delay="100"/>
                                  </p:stCondLst>
                                  <p:childTnLst>
                                    <p:set>
                                      <p:cBhvr>
                                        <p:cTn id="75" dur="1" fill="hold">
                                          <p:stCondLst>
                                            <p:cond delay="0"/>
                                          </p:stCondLst>
                                        </p:cTn>
                                        <p:tgtEl>
                                          <p:spTgt spid="37"/>
                                        </p:tgtEl>
                                        <p:attrNameLst>
                                          <p:attrName>style.visibility</p:attrName>
                                        </p:attrNameLst>
                                      </p:cBhvr>
                                      <p:to>
                                        <p:strVal val="visible"/>
                                      </p:to>
                                    </p:set>
                                  </p:childTnLst>
                                </p:cTn>
                              </p:par>
                            </p:childTnLst>
                          </p:cTn>
                        </p:par>
                        <p:par>
                          <p:cTn id="76" fill="hold">
                            <p:stCondLst>
                              <p:cond delay="2300"/>
                            </p:stCondLst>
                            <p:childTnLst>
                              <p:par>
                                <p:cTn id="77" presetID="1" presetClass="entr" presetSubtype="0" fill="hold" nodeType="afterEffect">
                                  <p:stCondLst>
                                    <p:cond delay="100"/>
                                  </p:stCondLst>
                                  <p:childTnLst>
                                    <p:set>
                                      <p:cBhvr>
                                        <p:cTn id="78" dur="1" fill="hold">
                                          <p:stCondLst>
                                            <p:cond delay="0"/>
                                          </p:stCondLst>
                                        </p:cTn>
                                        <p:tgtEl>
                                          <p:spTgt spid="27"/>
                                        </p:tgtEl>
                                        <p:attrNameLst>
                                          <p:attrName>style.visibility</p:attrName>
                                        </p:attrNameLst>
                                      </p:cBhvr>
                                      <p:to>
                                        <p:strVal val="visible"/>
                                      </p:to>
                                    </p:set>
                                  </p:childTnLst>
                                </p:cTn>
                              </p:par>
                            </p:childTnLst>
                          </p:cTn>
                        </p:par>
                        <p:par>
                          <p:cTn id="79" fill="hold">
                            <p:stCondLst>
                              <p:cond delay="2400"/>
                            </p:stCondLst>
                            <p:childTnLst>
                              <p:par>
                                <p:cTn id="80" presetID="1" presetClass="entr" presetSubtype="0" fill="hold" nodeType="afterEffect">
                                  <p:stCondLst>
                                    <p:cond delay="100"/>
                                  </p:stCondLst>
                                  <p:childTnLst>
                                    <p:set>
                                      <p:cBhvr>
                                        <p:cTn id="81" dur="1" fill="hold">
                                          <p:stCondLst>
                                            <p:cond delay="0"/>
                                          </p:stCondLst>
                                        </p:cTn>
                                        <p:tgtEl>
                                          <p:spTgt spid="40"/>
                                        </p:tgtEl>
                                        <p:attrNameLst>
                                          <p:attrName>style.visibility</p:attrName>
                                        </p:attrNameLst>
                                      </p:cBhvr>
                                      <p:to>
                                        <p:strVal val="visible"/>
                                      </p:to>
                                    </p:set>
                                  </p:childTnLst>
                                </p:cTn>
                              </p:par>
                            </p:childTnLst>
                          </p:cTn>
                        </p:par>
                        <p:par>
                          <p:cTn id="82" fill="hold">
                            <p:stCondLst>
                              <p:cond delay="2500"/>
                            </p:stCondLst>
                            <p:childTnLst>
                              <p:par>
                                <p:cTn id="83" presetID="1" presetClass="entr" presetSubtype="0" fill="hold" nodeType="afterEffect">
                                  <p:stCondLst>
                                    <p:cond delay="100"/>
                                  </p:stCondLst>
                                  <p:childTnLst>
                                    <p:set>
                                      <p:cBhvr>
                                        <p:cTn id="84" dur="1" fill="hold">
                                          <p:stCondLst>
                                            <p:cond delay="0"/>
                                          </p:stCondLst>
                                        </p:cTn>
                                        <p:tgtEl>
                                          <p:spTgt spid="48"/>
                                        </p:tgtEl>
                                        <p:attrNameLst>
                                          <p:attrName>style.visibility</p:attrName>
                                        </p:attrNameLst>
                                      </p:cBhvr>
                                      <p:to>
                                        <p:strVal val="visible"/>
                                      </p:to>
                                    </p:set>
                                  </p:childTnLst>
                                </p:cTn>
                              </p:par>
                            </p:childTnLst>
                          </p:cTn>
                        </p:par>
                        <p:par>
                          <p:cTn id="85" fill="hold">
                            <p:stCondLst>
                              <p:cond delay="2600"/>
                            </p:stCondLst>
                            <p:childTnLst>
                              <p:par>
                                <p:cTn id="86" presetID="1" presetClass="entr" presetSubtype="0" fill="hold" nodeType="afterEffect">
                                  <p:stCondLst>
                                    <p:cond delay="100"/>
                                  </p:stCondLst>
                                  <p:childTnLst>
                                    <p:set>
                                      <p:cBhvr>
                                        <p:cTn id="87" dur="1" fill="hold">
                                          <p:stCondLst>
                                            <p:cond delay="0"/>
                                          </p:stCondLst>
                                        </p:cTn>
                                        <p:tgtEl>
                                          <p:spTgt spid="44"/>
                                        </p:tgtEl>
                                        <p:attrNameLst>
                                          <p:attrName>style.visibility</p:attrName>
                                        </p:attrNameLst>
                                      </p:cBhvr>
                                      <p:to>
                                        <p:strVal val="visible"/>
                                      </p:to>
                                    </p:set>
                                  </p:childTnLst>
                                </p:cTn>
                              </p:par>
                            </p:childTnLst>
                          </p:cTn>
                        </p:par>
                        <p:par>
                          <p:cTn id="88" fill="hold">
                            <p:stCondLst>
                              <p:cond delay="2700"/>
                            </p:stCondLst>
                            <p:childTnLst>
                              <p:par>
                                <p:cTn id="89" presetID="1" presetClass="entr" presetSubtype="0" fill="hold" nodeType="afterEffect">
                                  <p:stCondLst>
                                    <p:cond delay="100"/>
                                  </p:stCondLst>
                                  <p:childTnLst>
                                    <p:set>
                                      <p:cBhvr>
                                        <p:cTn id="9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Why Governance is Needed</a:t>
            </a:r>
            <a:endParaRPr lang="en-GB"/>
          </a:p>
        </p:txBody>
      </p:sp>
      <p:graphicFrame>
        <p:nvGraphicFramePr>
          <p:cNvPr id="2" name="Diagram 1"/>
          <p:cNvGraphicFramePr/>
          <p:nvPr/>
        </p:nvGraphicFramePr>
        <p:xfrm>
          <a:off x="5424756" y="161527"/>
          <a:ext cx="6441896" cy="62786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743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10B685FD-79F8-49D8-B895-E2380080227F}"/>
                                            </p:graphicEl>
                                          </p:spTgt>
                                        </p:tgtEl>
                                        <p:attrNameLst>
                                          <p:attrName>style.visibility</p:attrName>
                                        </p:attrNameLst>
                                      </p:cBhvr>
                                      <p:to>
                                        <p:strVal val="visible"/>
                                      </p:to>
                                    </p:set>
                                    <p:animEffect transition="in" filter="fade">
                                      <p:cBhvr>
                                        <p:cTn id="7" dur="500"/>
                                        <p:tgtEl>
                                          <p:spTgt spid="2">
                                            <p:graphicEl>
                                              <a:dgm id="{10B685FD-79F8-49D8-B895-E2380080227F}"/>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graphicEl>
                                              <a:dgm id="{D33BB0EA-F195-438F-8A00-24E5C8226EA3}"/>
                                            </p:graphicEl>
                                          </p:spTgt>
                                        </p:tgtEl>
                                        <p:attrNameLst>
                                          <p:attrName>style.visibility</p:attrName>
                                        </p:attrNameLst>
                                      </p:cBhvr>
                                      <p:to>
                                        <p:strVal val="visible"/>
                                      </p:to>
                                    </p:set>
                                    <p:animEffect transition="in" filter="fade">
                                      <p:cBhvr>
                                        <p:cTn id="10" dur="500"/>
                                        <p:tgtEl>
                                          <p:spTgt spid="2">
                                            <p:graphicEl>
                                              <a:dgm id="{D33BB0EA-F195-438F-8A00-24E5C8226EA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graphicEl>
                                              <a:dgm id="{83A068E7-16B4-4313-9BD7-86F2CC6ED717}"/>
                                            </p:graphicEl>
                                          </p:spTgt>
                                        </p:tgtEl>
                                        <p:attrNameLst>
                                          <p:attrName>style.visibility</p:attrName>
                                        </p:attrNameLst>
                                      </p:cBhvr>
                                      <p:to>
                                        <p:strVal val="visible"/>
                                      </p:to>
                                    </p:set>
                                    <p:animEffect transition="in" filter="fade">
                                      <p:cBhvr>
                                        <p:cTn id="13" dur="500"/>
                                        <p:tgtEl>
                                          <p:spTgt spid="2">
                                            <p:graphicEl>
                                              <a:dgm id="{83A068E7-16B4-4313-9BD7-86F2CC6ED717}"/>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graphicEl>
                                              <a:dgm id="{501FCC22-A997-4163-86D1-18CF96D2C847}"/>
                                            </p:graphicEl>
                                          </p:spTgt>
                                        </p:tgtEl>
                                        <p:attrNameLst>
                                          <p:attrName>style.visibility</p:attrName>
                                        </p:attrNameLst>
                                      </p:cBhvr>
                                      <p:to>
                                        <p:strVal val="visible"/>
                                      </p:to>
                                    </p:set>
                                    <p:animEffect transition="in" filter="fade">
                                      <p:cBhvr>
                                        <p:cTn id="16" dur="500"/>
                                        <p:tgtEl>
                                          <p:spTgt spid="2">
                                            <p:graphicEl>
                                              <a:dgm id="{501FCC22-A997-4163-86D1-18CF96D2C847}"/>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808B666D-E5F6-46A6-9724-A881F7C0FFFF}"/>
                                            </p:graphicEl>
                                          </p:spTgt>
                                        </p:tgtEl>
                                        <p:attrNameLst>
                                          <p:attrName>style.visibility</p:attrName>
                                        </p:attrNameLst>
                                      </p:cBhvr>
                                      <p:to>
                                        <p:strVal val="visible"/>
                                      </p:to>
                                    </p:set>
                                    <p:animEffect transition="in" filter="fade">
                                      <p:cBhvr>
                                        <p:cTn id="19" dur="500"/>
                                        <p:tgtEl>
                                          <p:spTgt spid="2">
                                            <p:graphicEl>
                                              <a:dgm id="{808B666D-E5F6-46A6-9724-A881F7C0FFFF}"/>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graphicEl>
                                              <a:dgm id="{16BDD1B1-6573-49A9-B5D7-5900380DA9FE}"/>
                                            </p:graphicEl>
                                          </p:spTgt>
                                        </p:tgtEl>
                                        <p:attrNameLst>
                                          <p:attrName>style.visibility</p:attrName>
                                        </p:attrNameLst>
                                      </p:cBhvr>
                                      <p:to>
                                        <p:strVal val="visible"/>
                                      </p:to>
                                    </p:set>
                                    <p:animEffect transition="in" filter="fade">
                                      <p:cBhvr>
                                        <p:cTn id="24" dur="500"/>
                                        <p:tgtEl>
                                          <p:spTgt spid="2">
                                            <p:graphicEl>
                                              <a:dgm id="{16BDD1B1-6573-49A9-B5D7-5900380DA9FE}"/>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graphicEl>
                                              <a:dgm id="{38CAB2FC-CDD3-4A35-A221-9A549B4B8A33}"/>
                                            </p:graphicEl>
                                          </p:spTgt>
                                        </p:tgtEl>
                                        <p:attrNameLst>
                                          <p:attrName>style.visibility</p:attrName>
                                        </p:attrNameLst>
                                      </p:cBhvr>
                                      <p:to>
                                        <p:strVal val="visible"/>
                                      </p:to>
                                    </p:set>
                                    <p:animEffect transition="in" filter="fade">
                                      <p:cBhvr>
                                        <p:cTn id="27" dur="500"/>
                                        <p:tgtEl>
                                          <p:spTgt spid="2">
                                            <p:graphicEl>
                                              <a:dgm id="{38CAB2FC-CDD3-4A35-A221-9A549B4B8A33}"/>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graphicEl>
                                              <a:dgm id="{1EADD7DE-598F-474D-8DE1-B38E166EFCE4}"/>
                                            </p:graphicEl>
                                          </p:spTgt>
                                        </p:tgtEl>
                                        <p:attrNameLst>
                                          <p:attrName>style.visibility</p:attrName>
                                        </p:attrNameLst>
                                      </p:cBhvr>
                                      <p:to>
                                        <p:strVal val="visible"/>
                                      </p:to>
                                    </p:set>
                                    <p:animEffect transition="in" filter="fade">
                                      <p:cBhvr>
                                        <p:cTn id="30" dur="500"/>
                                        <p:tgtEl>
                                          <p:spTgt spid="2">
                                            <p:graphicEl>
                                              <a:dgm id="{1EADD7DE-598F-474D-8DE1-B38E166EFCE4}"/>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9E03AE5D-C23A-46B8-B964-A46B90DA0053}"/>
                                            </p:graphicEl>
                                          </p:spTgt>
                                        </p:tgtEl>
                                        <p:attrNameLst>
                                          <p:attrName>style.visibility</p:attrName>
                                        </p:attrNameLst>
                                      </p:cBhvr>
                                      <p:to>
                                        <p:strVal val="visible"/>
                                      </p:to>
                                    </p:set>
                                    <p:animEffect transition="in" filter="fade">
                                      <p:cBhvr>
                                        <p:cTn id="33" dur="500"/>
                                        <p:tgtEl>
                                          <p:spTgt spid="2">
                                            <p:graphicEl>
                                              <a:dgm id="{9E03AE5D-C23A-46B8-B964-A46B90DA0053}"/>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graphicEl>
                                              <a:dgm id="{0340B2DA-10AB-4A2C-B5B3-1D09FB4689EE}"/>
                                            </p:graphicEl>
                                          </p:spTgt>
                                        </p:tgtEl>
                                        <p:attrNameLst>
                                          <p:attrName>style.visibility</p:attrName>
                                        </p:attrNameLst>
                                      </p:cBhvr>
                                      <p:to>
                                        <p:strVal val="visible"/>
                                      </p:to>
                                    </p:set>
                                    <p:animEffect transition="in" filter="fade">
                                      <p:cBhvr>
                                        <p:cTn id="36" dur="500"/>
                                        <p:tgtEl>
                                          <p:spTgt spid="2">
                                            <p:graphicEl>
                                              <a:dgm id="{0340B2DA-10AB-4A2C-B5B3-1D09FB4689EE}"/>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graphicEl>
                                              <a:dgm id="{BF6A2EDE-993A-4893-826D-AF4E7107BFF0}"/>
                                            </p:graphicEl>
                                          </p:spTgt>
                                        </p:tgtEl>
                                        <p:attrNameLst>
                                          <p:attrName>style.visibility</p:attrName>
                                        </p:attrNameLst>
                                      </p:cBhvr>
                                      <p:to>
                                        <p:strVal val="visible"/>
                                      </p:to>
                                    </p:set>
                                    <p:animEffect transition="in" filter="fade">
                                      <p:cBhvr>
                                        <p:cTn id="39" dur="500"/>
                                        <p:tgtEl>
                                          <p:spTgt spid="2">
                                            <p:graphicEl>
                                              <a:dgm id="{BF6A2EDE-993A-4893-826D-AF4E7107BFF0}"/>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graphicEl>
                                              <a:dgm id="{74BE0ADB-6336-415F-9DCE-A816E2F16C27}"/>
                                            </p:graphicEl>
                                          </p:spTgt>
                                        </p:tgtEl>
                                        <p:attrNameLst>
                                          <p:attrName>style.visibility</p:attrName>
                                        </p:attrNameLst>
                                      </p:cBhvr>
                                      <p:to>
                                        <p:strVal val="visible"/>
                                      </p:to>
                                    </p:set>
                                    <p:animEffect transition="in" filter="fade">
                                      <p:cBhvr>
                                        <p:cTn id="42" dur="500"/>
                                        <p:tgtEl>
                                          <p:spTgt spid="2">
                                            <p:graphicEl>
                                              <a:dgm id="{74BE0ADB-6336-415F-9DCE-A816E2F16C2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one"/>
        </p:bldSub>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B5B050-EB64-4222-92A3-68750FAD5E1C}"/>
              </a:ext>
            </a:extLst>
          </p:cNvPr>
          <p:cNvSpPr>
            <a:spLocks noGrp="1"/>
          </p:cNvSpPr>
          <p:nvPr>
            <p:ph type="title"/>
          </p:nvPr>
        </p:nvSpPr>
        <p:spPr/>
        <p:txBody>
          <a:bodyPr/>
          <a:lstStyle/>
          <a:p>
            <a:r>
              <a:rPr lang="de-DE" err="1"/>
              <a:t>Governance</a:t>
            </a:r>
            <a:r>
              <a:rPr lang="de-DE"/>
              <a:t> Objectives</a:t>
            </a:r>
            <a:endParaRPr lang="en-US"/>
          </a:p>
        </p:txBody>
      </p:sp>
      <p:sp>
        <p:nvSpPr>
          <p:cNvPr id="46" name="TextBox 64">
            <a:extLst>
              <a:ext uri="{FF2B5EF4-FFF2-40B4-BE49-F238E27FC236}">
                <a16:creationId xmlns:a16="http://schemas.microsoft.com/office/drawing/2014/main" id="{D6304F27-7DAB-47C4-B128-63D9D0D4A1BE}"/>
              </a:ext>
            </a:extLst>
          </p:cNvPr>
          <p:cNvSpPr txBox="1"/>
          <p:nvPr/>
        </p:nvSpPr>
        <p:spPr>
          <a:xfrm>
            <a:off x="6670547" y="2946980"/>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94F50"/>
                </a:solidFill>
                <a:effectLst/>
                <a:uLnTx/>
                <a:uFillTx/>
                <a:latin typeface="Arial" panose="020B0604020202020204"/>
                <a:ea typeface="+mn-ea"/>
                <a:cs typeface="+mn-cs"/>
              </a:rPr>
              <a:t>Consistency &amp; Standardization</a:t>
            </a:r>
          </a:p>
        </p:txBody>
      </p:sp>
      <p:sp>
        <p:nvSpPr>
          <p:cNvPr id="50" name="TextBox 66">
            <a:extLst>
              <a:ext uri="{FF2B5EF4-FFF2-40B4-BE49-F238E27FC236}">
                <a16:creationId xmlns:a16="http://schemas.microsoft.com/office/drawing/2014/main" id="{B7B0516B-233A-44CE-9530-31FE87B66FB5}"/>
              </a:ext>
            </a:extLst>
          </p:cNvPr>
          <p:cNvSpPr txBox="1"/>
          <p:nvPr/>
        </p:nvSpPr>
        <p:spPr>
          <a:xfrm>
            <a:off x="6670547" y="3849318"/>
            <a:ext cx="3283680"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C4666"/>
                </a:solidFill>
                <a:effectLst/>
                <a:uLnTx/>
                <a:uFillTx/>
                <a:latin typeface="Arial" panose="020B0604020202020204"/>
                <a:ea typeface="+mn-ea"/>
                <a:cs typeface="+mn-cs"/>
              </a:rPr>
              <a:t>Reduce Risk of Data Misuse &amp; Leakage  </a:t>
            </a:r>
          </a:p>
        </p:txBody>
      </p:sp>
      <p:sp>
        <p:nvSpPr>
          <p:cNvPr id="54" name="TextBox 68">
            <a:extLst>
              <a:ext uri="{FF2B5EF4-FFF2-40B4-BE49-F238E27FC236}">
                <a16:creationId xmlns:a16="http://schemas.microsoft.com/office/drawing/2014/main" id="{B2D0CD93-BA85-4F38-9EE9-423C9159DEF7}"/>
              </a:ext>
            </a:extLst>
          </p:cNvPr>
          <p:cNvSpPr txBox="1"/>
          <p:nvPr/>
        </p:nvSpPr>
        <p:spPr>
          <a:xfrm>
            <a:off x="2018060" y="4818992"/>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B74810"/>
                </a:solidFill>
                <a:effectLst/>
                <a:uLnTx/>
                <a:uFillTx/>
                <a:latin typeface="Arial" panose="020B0604020202020204"/>
                <a:ea typeface="+mn-ea"/>
                <a:cs typeface="+mn-cs"/>
              </a:rPr>
              <a:t>Meet Regulatory Requirements</a:t>
            </a:r>
          </a:p>
        </p:txBody>
      </p:sp>
      <p:sp>
        <p:nvSpPr>
          <p:cNvPr id="58" name="TextBox 70">
            <a:extLst>
              <a:ext uri="{FF2B5EF4-FFF2-40B4-BE49-F238E27FC236}">
                <a16:creationId xmlns:a16="http://schemas.microsoft.com/office/drawing/2014/main" id="{9B4D2AEE-8A77-4A1C-8E68-FF617907E3BA}"/>
              </a:ext>
            </a:extLst>
          </p:cNvPr>
          <p:cNvSpPr txBox="1"/>
          <p:nvPr/>
        </p:nvSpPr>
        <p:spPr>
          <a:xfrm>
            <a:off x="6670547" y="1893944"/>
            <a:ext cx="312163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C92B3"/>
                </a:solidFill>
                <a:effectLst/>
                <a:uLnTx/>
                <a:uFillTx/>
                <a:latin typeface="Arial" panose="020B0604020202020204"/>
                <a:ea typeface="+mn-ea"/>
                <a:cs typeface="+mn-cs"/>
              </a:rPr>
              <a:t>Guidance for improved user experience</a:t>
            </a:r>
          </a:p>
        </p:txBody>
      </p:sp>
      <p:sp>
        <p:nvSpPr>
          <p:cNvPr id="62" name="TextBox 72">
            <a:extLst>
              <a:ext uri="{FF2B5EF4-FFF2-40B4-BE49-F238E27FC236}">
                <a16:creationId xmlns:a16="http://schemas.microsoft.com/office/drawing/2014/main" id="{1167AA12-9DE6-40A5-9550-991A812BB384}"/>
              </a:ext>
            </a:extLst>
          </p:cNvPr>
          <p:cNvSpPr txBox="1"/>
          <p:nvPr/>
        </p:nvSpPr>
        <p:spPr>
          <a:xfrm>
            <a:off x="2018060" y="1893945"/>
            <a:ext cx="242755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2506B"/>
                </a:solidFill>
                <a:effectLst/>
                <a:uLnTx/>
                <a:uFillTx/>
                <a:latin typeface="Arial" panose="020B0604020202020204"/>
                <a:ea typeface="+mn-ea"/>
                <a:cs typeface="+mn-cs"/>
              </a:rPr>
              <a:t>Empowerment with Data Culture</a:t>
            </a:r>
          </a:p>
        </p:txBody>
      </p:sp>
      <p:sp>
        <p:nvSpPr>
          <p:cNvPr id="66" name="TextBox 74">
            <a:extLst>
              <a:ext uri="{FF2B5EF4-FFF2-40B4-BE49-F238E27FC236}">
                <a16:creationId xmlns:a16="http://schemas.microsoft.com/office/drawing/2014/main" id="{9E90A8EC-9C17-4D09-98C8-09E0C0506884}"/>
              </a:ext>
            </a:extLst>
          </p:cNvPr>
          <p:cNvSpPr txBox="1"/>
          <p:nvPr/>
        </p:nvSpPr>
        <p:spPr>
          <a:xfrm>
            <a:off x="2022760" y="2949496"/>
            <a:ext cx="3290020"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25F4C"/>
                </a:solidFill>
                <a:effectLst/>
                <a:uLnTx/>
                <a:uFillTx/>
                <a:latin typeface="Arial" panose="020B0604020202020204"/>
                <a:ea typeface="+mn-ea"/>
                <a:cs typeface="+mn-cs"/>
              </a:rPr>
              <a:t>Appropriate Data Usage</a:t>
            </a:r>
          </a:p>
        </p:txBody>
      </p:sp>
      <p:sp>
        <p:nvSpPr>
          <p:cNvPr id="70" name="TextBox 76">
            <a:extLst>
              <a:ext uri="{FF2B5EF4-FFF2-40B4-BE49-F238E27FC236}">
                <a16:creationId xmlns:a16="http://schemas.microsoft.com/office/drawing/2014/main" id="{AE7E7665-0A1D-47C2-835A-26D0AE96471A}"/>
              </a:ext>
            </a:extLst>
          </p:cNvPr>
          <p:cNvSpPr txBox="1"/>
          <p:nvPr/>
        </p:nvSpPr>
        <p:spPr>
          <a:xfrm>
            <a:off x="2018060" y="3849318"/>
            <a:ext cx="3685214" cy="369332"/>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E9E1F"/>
                </a:solidFill>
                <a:effectLst/>
                <a:uLnTx/>
                <a:uFillTx/>
                <a:latin typeface="Arial" panose="020B0604020202020204"/>
                <a:ea typeface="+mn-ea"/>
                <a:cs typeface="+mn-cs"/>
              </a:rPr>
              <a:t>Clear Ownership &amp; Stewardship</a:t>
            </a:r>
          </a:p>
        </p:txBody>
      </p:sp>
    </p:spTree>
    <p:extLst>
      <p:ext uri="{BB962C8B-B14F-4D97-AF65-F5344CB8AC3E}">
        <p14:creationId xmlns:p14="http://schemas.microsoft.com/office/powerpoint/2010/main" val="311585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B5B050-EB64-4222-92A3-68750FAD5E1C}"/>
              </a:ext>
            </a:extLst>
          </p:cNvPr>
          <p:cNvSpPr>
            <a:spLocks noGrp="1"/>
          </p:cNvSpPr>
          <p:nvPr>
            <p:ph type="title"/>
          </p:nvPr>
        </p:nvSpPr>
        <p:spPr/>
        <p:txBody>
          <a:bodyPr/>
          <a:lstStyle/>
          <a:p>
            <a:r>
              <a:rPr lang="de-DE" err="1"/>
              <a:t>Governance</a:t>
            </a:r>
            <a:r>
              <a:rPr lang="de-DE"/>
              <a:t> </a:t>
            </a:r>
            <a:r>
              <a:rPr lang="de-DE" err="1"/>
              <a:t>Objectives</a:t>
            </a:r>
            <a:r>
              <a:rPr lang="de-DE"/>
              <a:t>/</a:t>
            </a:r>
            <a:r>
              <a:rPr lang="de-DE" err="1"/>
              <a:t>Strategy</a:t>
            </a:r>
            <a:endParaRPr lang="en-US"/>
          </a:p>
        </p:txBody>
      </p:sp>
      <p:sp>
        <p:nvSpPr>
          <p:cNvPr id="4" name="Oval 43">
            <a:extLst>
              <a:ext uri="{FF2B5EF4-FFF2-40B4-BE49-F238E27FC236}">
                <a16:creationId xmlns:a16="http://schemas.microsoft.com/office/drawing/2014/main" id="{A130F890-8278-4A2E-A5D6-F587444F7B4C}"/>
              </a:ext>
            </a:extLst>
          </p:cNvPr>
          <p:cNvSpPr>
            <a:spLocks noChangeArrowheads="1"/>
          </p:cNvSpPr>
          <p:nvPr/>
        </p:nvSpPr>
        <p:spPr bwMode="auto">
          <a:xfrm>
            <a:off x="5280630" y="1643904"/>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Oval 44">
            <a:extLst>
              <a:ext uri="{FF2B5EF4-FFF2-40B4-BE49-F238E27FC236}">
                <a16:creationId xmlns:a16="http://schemas.microsoft.com/office/drawing/2014/main" id="{78036E9F-94AF-41AE-B4C2-BB26663E9306}"/>
              </a:ext>
            </a:extLst>
          </p:cNvPr>
          <p:cNvSpPr>
            <a:spLocks noChangeArrowheads="1"/>
          </p:cNvSpPr>
          <p:nvPr/>
        </p:nvSpPr>
        <p:spPr bwMode="auto">
          <a:xfrm>
            <a:off x="5326924" y="1690198"/>
            <a:ext cx="964706" cy="961718"/>
          </a:xfrm>
          <a:prstGeom prst="ellipse">
            <a:avLst/>
          </a:prstGeom>
          <a:solidFill>
            <a:srgbClr val="32506B"/>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12E7749D-A40F-41C9-BABD-D203EBA10BD7}"/>
              </a:ext>
            </a:extLst>
          </p:cNvPr>
          <p:cNvSpPr>
            <a:spLocks/>
          </p:cNvSpPr>
          <p:nvPr/>
        </p:nvSpPr>
        <p:spPr bwMode="auto">
          <a:xfrm>
            <a:off x="4805744" y="2203912"/>
            <a:ext cx="1208122" cy="1042359"/>
          </a:xfrm>
          <a:custGeom>
            <a:avLst/>
            <a:gdLst>
              <a:gd name="T0" fmla="*/ 615 w 809"/>
              <a:gd name="T1" fmla="*/ 698 h 698"/>
              <a:gd name="T2" fmla="*/ 0 w 809"/>
              <a:gd name="T3" fmla="*/ 289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9"/>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Oval 46">
            <a:extLst>
              <a:ext uri="{FF2B5EF4-FFF2-40B4-BE49-F238E27FC236}">
                <a16:creationId xmlns:a16="http://schemas.microsoft.com/office/drawing/2014/main" id="{CC462C39-CFA5-498E-9EDA-0283D0156E1C}"/>
              </a:ext>
            </a:extLst>
          </p:cNvPr>
          <p:cNvSpPr>
            <a:spLocks noChangeArrowheads="1"/>
          </p:cNvSpPr>
          <p:nvPr/>
        </p:nvSpPr>
        <p:spPr bwMode="auto">
          <a:xfrm>
            <a:off x="5809277" y="2041135"/>
            <a:ext cx="1055800" cy="1055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Oval 47">
            <a:extLst>
              <a:ext uri="{FF2B5EF4-FFF2-40B4-BE49-F238E27FC236}">
                <a16:creationId xmlns:a16="http://schemas.microsoft.com/office/drawing/2014/main" id="{14EDAD30-552F-4E4A-B6BA-FEE55011354C}"/>
              </a:ext>
            </a:extLst>
          </p:cNvPr>
          <p:cNvSpPr>
            <a:spLocks noChangeArrowheads="1"/>
          </p:cNvSpPr>
          <p:nvPr/>
        </p:nvSpPr>
        <p:spPr bwMode="auto">
          <a:xfrm>
            <a:off x="5855571" y="2088924"/>
            <a:ext cx="963212" cy="960225"/>
          </a:xfrm>
          <a:prstGeom prst="ellipse">
            <a:avLst/>
          </a:prstGeom>
          <a:solidFill>
            <a:srgbClr val="0C92B3"/>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10">
            <a:extLst>
              <a:ext uri="{FF2B5EF4-FFF2-40B4-BE49-F238E27FC236}">
                <a16:creationId xmlns:a16="http://schemas.microsoft.com/office/drawing/2014/main" id="{0CC50EEE-0021-43A5-A952-76CAB3FC02AE}"/>
              </a:ext>
            </a:extLst>
          </p:cNvPr>
          <p:cNvSpPr>
            <a:spLocks/>
          </p:cNvSpPr>
          <p:nvPr/>
        </p:nvSpPr>
        <p:spPr bwMode="auto">
          <a:xfrm>
            <a:off x="6133334" y="2601143"/>
            <a:ext cx="1206628" cy="1042359"/>
          </a:xfrm>
          <a:custGeom>
            <a:avLst/>
            <a:gdLst>
              <a:gd name="T0" fmla="*/ 193 w 808"/>
              <a:gd name="T1" fmla="*/ 698 h 698"/>
              <a:gd name="T2" fmla="*/ 808 w 808"/>
              <a:gd name="T3" fmla="*/ 290 h 698"/>
              <a:gd name="T4" fmla="*/ 615 w 808"/>
              <a:gd name="T5" fmla="*/ 0 h 698"/>
              <a:gd name="T6" fmla="*/ 0 w 808"/>
              <a:gd name="T7" fmla="*/ 409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90"/>
                </a:lnTo>
                <a:lnTo>
                  <a:pt x="615" y="0"/>
                </a:lnTo>
                <a:lnTo>
                  <a:pt x="0" y="409"/>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val 49">
            <a:extLst>
              <a:ext uri="{FF2B5EF4-FFF2-40B4-BE49-F238E27FC236}">
                <a16:creationId xmlns:a16="http://schemas.microsoft.com/office/drawing/2014/main" id="{37DBEB48-765E-45DD-A440-0D74204F8FA7}"/>
              </a:ext>
            </a:extLst>
          </p:cNvPr>
          <p:cNvSpPr>
            <a:spLocks noChangeArrowheads="1"/>
          </p:cNvSpPr>
          <p:nvPr/>
        </p:nvSpPr>
        <p:spPr bwMode="auto">
          <a:xfrm>
            <a:off x="5280630" y="2617568"/>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Oval 50">
            <a:extLst>
              <a:ext uri="{FF2B5EF4-FFF2-40B4-BE49-F238E27FC236}">
                <a16:creationId xmlns:a16="http://schemas.microsoft.com/office/drawing/2014/main" id="{10E2724B-84DD-4336-A91D-3132D63720C6}"/>
              </a:ext>
            </a:extLst>
          </p:cNvPr>
          <p:cNvSpPr>
            <a:spLocks noChangeArrowheads="1"/>
          </p:cNvSpPr>
          <p:nvPr/>
        </p:nvSpPr>
        <p:spPr bwMode="auto">
          <a:xfrm>
            <a:off x="5326924" y="2663863"/>
            <a:ext cx="964706" cy="961718"/>
          </a:xfrm>
          <a:prstGeom prst="ellipse">
            <a:avLst/>
          </a:prstGeom>
          <a:solidFill>
            <a:srgbClr val="725F4C"/>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13">
            <a:extLst>
              <a:ext uri="{FF2B5EF4-FFF2-40B4-BE49-F238E27FC236}">
                <a16:creationId xmlns:a16="http://schemas.microsoft.com/office/drawing/2014/main" id="{14895AD7-D618-4C5A-A809-F49E419C7B21}"/>
              </a:ext>
            </a:extLst>
          </p:cNvPr>
          <p:cNvSpPr>
            <a:spLocks/>
          </p:cNvSpPr>
          <p:nvPr/>
        </p:nvSpPr>
        <p:spPr bwMode="auto">
          <a:xfrm>
            <a:off x="4805744" y="3177576"/>
            <a:ext cx="1208122" cy="1042359"/>
          </a:xfrm>
          <a:custGeom>
            <a:avLst/>
            <a:gdLst>
              <a:gd name="T0" fmla="*/ 615 w 809"/>
              <a:gd name="T1" fmla="*/ 698 h 698"/>
              <a:gd name="T2" fmla="*/ 0 w 809"/>
              <a:gd name="T3" fmla="*/ 288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8"/>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Oval 52">
            <a:extLst>
              <a:ext uri="{FF2B5EF4-FFF2-40B4-BE49-F238E27FC236}">
                <a16:creationId xmlns:a16="http://schemas.microsoft.com/office/drawing/2014/main" id="{F618A343-4AD6-4DD5-B388-14F5FDB823A5}"/>
              </a:ext>
            </a:extLst>
          </p:cNvPr>
          <p:cNvSpPr>
            <a:spLocks noChangeArrowheads="1"/>
          </p:cNvSpPr>
          <p:nvPr/>
        </p:nvSpPr>
        <p:spPr bwMode="auto">
          <a:xfrm>
            <a:off x="5809277" y="3065574"/>
            <a:ext cx="1055800"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Oval 53">
            <a:extLst>
              <a:ext uri="{FF2B5EF4-FFF2-40B4-BE49-F238E27FC236}">
                <a16:creationId xmlns:a16="http://schemas.microsoft.com/office/drawing/2014/main" id="{C51AA73C-AFF0-48C4-8837-D54F2621CAE3}"/>
              </a:ext>
            </a:extLst>
          </p:cNvPr>
          <p:cNvSpPr>
            <a:spLocks noChangeArrowheads="1"/>
          </p:cNvSpPr>
          <p:nvPr/>
        </p:nvSpPr>
        <p:spPr bwMode="auto">
          <a:xfrm>
            <a:off x="5855571" y="3111868"/>
            <a:ext cx="963212" cy="961718"/>
          </a:xfrm>
          <a:prstGeom prst="ellipse">
            <a:avLst/>
          </a:prstGeom>
          <a:solidFill>
            <a:srgbClr val="E94F50"/>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Freeform 16">
            <a:extLst>
              <a:ext uri="{FF2B5EF4-FFF2-40B4-BE49-F238E27FC236}">
                <a16:creationId xmlns:a16="http://schemas.microsoft.com/office/drawing/2014/main" id="{359FA62C-ECFF-4376-B36F-40DB55A59CDA}"/>
              </a:ext>
            </a:extLst>
          </p:cNvPr>
          <p:cNvSpPr>
            <a:spLocks/>
          </p:cNvSpPr>
          <p:nvPr/>
        </p:nvSpPr>
        <p:spPr bwMode="auto">
          <a:xfrm>
            <a:off x="6133334" y="3625581"/>
            <a:ext cx="1206628" cy="1042359"/>
          </a:xfrm>
          <a:custGeom>
            <a:avLst/>
            <a:gdLst>
              <a:gd name="T0" fmla="*/ 193 w 808"/>
              <a:gd name="T1" fmla="*/ 698 h 698"/>
              <a:gd name="T2" fmla="*/ 808 w 808"/>
              <a:gd name="T3" fmla="*/ 288 h 698"/>
              <a:gd name="T4" fmla="*/ 615 w 808"/>
              <a:gd name="T5" fmla="*/ 0 h 698"/>
              <a:gd name="T6" fmla="*/ 0 w 808"/>
              <a:gd name="T7" fmla="*/ 409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88"/>
                </a:lnTo>
                <a:lnTo>
                  <a:pt x="615" y="0"/>
                </a:lnTo>
                <a:lnTo>
                  <a:pt x="0" y="409"/>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Oval 55">
            <a:extLst>
              <a:ext uri="{FF2B5EF4-FFF2-40B4-BE49-F238E27FC236}">
                <a16:creationId xmlns:a16="http://schemas.microsoft.com/office/drawing/2014/main" id="{465A8D30-A005-410B-9A63-F8A7FD27B0A8}"/>
              </a:ext>
            </a:extLst>
          </p:cNvPr>
          <p:cNvSpPr>
            <a:spLocks noChangeArrowheads="1"/>
          </p:cNvSpPr>
          <p:nvPr/>
        </p:nvSpPr>
        <p:spPr bwMode="auto">
          <a:xfrm>
            <a:off x="5280630" y="3642008"/>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Oval 56">
            <a:extLst>
              <a:ext uri="{FF2B5EF4-FFF2-40B4-BE49-F238E27FC236}">
                <a16:creationId xmlns:a16="http://schemas.microsoft.com/office/drawing/2014/main" id="{CAAF6099-6F67-4565-BA91-EA822A7DC21C}"/>
              </a:ext>
            </a:extLst>
          </p:cNvPr>
          <p:cNvSpPr>
            <a:spLocks noChangeArrowheads="1"/>
          </p:cNvSpPr>
          <p:nvPr/>
        </p:nvSpPr>
        <p:spPr bwMode="auto">
          <a:xfrm>
            <a:off x="5326924" y="3688302"/>
            <a:ext cx="964706" cy="961718"/>
          </a:xfrm>
          <a:prstGeom prst="ellipse">
            <a:avLst/>
          </a:prstGeom>
          <a:solidFill>
            <a:srgbClr val="EE9E1F"/>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19">
            <a:extLst>
              <a:ext uri="{FF2B5EF4-FFF2-40B4-BE49-F238E27FC236}">
                <a16:creationId xmlns:a16="http://schemas.microsoft.com/office/drawing/2014/main" id="{A2E78E84-B01C-4AC9-A674-1C5AB48502FE}"/>
              </a:ext>
            </a:extLst>
          </p:cNvPr>
          <p:cNvSpPr>
            <a:spLocks/>
          </p:cNvSpPr>
          <p:nvPr/>
        </p:nvSpPr>
        <p:spPr bwMode="auto">
          <a:xfrm>
            <a:off x="4805744" y="4202016"/>
            <a:ext cx="1208122" cy="1042359"/>
          </a:xfrm>
          <a:custGeom>
            <a:avLst/>
            <a:gdLst>
              <a:gd name="T0" fmla="*/ 615 w 809"/>
              <a:gd name="T1" fmla="*/ 698 h 698"/>
              <a:gd name="T2" fmla="*/ 0 w 809"/>
              <a:gd name="T3" fmla="*/ 288 h 698"/>
              <a:gd name="T4" fmla="*/ 194 w 809"/>
              <a:gd name="T5" fmla="*/ 0 h 698"/>
              <a:gd name="T6" fmla="*/ 809 w 809"/>
              <a:gd name="T7" fmla="*/ 408 h 698"/>
              <a:gd name="T8" fmla="*/ 615 w 809"/>
              <a:gd name="T9" fmla="*/ 698 h 698"/>
            </a:gdLst>
            <a:ahLst/>
            <a:cxnLst>
              <a:cxn ang="0">
                <a:pos x="T0" y="T1"/>
              </a:cxn>
              <a:cxn ang="0">
                <a:pos x="T2" y="T3"/>
              </a:cxn>
              <a:cxn ang="0">
                <a:pos x="T4" y="T5"/>
              </a:cxn>
              <a:cxn ang="0">
                <a:pos x="T6" y="T7"/>
              </a:cxn>
              <a:cxn ang="0">
                <a:pos x="T8" y="T9"/>
              </a:cxn>
            </a:cxnLst>
            <a:rect l="0" t="0" r="r" b="b"/>
            <a:pathLst>
              <a:path w="809" h="698">
                <a:moveTo>
                  <a:pt x="615" y="698"/>
                </a:moveTo>
                <a:lnTo>
                  <a:pt x="0" y="288"/>
                </a:lnTo>
                <a:lnTo>
                  <a:pt x="194" y="0"/>
                </a:lnTo>
                <a:lnTo>
                  <a:pt x="809" y="408"/>
                </a:lnTo>
                <a:lnTo>
                  <a:pt x="615" y="698"/>
                </a:lnTo>
                <a:close/>
              </a:path>
            </a:pathLst>
          </a:custGeom>
          <a:solidFill>
            <a:schemeClr val="bg1"/>
          </a:solidFill>
          <a:ln>
            <a:noFill/>
          </a:ln>
          <a:effectLst>
            <a:outerShdw blurRad="38100" dist="50800" dir="18900000" sx="97000" sy="97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Oval 58">
            <a:extLst>
              <a:ext uri="{FF2B5EF4-FFF2-40B4-BE49-F238E27FC236}">
                <a16:creationId xmlns:a16="http://schemas.microsoft.com/office/drawing/2014/main" id="{68A79D3F-12F7-4AB5-A932-BC986829A00A}"/>
              </a:ext>
            </a:extLst>
          </p:cNvPr>
          <p:cNvSpPr>
            <a:spLocks noChangeArrowheads="1"/>
          </p:cNvSpPr>
          <p:nvPr/>
        </p:nvSpPr>
        <p:spPr bwMode="auto">
          <a:xfrm>
            <a:off x="5809277" y="4051185"/>
            <a:ext cx="1055800" cy="1055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Oval 59">
            <a:extLst>
              <a:ext uri="{FF2B5EF4-FFF2-40B4-BE49-F238E27FC236}">
                <a16:creationId xmlns:a16="http://schemas.microsoft.com/office/drawing/2014/main" id="{5CF96E98-137C-42DE-AC0C-E55340AAD3AF}"/>
              </a:ext>
            </a:extLst>
          </p:cNvPr>
          <p:cNvSpPr>
            <a:spLocks noChangeArrowheads="1"/>
          </p:cNvSpPr>
          <p:nvPr/>
        </p:nvSpPr>
        <p:spPr bwMode="auto">
          <a:xfrm>
            <a:off x="5855571" y="4098974"/>
            <a:ext cx="963212" cy="960225"/>
          </a:xfrm>
          <a:prstGeom prst="ellipse">
            <a:avLst/>
          </a:prstGeom>
          <a:solidFill>
            <a:srgbClr val="4C4666"/>
          </a:solidFill>
          <a:ln>
            <a:noFill/>
          </a:ln>
          <a:effectLst>
            <a:innerShdw blurRad="635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Freeform 22">
            <a:extLst>
              <a:ext uri="{FF2B5EF4-FFF2-40B4-BE49-F238E27FC236}">
                <a16:creationId xmlns:a16="http://schemas.microsoft.com/office/drawing/2014/main" id="{9403B6BC-A948-4E9E-AD8C-5DB52B326278}"/>
              </a:ext>
            </a:extLst>
          </p:cNvPr>
          <p:cNvSpPr>
            <a:spLocks/>
          </p:cNvSpPr>
          <p:nvPr/>
        </p:nvSpPr>
        <p:spPr bwMode="auto">
          <a:xfrm>
            <a:off x="6133334" y="4611193"/>
            <a:ext cx="1206628" cy="1042359"/>
          </a:xfrm>
          <a:custGeom>
            <a:avLst/>
            <a:gdLst>
              <a:gd name="T0" fmla="*/ 193 w 808"/>
              <a:gd name="T1" fmla="*/ 698 h 698"/>
              <a:gd name="T2" fmla="*/ 808 w 808"/>
              <a:gd name="T3" fmla="*/ 290 h 698"/>
              <a:gd name="T4" fmla="*/ 615 w 808"/>
              <a:gd name="T5" fmla="*/ 0 h 698"/>
              <a:gd name="T6" fmla="*/ 0 w 808"/>
              <a:gd name="T7" fmla="*/ 410 h 698"/>
              <a:gd name="T8" fmla="*/ 193 w 808"/>
              <a:gd name="T9" fmla="*/ 698 h 698"/>
            </a:gdLst>
            <a:ahLst/>
            <a:cxnLst>
              <a:cxn ang="0">
                <a:pos x="T0" y="T1"/>
              </a:cxn>
              <a:cxn ang="0">
                <a:pos x="T2" y="T3"/>
              </a:cxn>
              <a:cxn ang="0">
                <a:pos x="T4" y="T5"/>
              </a:cxn>
              <a:cxn ang="0">
                <a:pos x="T6" y="T7"/>
              </a:cxn>
              <a:cxn ang="0">
                <a:pos x="T8" y="T9"/>
              </a:cxn>
            </a:cxnLst>
            <a:rect l="0" t="0" r="r" b="b"/>
            <a:pathLst>
              <a:path w="808" h="698">
                <a:moveTo>
                  <a:pt x="193" y="698"/>
                </a:moveTo>
                <a:lnTo>
                  <a:pt x="808" y="290"/>
                </a:lnTo>
                <a:lnTo>
                  <a:pt x="615" y="0"/>
                </a:lnTo>
                <a:lnTo>
                  <a:pt x="0" y="410"/>
                </a:lnTo>
                <a:lnTo>
                  <a:pt x="193" y="698"/>
                </a:lnTo>
                <a:close/>
              </a:path>
            </a:pathLst>
          </a:custGeom>
          <a:solidFill>
            <a:schemeClr val="bg1"/>
          </a:solidFill>
          <a:ln>
            <a:noFill/>
          </a:ln>
          <a:effectLst>
            <a:outerShdw blurRad="38100" dist="50800" dir="13500000" sx="97000" sy="97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Oval 61">
            <a:extLst>
              <a:ext uri="{FF2B5EF4-FFF2-40B4-BE49-F238E27FC236}">
                <a16:creationId xmlns:a16="http://schemas.microsoft.com/office/drawing/2014/main" id="{BA3FD617-638F-434B-8D22-A972A127BC89}"/>
              </a:ext>
            </a:extLst>
          </p:cNvPr>
          <p:cNvSpPr>
            <a:spLocks noChangeArrowheads="1"/>
          </p:cNvSpPr>
          <p:nvPr/>
        </p:nvSpPr>
        <p:spPr bwMode="auto">
          <a:xfrm>
            <a:off x="5280630" y="4627619"/>
            <a:ext cx="1057293" cy="10543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Oval 62">
            <a:extLst>
              <a:ext uri="{FF2B5EF4-FFF2-40B4-BE49-F238E27FC236}">
                <a16:creationId xmlns:a16="http://schemas.microsoft.com/office/drawing/2014/main" id="{59A6D871-B316-47EF-AC76-319A46C9D43C}"/>
              </a:ext>
            </a:extLst>
          </p:cNvPr>
          <p:cNvSpPr>
            <a:spLocks noChangeArrowheads="1"/>
          </p:cNvSpPr>
          <p:nvPr/>
        </p:nvSpPr>
        <p:spPr bwMode="auto">
          <a:xfrm>
            <a:off x="5326924" y="4673914"/>
            <a:ext cx="964706" cy="961718"/>
          </a:xfrm>
          <a:prstGeom prst="ellipse">
            <a:avLst/>
          </a:prstGeom>
          <a:solidFill>
            <a:srgbClr val="B74810"/>
          </a:solidFill>
          <a:ln>
            <a:noFill/>
          </a:ln>
          <a:effectLst>
            <a:innerShdw blurRad="63500" dist="50800" dir="135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TextBox 63">
            <a:extLst>
              <a:ext uri="{FF2B5EF4-FFF2-40B4-BE49-F238E27FC236}">
                <a16:creationId xmlns:a16="http://schemas.microsoft.com/office/drawing/2014/main" id="{1FD13C3B-BBF7-4932-BDC0-00005614762F}"/>
              </a:ext>
            </a:extLst>
          </p:cNvPr>
          <p:cNvSpPr txBox="1"/>
          <p:nvPr/>
        </p:nvSpPr>
        <p:spPr>
          <a:xfrm>
            <a:off x="7190625" y="3497906"/>
            <a:ext cx="3503393"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Enhancing the consistency and standardization of working with data across organizational boundaries</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46" name="TextBox 64">
            <a:extLst>
              <a:ext uri="{FF2B5EF4-FFF2-40B4-BE49-F238E27FC236}">
                <a16:creationId xmlns:a16="http://schemas.microsoft.com/office/drawing/2014/main" id="{D6304F27-7DAB-47C4-B128-63D9D0D4A1BE}"/>
              </a:ext>
            </a:extLst>
          </p:cNvPr>
          <p:cNvSpPr txBox="1"/>
          <p:nvPr/>
        </p:nvSpPr>
        <p:spPr>
          <a:xfrm>
            <a:off x="7190628" y="3281248"/>
            <a:ext cx="146271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94F50"/>
                </a:solidFill>
                <a:effectLst/>
                <a:uLnTx/>
                <a:uFillTx/>
                <a:latin typeface="Arial" panose="020B0604020202020204"/>
                <a:ea typeface="+mn-ea"/>
                <a:cs typeface="+mn-cs"/>
              </a:rPr>
              <a:t>Consistency</a:t>
            </a:r>
          </a:p>
        </p:txBody>
      </p:sp>
      <p:sp>
        <p:nvSpPr>
          <p:cNvPr id="48" name="TextBox 65">
            <a:extLst>
              <a:ext uri="{FF2B5EF4-FFF2-40B4-BE49-F238E27FC236}">
                <a16:creationId xmlns:a16="http://schemas.microsoft.com/office/drawing/2014/main" id="{8A99C917-FE19-4FCA-BD26-DB43B2925C07}"/>
              </a:ext>
            </a:extLst>
          </p:cNvPr>
          <p:cNvSpPr txBox="1"/>
          <p:nvPr/>
        </p:nvSpPr>
        <p:spPr>
          <a:xfrm>
            <a:off x="7190626" y="4527731"/>
            <a:ext cx="3503391" cy="276999"/>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Reducing risk of data leakage and misuse of data. </a:t>
            </a: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0" name="TextBox 66">
            <a:extLst>
              <a:ext uri="{FF2B5EF4-FFF2-40B4-BE49-F238E27FC236}">
                <a16:creationId xmlns:a16="http://schemas.microsoft.com/office/drawing/2014/main" id="{B7B0516B-233A-44CE-9530-31FE87B66FB5}"/>
              </a:ext>
            </a:extLst>
          </p:cNvPr>
          <p:cNvSpPr txBox="1"/>
          <p:nvPr/>
        </p:nvSpPr>
        <p:spPr>
          <a:xfrm>
            <a:off x="7190628" y="4289926"/>
            <a:ext cx="146271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C4666"/>
                </a:solidFill>
                <a:effectLst/>
                <a:uLnTx/>
                <a:uFillTx/>
                <a:latin typeface="Arial" panose="020B0604020202020204"/>
                <a:ea typeface="+mn-ea"/>
                <a:cs typeface="+mn-cs"/>
              </a:rPr>
              <a:t>Reduce Risk</a:t>
            </a:r>
          </a:p>
        </p:txBody>
      </p:sp>
      <p:sp>
        <p:nvSpPr>
          <p:cNvPr id="52" name="TextBox 67">
            <a:extLst>
              <a:ext uri="{FF2B5EF4-FFF2-40B4-BE49-F238E27FC236}">
                <a16:creationId xmlns:a16="http://schemas.microsoft.com/office/drawing/2014/main" id="{60B0846C-1B00-4EE3-8EB3-42EF78AAD458}"/>
              </a:ext>
            </a:extLst>
          </p:cNvPr>
          <p:cNvSpPr txBox="1"/>
          <p:nvPr/>
        </p:nvSpPr>
        <p:spPr>
          <a:xfrm>
            <a:off x="2025183" y="5074212"/>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Meeting regulatory, industry, and internal requirements for the proper use of data.</a:t>
            </a:r>
          </a:p>
        </p:txBody>
      </p:sp>
      <p:sp>
        <p:nvSpPr>
          <p:cNvPr id="54" name="TextBox 68">
            <a:extLst>
              <a:ext uri="{FF2B5EF4-FFF2-40B4-BE49-F238E27FC236}">
                <a16:creationId xmlns:a16="http://schemas.microsoft.com/office/drawing/2014/main" id="{B2D0CD93-BA85-4F38-9EE9-423C9159DEF7}"/>
              </a:ext>
            </a:extLst>
          </p:cNvPr>
          <p:cNvSpPr txBox="1"/>
          <p:nvPr/>
        </p:nvSpPr>
        <p:spPr>
          <a:xfrm>
            <a:off x="3122342" y="4870810"/>
            <a:ext cx="1842516"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74810"/>
                </a:solidFill>
                <a:effectLst/>
                <a:uLnTx/>
                <a:uFillTx/>
                <a:latin typeface="Arial" panose="020B0604020202020204"/>
                <a:ea typeface="+mn-ea"/>
                <a:cs typeface="+mn-cs"/>
              </a:rPr>
              <a:t>Meet Requirements</a:t>
            </a:r>
          </a:p>
        </p:txBody>
      </p:sp>
      <p:sp>
        <p:nvSpPr>
          <p:cNvPr id="56" name="TextBox 69">
            <a:extLst>
              <a:ext uri="{FF2B5EF4-FFF2-40B4-BE49-F238E27FC236}">
                <a16:creationId xmlns:a16="http://schemas.microsoft.com/office/drawing/2014/main" id="{2406711D-196D-4441-8892-513AB8BDB12D}"/>
              </a:ext>
            </a:extLst>
          </p:cNvPr>
          <p:cNvSpPr txBox="1"/>
          <p:nvPr/>
        </p:nvSpPr>
        <p:spPr>
          <a:xfrm>
            <a:off x="7190626" y="2425787"/>
            <a:ext cx="3503394" cy="646331"/>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Improving the user experience by providing clear and transparent guidance (with minimal friction) on what actions are permitted, why, and how</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58" name="TextBox 70">
            <a:extLst>
              <a:ext uri="{FF2B5EF4-FFF2-40B4-BE49-F238E27FC236}">
                <a16:creationId xmlns:a16="http://schemas.microsoft.com/office/drawing/2014/main" id="{9B4D2AEE-8A77-4A1C-8E68-FF617907E3BA}"/>
              </a:ext>
            </a:extLst>
          </p:cNvPr>
          <p:cNvSpPr txBox="1"/>
          <p:nvPr/>
        </p:nvSpPr>
        <p:spPr>
          <a:xfrm>
            <a:off x="7190628" y="2221434"/>
            <a:ext cx="1278458" cy="307777"/>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C92B3"/>
                </a:solidFill>
                <a:effectLst/>
                <a:uLnTx/>
                <a:uFillTx/>
                <a:latin typeface="Arial" panose="020B0604020202020204"/>
                <a:ea typeface="+mn-ea"/>
                <a:cs typeface="+mn-cs"/>
              </a:rPr>
              <a:t>Guidance</a:t>
            </a:r>
          </a:p>
        </p:txBody>
      </p:sp>
      <p:sp>
        <p:nvSpPr>
          <p:cNvPr id="60" name="TextBox 71">
            <a:extLst>
              <a:ext uri="{FF2B5EF4-FFF2-40B4-BE49-F238E27FC236}">
                <a16:creationId xmlns:a16="http://schemas.microsoft.com/office/drawing/2014/main" id="{711628A7-488C-4A5E-B97D-5A80BF12180A}"/>
              </a:ext>
            </a:extLst>
          </p:cNvPr>
          <p:cNvSpPr txBox="1"/>
          <p:nvPr/>
        </p:nvSpPr>
        <p:spPr>
          <a:xfrm>
            <a:off x="2025182" y="1999019"/>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mpowering people throughout the organization to use data and make decisions, within the defined boundaries.</a:t>
            </a:r>
          </a:p>
        </p:txBody>
      </p:sp>
      <p:sp>
        <p:nvSpPr>
          <p:cNvPr id="62" name="TextBox 72">
            <a:extLst>
              <a:ext uri="{FF2B5EF4-FFF2-40B4-BE49-F238E27FC236}">
                <a16:creationId xmlns:a16="http://schemas.microsoft.com/office/drawing/2014/main" id="{1167AA12-9DE6-40A5-9550-991A812BB384}"/>
              </a:ext>
            </a:extLst>
          </p:cNvPr>
          <p:cNvSpPr txBox="1"/>
          <p:nvPr/>
        </p:nvSpPr>
        <p:spPr>
          <a:xfrm>
            <a:off x="3228180" y="1783312"/>
            <a:ext cx="1736678"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2506B"/>
                </a:solidFill>
                <a:effectLst/>
                <a:uLnTx/>
                <a:uFillTx/>
                <a:latin typeface="Arial" panose="020B0604020202020204"/>
                <a:ea typeface="+mn-ea"/>
                <a:cs typeface="+mn-cs"/>
              </a:rPr>
              <a:t>Empowerment</a:t>
            </a:r>
          </a:p>
        </p:txBody>
      </p:sp>
      <p:sp>
        <p:nvSpPr>
          <p:cNvPr id="64" name="TextBox 73">
            <a:extLst>
              <a:ext uri="{FF2B5EF4-FFF2-40B4-BE49-F238E27FC236}">
                <a16:creationId xmlns:a16="http://schemas.microsoft.com/office/drawing/2014/main" id="{E21A6155-2054-45ED-B4AB-E6D2F771B6B5}"/>
              </a:ext>
            </a:extLst>
          </p:cNvPr>
          <p:cNvSpPr txBox="1"/>
          <p:nvPr/>
        </p:nvSpPr>
        <p:spPr>
          <a:xfrm>
            <a:off x="2025182" y="2983532"/>
            <a:ext cx="2939674" cy="64633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Ensuring that the data usage is appropriate for the needs of the business.</a:t>
            </a:r>
          </a:p>
        </p:txBody>
      </p:sp>
      <p:sp>
        <p:nvSpPr>
          <p:cNvPr id="66" name="TextBox 74">
            <a:extLst>
              <a:ext uri="{FF2B5EF4-FFF2-40B4-BE49-F238E27FC236}">
                <a16:creationId xmlns:a16="http://schemas.microsoft.com/office/drawing/2014/main" id="{9E90A8EC-9C17-4D09-98C8-09E0C0506884}"/>
              </a:ext>
            </a:extLst>
          </p:cNvPr>
          <p:cNvSpPr txBox="1"/>
          <p:nvPr/>
        </p:nvSpPr>
        <p:spPr>
          <a:xfrm>
            <a:off x="2779276" y="2780131"/>
            <a:ext cx="2185582"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25F4C"/>
                </a:solidFill>
                <a:effectLst/>
                <a:uLnTx/>
                <a:uFillTx/>
                <a:latin typeface="Arial" panose="020B0604020202020204"/>
                <a:ea typeface="+mn-ea"/>
                <a:cs typeface="+mn-cs"/>
              </a:rPr>
              <a:t>Appropriate Data Use</a:t>
            </a:r>
          </a:p>
        </p:txBody>
      </p:sp>
      <p:sp>
        <p:nvSpPr>
          <p:cNvPr id="68" name="TextBox 75">
            <a:extLst>
              <a:ext uri="{FF2B5EF4-FFF2-40B4-BE49-F238E27FC236}">
                <a16:creationId xmlns:a16="http://schemas.microsoft.com/office/drawing/2014/main" id="{6BC47AF7-36C6-4426-8FC0-C0333BBD4752}"/>
              </a:ext>
            </a:extLst>
          </p:cNvPr>
          <p:cNvSpPr txBox="1"/>
          <p:nvPr/>
        </p:nvSpPr>
        <p:spPr>
          <a:xfrm>
            <a:off x="2025183" y="4032134"/>
            <a:ext cx="2939674" cy="461665"/>
          </a:xfrm>
          <a:prstGeom prst="rect">
            <a:avLst/>
          </a:prstGeom>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71717"/>
                </a:solidFill>
                <a:effectLst/>
                <a:uLnTx/>
                <a:uFillTx/>
                <a:latin typeface="Segoe UI"/>
                <a:ea typeface="+mn-ea"/>
                <a:cs typeface="+mn-cs"/>
              </a:rPr>
              <a:t>Ensuring that data ownership and stewardship responsibilities are clear</a:t>
            </a:r>
            <a:r>
              <a:rPr kumimoji="0" lang="en-IN" sz="1200" b="0" i="0" u="none" strike="noStrike" kern="1200" cap="none" spc="0" normalizeH="0" baseline="0" noProof="0">
                <a:ln>
                  <a:noFill/>
                </a:ln>
                <a:solidFill>
                  <a:prstClr val="white">
                    <a:lumMod val="50000"/>
                  </a:prstClr>
                </a:solidFill>
                <a:effectLst/>
                <a:uLnTx/>
                <a:uFillTx/>
                <a:latin typeface="Segoe UI"/>
                <a:ea typeface="+mn-ea"/>
                <a:cs typeface="+mn-cs"/>
              </a:rPr>
              <a:t>. </a:t>
            </a:r>
            <a:endParaRPr kumimoji="0" lang="en-US" sz="1200" b="0" i="0" u="none" strike="noStrike" kern="1200" cap="none" spc="0" normalizeH="0" baseline="0" noProof="0">
              <a:ln>
                <a:noFill/>
              </a:ln>
              <a:solidFill>
                <a:prstClr val="white">
                  <a:lumMod val="50000"/>
                </a:prstClr>
              </a:solidFill>
              <a:effectLst/>
              <a:uLnTx/>
              <a:uFillTx/>
              <a:latin typeface="Segoe UI"/>
              <a:ea typeface="+mn-ea"/>
              <a:cs typeface="+mn-cs"/>
            </a:endParaRPr>
          </a:p>
        </p:txBody>
      </p:sp>
      <p:sp>
        <p:nvSpPr>
          <p:cNvPr id="70" name="TextBox 76">
            <a:extLst>
              <a:ext uri="{FF2B5EF4-FFF2-40B4-BE49-F238E27FC236}">
                <a16:creationId xmlns:a16="http://schemas.microsoft.com/office/drawing/2014/main" id="{AE7E7665-0A1D-47C2-835A-26D0AE96471A}"/>
              </a:ext>
            </a:extLst>
          </p:cNvPr>
          <p:cNvSpPr txBox="1"/>
          <p:nvPr/>
        </p:nvSpPr>
        <p:spPr>
          <a:xfrm>
            <a:off x="1926574" y="3817580"/>
            <a:ext cx="3038283" cy="307777"/>
          </a:xfrm>
          <a:prstGeom prst="rect">
            <a:avLst/>
          </a:prstGeom>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9E1F"/>
                </a:solidFill>
                <a:effectLst/>
                <a:uLnTx/>
                <a:uFillTx/>
                <a:latin typeface="Arial" panose="020B0604020202020204"/>
                <a:ea typeface="+mn-ea"/>
                <a:cs typeface="+mn-cs"/>
              </a:rPr>
              <a:t>Ownership &amp; Stewardship</a:t>
            </a:r>
          </a:p>
        </p:txBody>
      </p:sp>
      <p:sp>
        <p:nvSpPr>
          <p:cNvPr id="72" name="Shape 2617">
            <a:extLst>
              <a:ext uri="{FF2B5EF4-FFF2-40B4-BE49-F238E27FC236}">
                <a16:creationId xmlns:a16="http://schemas.microsoft.com/office/drawing/2014/main" id="{BF126BC2-64F1-433A-9233-529E46A12CDF}"/>
              </a:ext>
            </a:extLst>
          </p:cNvPr>
          <p:cNvSpPr/>
          <p:nvPr/>
        </p:nvSpPr>
        <p:spPr>
          <a:xfrm>
            <a:off x="5585392" y="1950498"/>
            <a:ext cx="306080" cy="250456"/>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4" name="Shape 2554">
            <a:extLst>
              <a:ext uri="{FF2B5EF4-FFF2-40B4-BE49-F238E27FC236}">
                <a16:creationId xmlns:a16="http://schemas.microsoft.com/office/drawing/2014/main" id="{9FDB8070-43DD-41EC-86D7-A970F32480A0}"/>
              </a:ext>
            </a:extLst>
          </p:cNvPr>
          <p:cNvSpPr/>
          <p:nvPr/>
        </p:nvSpPr>
        <p:spPr>
          <a:xfrm>
            <a:off x="6217399" y="2376620"/>
            <a:ext cx="306080" cy="278255"/>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6" name="Shape 2597">
            <a:extLst>
              <a:ext uri="{FF2B5EF4-FFF2-40B4-BE49-F238E27FC236}">
                <a16:creationId xmlns:a16="http://schemas.microsoft.com/office/drawing/2014/main" id="{83804669-8066-4DB2-9636-34E1CB7A335E}"/>
              </a:ext>
            </a:extLst>
          </p:cNvPr>
          <p:cNvSpPr/>
          <p:nvPr/>
        </p:nvSpPr>
        <p:spPr>
          <a:xfrm>
            <a:off x="5574999" y="2979544"/>
            <a:ext cx="306080" cy="250429"/>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78" name="Shape 2533">
            <a:extLst>
              <a:ext uri="{FF2B5EF4-FFF2-40B4-BE49-F238E27FC236}">
                <a16:creationId xmlns:a16="http://schemas.microsoft.com/office/drawing/2014/main" id="{8ED55898-4425-4EA6-A41A-B998CC30B18E}"/>
              </a:ext>
            </a:extLst>
          </p:cNvPr>
          <p:cNvSpPr/>
          <p:nvPr/>
        </p:nvSpPr>
        <p:spPr>
          <a:xfrm>
            <a:off x="6225857" y="3379264"/>
            <a:ext cx="250429" cy="306080"/>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0" name="Shape 2563">
            <a:extLst>
              <a:ext uri="{FF2B5EF4-FFF2-40B4-BE49-F238E27FC236}">
                <a16:creationId xmlns:a16="http://schemas.microsoft.com/office/drawing/2014/main" id="{D8E004AB-C8E4-4CFC-9DBF-80B533BFD810}"/>
              </a:ext>
            </a:extLst>
          </p:cNvPr>
          <p:cNvSpPr/>
          <p:nvPr/>
        </p:nvSpPr>
        <p:spPr>
          <a:xfrm>
            <a:off x="5596057" y="3950201"/>
            <a:ext cx="306080" cy="306080"/>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2" name="Shape 2603">
            <a:extLst>
              <a:ext uri="{FF2B5EF4-FFF2-40B4-BE49-F238E27FC236}">
                <a16:creationId xmlns:a16="http://schemas.microsoft.com/office/drawing/2014/main" id="{B61C0F91-390E-4AC9-8788-A41D26F3D48F}"/>
              </a:ext>
            </a:extLst>
          </p:cNvPr>
          <p:cNvSpPr/>
          <p:nvPr/>
        </p:nvSpPr>
        <p:spPr>
          <a:xfrm>
            <a:off x="6196759" y="4385953"/>
            <a:ext cx="306080" cy="278255"/>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
        <p:nvSpPr>
          <p:cNvPr id="84" name="Shape 2618">
            <a:extLst>
              <a:ext uri="{FF2B5EF4-FFF2-40B4-BE49-F238E27FC236}">
                <a16:creationId xmlns:a16="http://schemas.microsoft.com/office/drawing/2014/main" id="{DBBD7016-A8B1-44B2-815F-910D68CDDFFE}"/>
              </a:ext>
            </a:extLst>
          </p:cNvPr>
          <p:cNvSpPr/>
          <p:nvPr/>
        </p:nvSpPr>
        <p:spPr>
          <a:xfrm>
            <a:off x="5651111" y="5007251"/>
            <a:ext cx="306050" cy="306094"/>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Raleway" panose="020B0503030101060003" pitchFamily="34" charset="0"/>
              <a:ea typeface="Gill Sans"/>
              <a:cs typeface="Gill Sans"/>
              <a:sym typeface="Gill Sans"/>
            </a:endParaRPr>
          </a:p>
        </p:txBody>
      </p:sp>
    </p:spTree>
    <p:extLst>
      <p:ext uri="{BB962C8B-B14F-4D97-AF65-F5344CB8AC3E}">
        <p14:creationId xmlns:p14="http://schemas.microsoft.com/office/powerpoint/2010/main" val="14137039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278" y="1521693"/>
            <a:ext cx="4946832" cy="2358572"/>
          </a:xfrm>
        </p:spPr>
        <p:txBody>
          <a:bodyPr/>
          <a:lstStyle/>
          <a:p>
            <a:r>
              <a:rPr lang="en-GB"/>
              <a:t>Important Considerations</a:t>
            </a:r>
          </a:p>
        </p:txBody>
      </p:sp>
      <p:sp>
        <p:nvSpPr>
          <p:cNvPr id="5" name="TextBox 4"/>
          <p:cNvSpPr txBox="1"/>
          <p:nvPr/>
        </p:nvSpPr>
        <p:spPr>
          <a:xfrm>
            <a:off x="246581" y="3880265"/>
            <a:ext cx="4993240"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2C811"/>
                </a:solidFill>
                <a:effectLst/>
                <a:uLnTx/>
                <a:uFillTx/>
                <a:latin typeface="Segoe UI"/>
                <a:ea typeface="+mn-ea"/>
                <a:cs typeface="+mn-cs"/>
              </a:rPr>
              <a:t>If you don’t decide upfront, someone else will later</a:t>
            </a:r>
            <a:endParaRPr kumimoji="0" lang="en-GB" sz="2000" b="0" i="0" u="none" strike="noStrike" kern="1200" cap="none" spc="0" normalizeH="0" baseline="0" noProof="0" err="1">
              <a:ln>
                <a:noFill/>
              </a:ln>
              <a:solidFill>
                <a:srgbClr val="F2C811"/>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93DC7CCC-12A9-4C44-BFE6-9F6777685631}"/>
              </a:ext>
            </a:extLst>
          </p:cNvPr>
          <p:cNvSpPr/>
          <p:nvPr/>
        </p:nvSpPr>
        <p:spPr>
          <a:xfrm>
            <a:off x="6696000" y="543606"/>
            <a:ext cx="5804799" cy="5756388"/>
          </a:xfrm>
          <a:prstGeom prst="rect">
            <a:avLst/>
          </a:prstGeom>
        </p:spPr>
        <p:txBody>
          <a:bodyPr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ecure data uploaded to the servic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ublish data to the entire organis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Share content to external user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Publish to web</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Custom visual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a:ea typeface="+mn-ea"/>
                <a:cs typeface="+mn-cs"/>
              </a:rPr>
              <a:t>Audit logs</a:t>
            </a:r>
          </a:p>
        </p:txBody>
      </p:sp>
      <p:pic>
        <p:nvPicPr>
          <p:cNvPr id="7" name="Graphic 6" descr="Lock">
            <a:extLst>
              <a:ext uri="{FF2B5EF4-FFF2-40B4-BE49-F238E27FC236}">
                <a16:creationId xmlns:a16="http://schemas.microsoft.com/office/drawing/2014/main" id="{DC02CA21-5BDD-4C85-B4B6-4BE45418B8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32479" y="251402"/>
            <a:ext cx="914400" cy="914400"/>
          </a:xfrm>
          <a:prstGeom prst="rect">
            <a:avLst/>
          </a:prstGeom>
        </p:spPr>
      </p:pic>
      <p:pic>
        <p:nvPicPr>
          <p:cNvPr id="9" name="Graphic 8" descr="Group">
            <a:extLst>
              <a:ext uri="{FF2B5EF4-FFF2-40B4-BE49-F238E27FC236}">
                <a16:creationId xmlns:a16="http://schemas.microsoft.com/office/drawing/2014/main" id="{A9F2F89A-4378-4739-A85F-804EC0D1E3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32479" y="1360148"/>
            <a:ext cx="914400" cy="914400"/>
          </a:xfrm>
          <a:prstGeom prst="rect">
            <a:avLst/>
          </a:prstGeom>
        </p:spPr>
      </p:pic>
      <p:pic>
        <p:nvPicPr>
          <p:cNvPr id="11" name="Graphic 10" descr="Send">
            <a:extLst>
              <a:ext uri="{FF2B5EF4-FFF2-40B4-BE49-F238E27FC236}">
                <a16:creationId xmlns:a16="http://schemas.microsoft.com/office/drawing/2014/main" id="{4E7721F9-C789-4255-AF66-F83CBAC864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32479" y="2507400"/>
            <a:ext cx="914400" cy="914400"/>
          </a:xfrm>
          <a:prstGeom prst="rect">
            <a:avLst/>
          </a:prstGeom>
        </p:spPr>
      </p:pic>
      <p:pic>
        <p:nvPicPr>
          <p:cNvPr id="15" name="Graphic 14" descr="World">
            <a:extLst>
              <a:ext uri="{FF2B5EF4-FFF2-40B4-BE49-F238E27FC236}">
                <a16:creationId xmlns:a16="http://schemas.microsoft.com/office/drawing/2014/main" id="{86F5E161-2234-48F5-B0B4-BBC7A83344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2479" y="3570603"/>
            <a:ext cx="914400" cy="914400"/>
          </a:xfrm>
          <a:prstGeom prst="rect">
            <a:avLst/>
          </a:prstGeom>
        </p:spPr>
      </p:pic>
      <p:pic>
        <p:nvPicPr>
          <p:cNvPr id="21" name="Graphic 20" descr="Network">
            <a:extLst>
              <a:ext uri="{FF2B5EF4-FFF2-40B4-BE49-F238E27FC236}">
                <a16:creationId xmlns:a16="http://schemas.microsoft.com/office/drawing/2014/main" id="{E6652B37-7B4F-430A-8890-C950AEF733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32479" y="4636200"/>
            <a:ext cx="914400" cy="914400"/>
          </a:xfrm>
          <a:prstGeom prst="rect">
            <a:avLst/>
          </a:prstGeom>
        </p:spPr>
      </p:pic>
      <p:pic>
        <p:nvPicPr>
          <p:cNvPr id="23" name="Graphic 22" descr="No sign">
            <a:extLst>
              <a:ext uri="{FF2B5EF4-FFF2-40B4-BE49-F238E27FC236}">
                <a16:creationId xmlns:a16="http://schemas.microsoft.com/office/drawing/2014/main" id="{FCC374DF-121B-458D-8112-A7776D4C1B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32479" y="5701797"/>
            <a:ext cx="914400" cy="914400"/>
          </a:xfrm>
          <a:prstGeom prst="rect">
            <a:avLst/>
          </a:prstGeom>
        </p:spPr>
      </p:pic>
    </p:spTree>
    <p:custDataLst>
      <p:tags r:id="rId1"/>
    </p:custDataLst>
    <p:extLst>
      <p:ext uri="{BB962C8B-B14F-4D97-AF65-F5344CB8AC3E}">
        <p14:creationId xmlns:p14="http://schemas.microsoft.com/office/powerpoint/2010/main" val="318222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nodeType="withEffect">
                                  <p:stCondLst>
                                    <p:cond delay="0"/>
                                  </p:stCondLst>
                                  <p:childTnLst>
                                    <p:set>
                                      <p:cBhvr>
                                        <p:cTn id="49" dur="1" fill="hold">
                                          <p:stCondLst>
                                            <p:cond delay="0"/>
                                          </p:stCondLst>
                                        </p:cTn>
                                        <p:tgtEl>
                                          <p:spTgt spid="3">
                                            <p:txEl>
                                              <p:pRg st="10" end="10"/>
                                            </p:txEl>
                                          </p:spTgt>
                                        </p:tgtEl>
                                        <p:attrNameLst>
                                          <p:attrName>style.visibility</p:attrName>
                                        </p:attrNameLst>
                                      </p:cBhvr>
                                      <p:to>
                                        <p:strVal val="visible"/>
                                      </p:to>
                                    </p:set>
                                    <p:animEffect transition="in" filter="fade">
                                      <p:cBhvr>
                                        <p:cTn id="50"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573B26-3BFD-45BB-B91A-B3DC041EBF19}"/>
              </a:ext>
            </a:extLst>
          </p:cNvPr>
          <p:cNvSpPr>
            <a:spLocks noGrp="1"/>
          </p:cNvSpPr>
          <p:nvPr>
            <p:ph type="ctrTitle"/>
          </p:nvPr>
        </p:nvSpPr>
        <p:spPr/>
        <p:txBody>
          <a:bodyPr/>
          <a:lstStyle/>
          <a:p>
            <a:r>
              <a:rPr lang="de-DE" err="1"/>
              <a:t>PowerBI</a:t>
            </a:r>
            <a:r>
              <a:rPr lang="de-DE"/>
              <a:t> </a:t>
            </a:r>
            <a:r>
              <a:rPr lang="de-DE" err="1"/>
              <a:t>Governance</a:t>
            </a:r>
            <a:r>
              <a:rPr lang="de-DE"/>
              <a:t>:</a:t>
            </a:r>
            <a:br>
              <a:rPr lang="de-DE"/>
            </a:br>
            <a:r>
              <a:rPr lang="de-DE" err="1"/>
              <a:t>What</a:t>
            </a:r>
            <a:r>
              <a:rPr lang="de-DE"/>
              <a:t> Do </a:t>
            </a:r>
            <a:r>
              <a:rPr lang="de-DE" err="1"/>
              <a:t>We</a:t>
            </a:r>
            <a:r>
              <a:rPr lang="de-DE"/>
              <a:t> Need?</a:t>
            </a:r>
          </a:p>
        </p:txBody>
      </p:sp>
      <p:sp>
        <p:nvSpPr>
          <p:cNvPr id="3" name="Textplatzhalter 2">
            <a:extLst>
              <a:ext uri="{FF2B5EF4-FFF2-40B4-BE49-F238E27FC236}">
                <a16:creationId xmlns:a16="http://schemas.microsoft.com/office/drawing/2014/main" id="{D9DE668F-3110-4AA2-82C1-64DEFECFF086}"/>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0205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hat is your organisation’s current state of BI?</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technologies</a:t>
            </a:r>
          </a:p>
        </p:txBody>
      </p:sp>
    </p:spTree>
    <p:custDataLst>
      <p:tags r:id="rId2"/>
    </p:custDataLst>
    <p:extLst>
      <p:ext uri="{BB962C8B-B14F-4D97-AF65-F5344CB8AC3E}">
        <p14:creationId xmlns:p14="http://schemas.microsoft.com/office/powerpoint/2010/main" val="383257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gonal Stripe 7" hidden="1">
            <a:extLst>
              <a:ext uri="{FF2B5EF4-FFF2-40B4-BE49-F238E27FC236}">
                <a16:creationId xmlns:a16="http://schemas.microsoft.com/office/drawing/2014/main" id="{40C55D4B-92AB-434F-AB43-27FEBD77D00E}"/>
              </a:ext>
            </a:extLst>
          </p:cNvPr>
          <p:cNvSpPr/>
          <p:nvPr/>
        </p:nvSpPr>
        <p:spPr>
          <a:xfrm>
            <a:off x="3347884" y="2794820"/>
            <a:ext cx="8844116" cy="4060792"/>
          </a:xfrm>
          <a:prstGeom prst="diagStripe">
            <a:avLst>
              <a:gd name="adj" fmla="val 843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Rounded Rectangle 2">
            <a:extLst>
              <a:ext uri="{FF2B5EF4-FFF2-40B4-BE49-F238E27FC236}">
                <a16:creationId xmlns:a16="http://schemas.microsoft.com/office/drawing/2014/main" id="{DC1840CD-33D6-4981-BD23-9B41C665DE45}"/>
              </a:ext>
            </a:extLst>
          </p:cNvPr>
          <p:cNvSpPr/>
          <p:nvPr/>
        </p:nvSpPr>
        <p:spPr>
          <a:xfrm>
            <a:off x="680144" y="4334139"/>
            <a:ext cx="4810098" cy="2178634"/>
          </a:xfrm>
          <a:prstGeom prst="roundRect">
            <a:avLst>
              <a:gd name="adj" fmla="val 6999"/>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13601"/>
              </a:solidFill>
              <a:effectLst/>
              <a:uLnTx/>
              <a:uFillTx/>
              <a:latin typeface="Arial" panose="020B0604020202020204"/>
              <a:ea typeface="+mn-ea"/>
              <a:cs typeface="+mn-cs"/>
            </a:endParaRPr>
          </a:p>
        </p:txBody>
      </p:sp>
      <p:sp>
        <p:nvSpPr>
          <p:cNvPr id="1406" name="Rounded Rectangle 3">
            <a:extLst>
              <a:ext uri="{FF2B5EF4-FFF2-40B4-BE49-F238E27FC236}">
                <a16:creationId xmlns:a16="http://schemas.microsoft.com/office/drawing/2014/main" id="{EB1C868C-C5A0-441B-8D8C-C1AE30338EB0}"/>
              </a:ext>
            </a:extLst>
          </p:cNvPr>
          <p:cNvSpPr/>
          <p:nvPr/>
        </p:nvSpPr>
        <p:spPr>
          <a:xfrm>
            <a:off x="6381782" y="4334139"/>
            <a:ext cx="4810098" cy="2178634"/>
          </a:xfrm>
          <a:prstGeom prst="roundRect">
            <a:avLst>
              <a:gd name="adj" fmla="val 6999"/>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A50721"/>
              </a:solidFill>
              <a:effectLst/>
              <a:uLnTx/>
              <a:uFillTx/>
              <a:latin typeface="Arial" panose="020B0604020202020204"/>
              <a:ea typeface="+mn-ea"/>
              <a:cs typeface="+mn-cs"/>
            </a:endParaRPr>
          </a:p>
        </p:txBody>
      </p:sp>
      <p:sp>
        <p:nvSpPr>
          <p:cNvPr id="1407" name="Rounded Rectangle 4">
            <a:extLst>
              <a:ext uri="{FF2B5EF4-FFF2-40B4-BE49-F238E27FC236}">
                <a16:creationId xmlns:a16="http://schemas.microsoft.com/office/drawing/2014/main" id="{3B96FED1-821F-4A19-A05D-DFA8A9D5149D}"/>
              </a:ext>
            </a:extLst>
          </p:cNvPr>
          <p:cNvSpPr/>
          <p:nvPr/>
        </p:nvSpPr>
        <p:spPr>
          <a:xfrm>
            <a:off x="6381782" y="1407374"/>
            <a:ext cx="4810098" cy="2178634"/>
          </a:xfrm>
          <a:prstGeom prst="roundRect">
            <a:avLst>
              <a:gd name="adj" fmla="val 6999"/>
            </a:avLst>
          </a:prstGeom>
          <a:noFill/>
          <a:ln w="28575">
            <a:solidFill>
              <a:srgbClr val="4D4D4D">
                <a:alpha val="5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r"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281E32"/>
              </a:solidFill>
              <a:effectLst/>
              <a:uLnTx/>
              <a:uFillTx/>
              <a:latin typeface="Arial" panose="020B0604020202020204"/>
              <a:ea typeface="+mn-ea"/>
              <a:cs typeface="+mn-cs"/>
            </a:endParaRPr>
          </a:p>
        </p:txBody>
      </p:sp>
      <p:sp>
        <p:nvSpPr>
          <p:cNvPr id="1408" name="Rounded Rectangle 5">
            <a:extLst>
              <a:ext uri="{FF2B5EF4-FFF2-40B4-BE49-F238E27FC236}">
                <a16:creationId xmlns:a16="http://schemas.microsoft.com/office/drawing/2014/main" id="{A74599A6-941A-433D-AD55-D8AB256BEF7B}"/>
              </a:ext>
            </a:extLst>
          </p:cNvPr>
          <p:cNvSpPr/>
          <p:nvPr/>
        </p:nvSpPr>
        <p:spPr>
          <a:xfrm>
            <a:off x="680144" y="1407374"/>
            <a:ext cx="4810098" cy="2178634"/>
          </a:xfrm>
          <a:prstGeom prst="roundRect">
            <a:avLst>
              <a:gd name="adj" fmla="val 6999"/>
            </a:avLst>
          </a:prstGeom>
          <a:solidFill>
            <a:schemeClr val="bg1"/>
          </a:solidFill>
          <a:ln w="2857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marR="0" lvl="0" indent="-17621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74C042">
                  <a:lumMod val="50000"/>
                </a:srgbClr>
              </a:solidFill>
              <a:effectLst/>
              <a:uLnTx/>
              <a:uFillTx/>
              <a:latin typeface="Arial" panose="020B0604020202020204"/>
              <a:ea typeface="+mn-ea"/>
              <a:cs typeface="+mn-cs"/>
            </a:endParaRPr>
          </a:p>
        </p:txBody>
      </p:sp>
      <p:grpSp>
        <p:nvGrpSpPr>
          <p:cNvPr id="1409" name="Group 1408">
            <a:extLst>
              <a:ext uri="{FF2B5EF4-FFF2-40B4-BE49-F238E27FC236}">
                <a16:creationId xmlns:a16="http://schemas.microsoft.com/office/drawing/2014/main" id="{13EC091E-C7D8-4149-A3A2-871CAB6B6457}"/>
              </a:ext>
            </a:extLst>
          </p:cNvPr>
          <p:cNvGrpSpPr/>
          <p:nvPr/>
        </p:nvGrpSpPr>
        <p:grpSpPr>
          <a:xfrm>
            <a:off x="4153307" y="2154017"/>
            <a:ext cx="3535913" cy="3535912"/>
            <a:chOff x="4311707" y="2042044"/>
            <a:chExt cx="3535913" cy="3535912"/>
          </a:xfrm>
        </p:grpSpPr>
        <p:sp>
          <p:nvSpPr>
            <p:cNvPr id="1410" name="Pie 10">
              <a:extLst>
                <a:ext uri="{FF2B5EF4-FFF2-40B4-BE49-F238E27FC236}">
                  <a16:creationId xmlns:a16="http://schemas.microsoft.com/office/drawing/2014/main" id="{C1BC8FC6-C1B7-418D-A168-E93D066E2AE1}"/>
                </a:ext>
              </a:extLst>
            </p:cNvPr>
            <p:cNvSpPr/>
            <p:nvPr/>
          </p:nvSpPr>
          <p:spPr>
            <a:xfrm>
              <a:off x="4311709" y="2042044"/>
              <a:ext cx="3535911" cy="3535912"/>
            </a:xfrm>
            <a:prstGeom prst="pie">
              <a:avLst>
                <a:gd name="adj1" fmla="val 10802250"/>
                <a:gd name="adj2" fmla="val 1620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1" name="Pie 11">
              <a:extLst>
                <a:ext uri="{FF2B5EF4-FFF2-40B4-BE49-F238E27FC236}">
                  <a16:creationId xmlns:a16="http://schemas.microsoft.com/office/drawing/2014/main" id="{668BCD0F-A910-48F4-8629-FFF97719D912}"/>
                </a:ext>
              </a:extLst>
            </p:cNvPr>
            <p:cNvSpPr/>
            <p:nvPr/>
          </p:nvSpPr>
          <p:spPr>
            <a:xfrm>
              <a:off x="4311709" y="2042044"/>
              <a:ext cx="3535911" cy="3535912"/>
            </a:xfrm>
            <a:prstGeom prst="pie">
              <a:avLst>
                <a:gd name="adj1" fmla="val 16200000"/>
                <a:gd name="adj2" fmla="val 89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2" name="Pie 12">
              <a:extLst>
                <a:ext uri="{FF2B5EF4-FFF2-40B4-BE49-F238E27FC236}">
                  <a16:creationId xmlns:a16="http://schemas.microsoft.com/office/drawing/2014/main" id="{9A864542-9693-409A-AE0C-AA63D775C635}"/>
                </a:ext>
              </a:extLst>
            </p:cNvPr>
            <p:cNvSpPr/>
            <p:nvPr/>
          </p:nvSpPr>
          <p:spPr>
            <a:xfrm>
              <a:off x="4311709" y="2042044"/>
              <a:ext cx="3535911" cy="3535912"/>
            </a:xfrm>
            <a:prstGeom prst="pie">
              <a:avLst>
                <a:gd name="adj1" fmla="val 5393537"/>
                <a:gd name="adj2" fmla="val 1080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13" name="Pie 13">
              <a:extLst>
                <a:ext uri="{FF2B5EF4-FFF2-40B4-BE49-F238E27FC236}">
                  <a16:creationId xmlns:a16="http://schemas.microsoft.com/office/drawing/2014/main" id="{46C0E5D8-8830-4505-962E-B2E6547BD134}"/>
                </a:ext>
              </a:extLst>
            </p:cNvPr>
            <p:cNvSpPr/>
            <p:nvPr/>
          </p:nvSpPr>
          <p:spPr>
            <a:xfrm>
              <a:off x="4311709" y="2042044"/>
              <a:ext cx="3535911" cy="3535912"/>
            </a:xfrm>
            <a:prstGeom prst="pie">
              <a:avLst>
                <a:gd name="adj1" fmla="val 0"/>
                <a:gd name="adj2" fmla="val 540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4" name="Rectangle 1413">
              <a:extLst>
                <a:ext uri="{FF2B5EF4-FFF2-40B4-BE49-F238E27FC236}">
                  <a16:creationId xmlns:a16="http://schemas.microsoft.com/office/drawing/2014/main" id="{A2A16AC8-71E4-4477-B564-3580DE698DB3}"/>
                </a:ext>
              </a:extLst>
            </p:cNvPr>
            <p:cNvSpPr/>
            <p:nvPr/>
          </p:nvSpPr>
          <p:spPr>
            <a:xfrm>
              <a:off x="6052232" y="2042044"/>
              <a:ext cx="54864" cy="35359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useBgFill="1">
          <p:nvSpPr>
            <p:cNvPr id="1415" name="Rectangle 1414">
              <a:extLst>
                <a:ext uri="{FF2B5EF4-FFF2-40B4-BE49-F238E27FC236}">
                  <a16:creationId xmlns:a16="http://schemas.microsoft.com/office/drawing/2014/main" id="{50B347E5-C09A-4165-9748-9A9EB0636B13}"/>
                </a:ext>
              </a:extLst>
            </p:cNvPr>
            <p:cNvSpPr/>
            <p:nvPr/>
          </p:nvSpPr>
          <p:spPr>
            <a:xfrm rot="5400000">
              <a:off x="6052231" y="2042044"/>
              <a:ext cx="54864" cy="3535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18" name="Group 1417">
              <a:extLst>
                <a:ext uri="{FF2B5EF4-FFF2-40B4-BE49-F238E27FC236}">
                  <a16:creationId xmlns:a16="http://schemas.microsoft.com/office/drawing/2014/main" id="{6FCF400D-3096-4901-88E0-AAB5550EC3E5}"/>
                </a:ext>
              </a:extLst>
            </p:cNvPr>
            <p:cNvGrpSpPr/>
            <p:nvPr/>
          </p:nvGrpSpPr>
          <p:grpSpPr>
            <a:xfrm>
              <a:off x="5113579" y="2816552"/>
              <a:ext cx="1977795" cy="1977794"/>
              <a:chOff x="3582481" y="2923887"/>
              <a:chExt cx="1977794" cy="1977793"/>
            </a:xfrm>
          </p:grpSpPr>
          <p:sp>
            <p:nvSpPr>
              <p:cNvPr id="1422" name="Oval 1421">
                <a:extLst>
                  <a:ext uri="{FF2B5EF4-FFF2-40B4-BE49-F238E27FC236}">
                    <a16:creationId xmlns:a16="http://schemas.microsoft.com/office/drawing/2014/main" id="{D6FFE6CD-1AA3-493B-82F2-E3299C871B41}"/>
                  </a:ext>
                </a:extLst>
              </p:cNvPr>
              <p:cNvSpPr/>
              <p:nvPr/>
            </p:nvSpPr>
            <p:spPr>
              <a:xfrm>
                <a:off x="3582481" y="2923887"/>
                <a:ext cx="1977794" cy="1977793"/>
              </a:xfrm>
              <a:prstGeom prst="ellipse">
                <a:avLst/>
              </a:prstGeom>
              <a:solidFill>
                <a:schemeClr val="bg1"/>
              </a:solidFill>
              <a:ln w="12700" cap="flat" cmpd="sng" algn="ctr">
                <a:solidFill>
                  <a:schemeClr val="tx1">
                    <a:lumMod val="50000"/>
                    <a:lumOff val="50000"/>
                  </a:schemeClr>
                </a:solidFill>
                <a:prstDash val="solid"/>
              </a:ln>
              <a:effectLst>
                <a:innerShdw blurRad="114300">
                  <a:prstClr val="black">
                    <a:alpha val="37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1E32"/>
                  </a:solidFill>
                  <a:effectLst/>
                  <a:uLnTx/>
                  <a:uFillTx/>
                  <a:latin typeface="Arial" pitchFamily="34" charset="0"/>
                  <a:ea typeface="+mn-ea"/>
                  <a:cs typeface="Arial" pitchFamily="34" charset="0"/>
                </a:endParaRPr>
              </a:p>
            </p:txBody>
          </p:sp>
          <p:sp>
            <p:nvSpPr>
              <p:cNvPr id="1421" name="Rectangle 1420">
                <a:extLst>
                  <a:ext uri="{FF2B5EF4-FFF2-40B4-BE49-F238E27FC236}">
                    <a16:creationId xmlns:a16="http://schemas.microsoft.com/office/drawing/2014/main" id="{B0603427-9CA5-4464-A734-AD15140B728A}"/>
                  </a:ext>
                </a:extLst>
              </p:cNvPr>
              <p:cNvSpPr/>
              <p:nvPr/>
            </p:nvSpPr>
            <p:spPr>
              <a:xfrm>
                <a:off x="3714744" y="3743411"/>
                <a:ext cx="1713267"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itchFamily="34" charset="0"/>
                    <a:ea typeface="Kozuka Gothic Pr6N B" pitchFamily="34" charset="-128"/>
                    <a:cs typeface="Arial" pitchFamily="34" charset="0"/>
                  </a:rPr>
                  <a:t>Objectives</a:t>
                </a:r>
              </a:p>
            </p:txBody>
          </p:sp>
        </p:grpSp>
      </p:grpSp>
      <p:sp>
        <p:nvSpPr>
          <p:cNvPr id="1424" name="Appropriately strategize granular experiences for fully…">
            <a:extLst>
              <a:ext uri="{FF2B5EF4-FFF2-40B4-BE49-F238E27FC236}">
                <a16:creationId xmlns:a16="http://schemas.microsoft.com/office/drawing/2014/main" id="{5EE78EEC-DFD2-494A-AEA9-318CD2D73EFC}"/>
              </a:ext>
            </a:extLst>
          </p:cNvPr>
          <p:cNvSpPr/>
          <p:nvPr/>
        </p:nvSpPr>
        <p:spPr>
          <a:xfrm>
            <a:off x="949614" y="2110888"/>
            <a:ext cx="3249319" cy="492443"/>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mproving their organization's ability to effectively use Power BI.</a:t>
            </a:r>
          </a:p>
        </p:txBody>
      </p:sp>
      <p:sp>
        <p:nvSpPr>
          <p:cNvPr id="1425" name="Appropriately strategize granular experiences for fully…">
            <a:extLst>
              <a:ext uri="{FF2B5EF4-FFF2-40B4-BE49-F238E27FC236}">
                <a16:creationId xmlns:a16="http://schemas.microsoft.com/office/drawing/2014/main" id="{231DC052-7649-47F5-A137-64F9D55B1E22}"/>
              </a:ext>
            </a:extLst>
          </p:cNvPr>
          <p:cNvSpPr/>
          <p:nvPr/>
        </p:nvSpPr>
        <p:spPr>
          <a:xfrm>
            <a:off x="949614"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3776C3"/>
                </a:solidFill>
                <a:effectLst/>
                <a:uLnTx/>
                <a:uFillTx/>
                <a:latin typeface="Roboto Slab Light"/>
                <a:sym typeface="Roboto Slab Light"/>
              </a:rPr>
              <a:t>Increase Effectiveness </a:t>
            </a:r>
            <a:endParaRPr kumimoji="0" sz="1600" b="1" i="0" u="none" strike="noStrike" kern="1200" cap="none" spc="0" normalizeH="0" baseline="0" noProof="0">
              <a:ln>
                <a:noFill/>
              </a:ln>
              <a:solidFill>
                <a:srgbClr val="3776C3"/>
              </a:solidFill>
              <a:effectLst/>
              <a:uLnTx/>
              <a:uFillTx/>
              <a:latin typeface="Roboto Slab Light"/>
              <a:sym typeface="Roboto Slab Light"/>
            </a:endParaRPr>
          </a:p>
        </p:txBody>
      </p:sp>
      <p:sp>
        <p:nvSpPr>
          <p:cNvPr id="1426" name="Appropriately strategize granular experiences for fully…">
            <a:extLst>
              <a:ext uri="{FF2B5EF4-FFF2-40B4-BE49-F238E27FC236}">
                <a16:creationId xmlns:a16="http://schemas.microsoft.com/office/drawing/2014/main" id="{3873D07D-9B15-4BF7-B9DE-3A9D954B5CD6}"/>
              </a:ext>
            </a:extLst>
          </p:cNvPr>
          <p:cNvSpPr/>
          <p:nvPr/>
        </p:nvSpPr>
        <p:spPr>
          <a:xfrm>
            <a:off x="949614" y="5086494"/>
            <a:ext cx="3249319" cy="7386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standing and overcoming adoption-related challenges faced when scaling Power BI.</a:t>
            </a:r>
          </a:p>
        </p:txBody>
      </p:sp>
      <p:sp>
        <p:nvSpPr>
          <p:cNvPr id="1427" name="Appropriately strategize granular experiences for fully…">
            <a:extLst>
              <a:ext uri="{FF2B5EF4-FFF2-40B4-BE49-F238E27FC236}">
                <a16:creationId xmlns:a16="http://schemas.microsoft.com/office/drawing/2014/main" id="{2344115C-7D5C-47F7-9485-A3BC1C36FB88}"/>
              </a:ext>
            </a:extLst>
          </p:cNvPr>
          <p:cNvSpPr/>
          <p:nvPr/>
        </p:nvSpPr>
        <p:spPr>
          <a:xfrm>
            <a:off x="949614" y="469151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ED2541"/>
                </a:solidFill>
                <a:effectLst/>
                <a:uLnTx/>
                <a:uFillTx/>
                <a:latin typeface="Roboto Slab Light"/>
                <a:sym typeface="Roboto Slab Light"/>
              </a:rPr>
              <a:t>Remove Blockers </a:t>
            </a:r>
            <a:endParaRPr kumimoji="0" sz="1600" b="1" i="0" u="none" strike="noStrike" kern="1200" cap="none" spc="0" normalizeH="0" baseline="0" noProof="0">
              <a:ln>
                <a:noFill/>
              </a:ln>
              <a:solidFill>
                <a:srgbClr val="ED2541"/>
              </a:solidFill>
              <a:effectLst/>
              <a:uLnTx/>
              <a:uFillTx/>
              <a:latin typeface="Roboto Slab Light"/>
              <a:sym typeface="Roboto Slab Light"/>
            </a:endParaRPr>
          </a:p>
        </p:txBody>
      </p:sp>
      <p:sp>
        <p:nvSpPr>
          <p:cNvPr id="1428" name="Appropriately strategize granular experiences for fully…">
            <a:extLst>
              <a:ext uri="{FF2B5EF4-FFF2-40B4-BE49-F238E27FC236}">
                <a16:creationId xmlns:a16="http://schemas.microsoft.com/office/drawing/2014/main" id="{A926F782-176B-4723-8314-2CDA6FF3488E}"/>
              </a:ext>
            </a:extLst>
          </p:cNvPr>
          <p:cNvSpPr/>
          <p:nvPr/>
        </p:nvSpPr>
        <p:spPr>
          <a:xfrm>
            <a:off x="7689219" y="2110888"/>
            <a:ext cx="3249319" cy="7386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reasing their organization's maturity level related to Power BI delivery.</a:t>
            </a:r>
          </a:p>
        </p:txBody>
      </p:sp>
      <p:sp>
        <p:nvSpPr>
          <p:cNvPr id="1429" name="Appropriately strategize granular experiences for fully…">
            <a:extLst>
              <a:ext uri="{FF2B5EF4-FFF2-40B4-BE49-F238E27FC236}">
                <a16:creationId xmlns:a16="http://schemas.microsoft.com/office/drawing/2014/main" id="{7602ED84-C5D8-431D-8314-4833CAAF934F}"/>
              </a:ext>
            </a:extLst>
          </p:cNvPr>
          <p:cNvSpPr/>
          <p:nvPr/>
        </p:nvSpPr>
        <p:spPr>
          <a:xfrm>
            <a:off x="7689219" y="1715907"/>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de-DE" sz="1600" b="1" i="0" u="none" strike="noStrike" kern="1200" cap="none" spc="0" normalizeH="0" baseline="0" noProof="0">
                <a:ln>
                  <a:noFill/>
                </a:ln>
                <a:solidFill>
                  <a:srgbClr val="16BA9B"/>
                </a:solidFill>
                <a:effectLst/>
                <a:uLnTx/>
                <a:uFillTx/>
                <a:latin typeface="Roboto Slab Light"/>
                <a:sym typeface="Roboto Slab Light"/>
              </a:rPr>
              <a:t>Power BI Adoption </a:t>
            </a:r>
            <a:r>
              <a:rPr kumimoji="0" lang="de-DE" sz="1600" b="1" i="0" u="none" strike="noStrike" kern="1200" cap="none" spc="0" normalizeH="0" baseline="0" noProof="0" err="1">
                <a:ln>
                  <a:noFill/>
                </a:ln>
                <a:solidFill>
                  <a:srgbClr val="16BA9B"/>
                </a:solidFill>
                <a:effectLst/>
                <a:uLnTx/>
                <a:uFillTx/>
                <a:latin typeface="Roboto Slab Light"/>
                <a:sym typeface="Roboto Slab Light"/>
              </a:rPr>
              <a:t>Maturity</a:t>
            </a:r>
            <a:endParaRPr kumimoji="0" sz="1600" b="1" i="0" u="none" strike="noStrike" kern="1200" cap="none" spc="0" normalizeH="0" baseline="0" noProof="0">
              <a:ln>
                <a:noFill/>
              </a:ln>
              <a:solidFill>
                <a:srgbClr val="16BA9B"/>
              </a:solidFill>
              <a:effectLst/>
              <a:uLnTx/>
              <a:uFillTx/>
              <a:latin typeface="Roboto Slab Light"/>
              <a:sym typeface="Roboto Slab Light"/>
            </a:endParaRPr>
          </a:p>
        </p:txBody>
      </p:sp>
      <p:sp>
        <p:nvSpPr>
          <p:cNvPr id="1430" name="Appropriately strategize granular experiences for fully…">
            <a:extLst>
              <a:ext uri="{FF2B5EF4-FFF2-40B4-BE49-F238E27FC236}">
                <a16:creationId xmlns:a16="http://schemas.microsoft.com/office/drawing/2014/main" id="{6ADAB65D-F4C6-439B-A0DA-717179789F82}"/>
              </a:ext>
            </a:extLst>
          </p:cNvPr>
          <p:cNvSpPr/>
          <p:nvPr/>
        </p:nvSpPr>
        <p:spPr>
          <a:xfrm>
            <a:off x="7689219" y="5086494"/>
            <a:ext cx="3249319" cy="7386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reasing their organization's return on investment (ROI) in data and analytics.</a:t>
            </a:r>
          </a:p>
        </p:txBody>
      </p:sp>
      <p:sp>
        <p:nvSpPr>
          <p:cNvPr id="1431" name="Appropriately strategize granular experiences for fully…">
            <a:extLst>
              <a:ext uri="{FF2B5EF4-FFF2-40B4-BE49-F238E27FC236}">
                <a16:creationId xmlns:a16="http://schemas.microsoft.com/office/drawing/2014/main" id="{6539C438-7FE3-4BF8-85E1-BF40DAB5A481}"/>
              </a:ext>
            </a:extLst>
          </p:cNvPr>
          <p:cNvSpPr/>
          <p:nvPr/>
        </p:nvSpPr>
        <p:spPr>
          <a:xfrm>
            <a:off x="7689219" y="4691513"/>
            <a:ext cx="3242347" cy="246221"/>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r" defTabSz="914400" rtl="0" eaLnBrk="1" fontAlgn="auto" latinLnBrk="0" hangingPunct="1">
              <a:lnSpc>
                <a:spcPct val="100000"/>
              </a:lnSpc>
              <a:spcBef>
                <a:spcPts val="750"/>
              </a:spcBef>
              <a:spcAft>
                <a:spcPts val="0"/>
              </a:spcAft>
              <a:buClrTx/>
              <a:buSzTx/>
              <a:buFontTx/>
              <a:buNone/>
              <a:tabLst/>
              <a:defRPr sz="1600">
                <a:solidFill>
                  <a:srgbClr val="677180"/>
                </a:solidFill>
                <a:latin typeface="Roboto Slab Light"/>
                <a:ea typeface="Roboto Slab Light"/>
                <a:cs typeface="Roboto Slab Light"/>
                <a:sym typeface="Roboto Slab Light"/>
              </a:defRPr>
            </a:pPr>
            <a:r>
              <a:rPr kumimoji="0" lang="en-ID" sz="1600" b="1" i="0" u="none" strike="noStrike" kern="1200" cap="none" spc="0" normalizeH="0" baseline="0" noProof="0">
                <a:ln>
                  <a:noFill/>
                </a:ln>
                <a:solidFill>
                  <a:srgbClr val="F7881F"/>
                </a:solidFill>
                <a:effectLst/>
                <a:uLnTx/>
                <a:uFillTx/>
                <a:latin typeface="Roboto Slab Light"/>
                <a:sym typeface="Roboto Slab Light"/>
              </a:rPr>
              <a:t>Increase ROI</a:t>
            </a:r>
            <a:endParaRPr kumimoji="0" sz="1600" b="1" i="0" u="none" strike="noStrike" kern="1200" cap="none" spc="0" normalizeH="0" baseline="0" noProof="0">
              <a:ln>
                <a:noFill/>
              </a:ln>
              <a:solidFill>
                <a:srgbClr val="F7881F"/>
              </a:solidFill>
              <a:effectLst/>
              <a:uLnTx/>
              <a:uFillTx/>
              <a:latin typeface="Roboto Slab Light"/>
              <a:sym typeface="Roboto Slab Light"/>
            </a:endParaRPr>
          </a:p>
        </p:txBody>
      </p:sp>
      <p:sp>
        <p:nvSpPr>
          <p:cNvPr id="27" name="Titel 1">
            <a:extLst>
              <a:ext uri="{FF2B5EF4-FFF2-40B4-BE49-F238E27FC236}">
                <a16:creationId xmlns:a16="http://schemas.microsoft.com/office/drawing/2014/main" id="{72EF4828-A0FB-4654-BE31-D30B3271CA28}"/>
              </a:ext>
            </a:extLst>
          </p:cNvPr>
          <p:cNvSpPr>
            <a:spLocks noGrp="1"/>
          </p:cNvSpPr>
          <p:nvPr>
            <p:ph type="title"/>
          </p:nvPr>
        </p:nvSpPr>
        <p:spPr/>
        <p:txBody>
          <a:bodyPr/>
          <a:lstStyle/>
          <a:p>
            <a:r>
              <a:rPr lang="de-DE"/>
              <a:t>Target </a:t>
            </a:r>
            <a:r>
              <a:rPr lang="de-DE" err="1"/>
              <a:t>Audience</a:t>
            </a:r>
            <a:endParaRPr lang="en-US"/>
          </a:p>
        </p:txBody>
      </p:sp>
    </p:spTree>
    <p:extLst>
      <p:ext uri="{BB962C8B-B14F-4D97-AF65-F5344CB8AC3E}">
        <p14:creationId xmlns:p14="http://schemas.microsoft.com/office/powerpoint/2010/main" val="742792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10"/>
          </p:nvPr>
        </p:nvSpPr>
        <p:spPr>
          <a:xfrm>
            <a:off x="191521" y="3178513"/>
            <a:ext cx="11587037" cy="3493892"/>
          </a:xfrm>
        </p:spPr>
        <p:txBody>
          <a:bodyPr>
            <a:normAutofit/>
          </a:bodyPr>
          <a:lstStyle/>
          <a:p>
            <a:pPr lvl="0">
              <a:lnSpc>
                <a:spcPct val="150000"/>
              </a:lnSpc>
            </a:pPr>
            <a:r>
              <a:rPr lang="en-GB"/>
              <a:t>Consolidate BI Tooling</a:t>
            </a:r>
          </a:p>
          <a:p>
            <a:pPr lvl="0">
              <a:lnSpc>
                <a:spcPct val="150000"/>
              </a:lnSpc>
            </a:pPr>
            <a:r>
              <a:rPr lang="en-GB"/>
              <a:t>Self-Service BI</a:t>
            </a:r>
          </a:p>
          <a:p>
            <a:pPr lvl="0">
              <a:lnSpc>
                <a:spcPct val="150000"/>
              </a:lnSpc>
            </a:pPr>
            <a:r>
              <a:rPr lang="en-GB"/>
              <a:t>Live Dashboards</a:t>
            </a:r>
          </a:p>
        </p:txBody>
      </p:sp>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What organizational goals do you want to achieve with the roll out of Power BI?</a:t>
            </a:r>
          </a:p>
        </p:txBody>
      </p:sp>
    </p:spTree>
    <p:custDataLst>
      <p:tags r:id="rId1"/>
    </p:custDataLst>
    <p:extLst>
      <p:ext uri="{BB962C8B-B14F-4D97-AF65-F5344CB8AC3E}">
        <p14:creationId xmlns:p14="http://schemas.microsoft.com/office/powerpoint/2010/main" val="126594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7" name="Title 2"/>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ower BI</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a:t>
            </a:r>
          </a:p>
        </p:txBody>
      </p:sp>
      <p:sp>
        <p:nvSpPr>
          <p:cNvPr id="40" name="Rectangle 39">
            <a:extLst>
              <a:ext uri="{FF2B5EF4-FFF2-40B4-BE49-F238E27FC236}">
                <a16:creationId xmlns:a16="http://schemas.microsoft.com/office/drawing/2014/main" id="{3072D60D-BF15-4FBD-BA65-FF1E3FF30147}"/>
              </a:ext>
            </a:extLst>
          </p:cNvPr>
          <p:cNvSpPr/>
          <p:nvPr/>
        </p:nvSpPr>
        <p:spPr>
          <a:xfrm>
            <a:off x="6154963" y="806456"/>
            <a:ext cx="5315119" cy="5245087"/>
          </a:xfrm>
          <a:prstGeom prst="rect">
            <a:avLst/>
          </a:prstGeom>
        </p:spPr>
        <p:txBody>
          <a:bodyPr wrap="square" lIns="179285" tIns="143428" rIns="179285" bIns="143428">
            <a:noAutofit/>
          </a:bodyPr>
          <a:lstStyle/>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vironment Administration</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Tenant Settings</a:t>
            </a:r>
            <a:endPar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Roles and Responsibilitie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terprise Gateway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 standard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haring</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Environment and Reporting consistency</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90000"/>
              </a:lnSpc>
              <a:spcBef>
                <a:spcPts val="0"/>
              </a:spcBef>
              <a:spcAft>
                <a:spcPts val="588"/>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ublished source data and business data models</a:t>
            </a:r>
          </a:p>
          <a:p>
            <a:pPr marL="0" marR="0" lvl="1" indent="0" algn="l" defTabSz="914367" rtl="0" eaLnBrk="1" fontAlgn="auto" latinLnBrk="0" hangingPunct="1">
              <a:lnSpc>
                <a:spcPct val="90000"/>
              </a:lnSpc>
              <a:spcBef>
                <a:spcPts val="0"/>
              </a:spcBef>
              <a:spcAft>
                <a:spcPts val="588"/>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Tree>
    <p:custDataLst>
      <p:tags r:id="rId1"/>
    </p:custDataLst>
    <p:extLst>
      <p:ext uri="{BB962C8B-B14F-4D97-AF65-F5344CB8AC3E}">
        <p14:creationId xmlns:p14="http://schemas.microsoft.com/office/powerpoint/2010/main" val="196237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2" end="2"/>
                                            </p:txEl>
                                          </p:spTgt>
                                        </p:tgtEl>
                                        <p:attrNameLst>
                                          <p:attrName>style.visibility</p:attrName>
                                        </p:attrNameLst>
                                      </p:cBhvr>
                                      <p:to>
                                        <p:strVal val="visible"/>
                                      </p:to>
                                    </p:set>
                                    <p:animEffect transition="in" filter="fade">
                                      <p:cBhvr>
                                        <p:cTn id="10" dur="500"/>
                                        <p:tgtEl>
                                          <p:spTgt spid="40">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0">
                                            <p:txEl>
                                              <p:pRg st="4" end="4"/>
                                            </p:txEl>
                                          </p:spTgt>
                                        </p:tgtEl>
                                        <p:attrNameLst>
                                          <p:attrName>style.visibility</p:attrName>
                                        </p:attrNameLst>
                                      </p:cBhvr>
                                      <p:to>
                                        <p:strVal val="visible"/>
                                      </p:to>
                                    </p:set>
                                    <p:animEffect transition="in" filter="fade">
                                      <p:cBhvr>
                                        <p:cTn id="15" dur="500"/>
                                        <p:tgtEl>
                                          <p:spTgt spid="40">
                                            <p:txEl>
                                              <p:pRg st="4" end="4"/>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0">
                                            <p:txEl>
                                              <p:pRg st="6" end="6"/>
                                            </p:txEl>
                                          </p:spTgt>
                                        </p:tgtEl>
                                        <p:attrNameLst>
                                          <p:attrName>style.visibility</p:attrName>
                                        </p:attrNameLst>
                                      </p:cBhvr>
                                      <p:to>
                                        <p:strVal val="visible"/>
                                      </p:to>
                                    </p:set>
                                    <p:animEffect transition="in" filter="fade">
                                      <p:cBhvr>
                                        <p:cTn id="18" dur="500"/>
                                        <p:tgtEl>
                                          <p:spTgt spid="40">
                                            <p:txEl>
                                              <p:pRg st="6" end="6"/>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0">
                                            <p:txEl>
                                              <p:pRg st="8" end="8"/>
                                            </p:txEl>
                                          </p:spTgt>
                                        </p:tgtEl>
                                        <p:attrNameLst>
                                          <p:attrName>style.visibility</p:attrName>
                                        </p:attrNameLst>
                                      </p:cBhvr>
                                      <p:to>
                                        <p:strVal val="visible"/>
                                      </p:to>
                                    </p:set>
                                    <p:animEffect transition="in" filter="fade">
                                      <p:cBhvr>
                                        <p:cTn id="23" dur="500"/>
                                        <p:tgtEl>
                                          <p:spTgt spid="40">
                                            <p:txEl>
                                              <p:pRg st="8" end="8"/>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0">
                                            <p:txEl>
                                              <p:pRg st="10" end="10"/>
                                            </p:txEl>
                                          </p:spTgt>
                                        </p:tgtEl>
                                        <p:attrNameLst>
                                          <p:attrName>style.visibility</p:attrName>
                                        </p:attrNameLst>
                                      </p:cBhvr>
                                      <p:to>
                                        <p:strVal val="visible"/>
                                      </p:to>
                                    </p:set>
                                    <p:animEffect transition="in" filter="fade">
                                      <p:cBhvr>
                                        <p:cTn id="26" dur="500"/>
                                        <p:tgtEl>
                                          <p:spTgt spid="40">
                                            <p:txEl>
                                              <p:pRg st="10" end="1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0">
                                            <p:txEl>
                                              <p:pRg st="12" end="12"/>
                                            </p:txEl>
                                          </p:spTgt>
                                        </p:tgtEl>
                                        <p:attrNameLst>
                                          <p:attrName>style.visibility</p:attrName>
                                        </p:attrNameLst>
                                      </p:cBhvr>
                                      <p:to>
                                        <p:strVal val="visible"/>
                                      </p:to>
                                    </p:set>
                                    <p:animEffect transition="in" filter="fade">
                                      <p:cBhvr>
                                        <p:cTn id="31" dur="500"/>
                                        <p:tgtEl>
                                          <p:spTgt spid="40">
                                            <p:txEl>
                                              <p:pRg st="12" end="1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0">
                                            <p:txEl>
                                              <p:pRg st="14" end="14"/>
                                            </p:txEl>
                                          </p:spTgt>
                                        </p:tgtEl>
                                        <p:attrNameLst>
                                          <p:attrName>style.visibility</p:attrName>
                                        </p:attrNameLst>
                                      </p:cBhvr>
                                      <p:to>
                                        <p:strVal val="visible"/>
                                      </p:to>
                                    </p:set>
                                    <p:animEffect transition="in" filter="fade">
                                      <p:cBhvr>
                                        <p:cTn id="34" dur="500"/>
                                        <p:tgtEl>
                                          <p:spTgt spid="40">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31198"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Rectangle 39">
            <a:extLst>
              <a:ext uri="{FF2B5EF4-FFF2-40B4-BE49-F238E27FC236}">
                <a16:creationId xmlns:a16="http://schemas.microsoft.com/office/drawing/2014/main" id="{3072D60D-BF15-4FBD-BA65-FF1E3FF30147}"/>
              </a:ext>
            </a:extLst>
          </p:cNvPr>
          <p:cNvSpPr/>
          <p:nvPr/>
        </p:nvSpPr>
        <p:spPr>
          <a:xfrm>
            <a:off x="6484680" y="363828"/>
            <a:ext cx="5132928" cy="6130344"/>
          </a:xfrm>
          <a:prstGeom prst="rect">
            <a:avLst/>
          </a:prstGeom>
        </p:spPr>
        <p:txBody>
          <a:bodyPr wrap="square" lIns="179285" tIns="143428" rIns="179285" bIns="143428">
            <a:noAutofit/>
          </a:bodyPr>
          <a:lstStyle/>
          <a:p>
            <a:pPr marL="0" marR="0" lvl="0" indent="0" algn="l" defTabSz="914400" rtl="0" eaLnBrk="1" fontAlgn="auto" latinLnBrk="0" hangingPunct="1">
              <a:lnSpc>
                <a:spcPct val="3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Which ones</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ow</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atalog</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efine</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Quality</a:t>
            </a:r>
          </a:p>
          <a:p>
            <a:pPr marL="0" marR="0" lvl="0" indent="0" algn="l" defTabSz="914400" rtl="0" eaLnBrk="1" fontAlgn="auto" latinLnBrk="0" hangingPunct="1">
              <a:lnSpc>
                <a:spcPct val="3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curity</a:t>
            </a:r>
          </a:p>
        </p:txBody>
      </p:sp>
      <p:grpSp>
        <p:nvGrpSpPr>
          <p:cNvPr id="41" name="Group 40">
            <a:extLst>
              <a:ext uri="{FF2B5EF4-FFF2-40B4-BE49-F238E27FC236}">
                <a16:creationId xmlns:a16="http://schemas.microsoft.com/office/drawing/2014/main" id="{0F1BD065-0BE9-4399-A874-2B756AD2AD58}"/>
              </a:ext>
            </a:extLst>
          </p:cNvPr>
          <p:cNvGrpSpPr/>
          <p:nvPr/>
        </p:nvGrpSpPr>
        <p:grpSpPr>
          <a:xfrm>
            <a:off x="5712571" y="884154"/>
            <a:ext cx="409870" cy="412073"/>
            <a:chOff x="6107113" y="809625"/>
            <a:chExt cx="295275" cy="296862"/>
          </a:xfrm>
        </p:grpSpPr>
        <p:sp>
          <p:nvSpPr>
            <p:cNvPr id="42" name="Oval 5">
              <a:extLst>
                <a:ext uri="{FF2B5EF4-FFF2-40B4-BE49-F238E27FC236}">
                  <a16:creationId xmlns:a16="http://schemas.microsoft.com/office/drawing/2014/main" id="{73899817-FDE7-47EA-8DF6-E8669537DE22}"/>
                </a:ext>
              </a:extLst>
            </p:cNvPr>
            <p:cNvSpPr>
              <a:spLocks noChangeArrowheads="1"/>
            </p:cNvSpPr>
            <p:nvPr/>
          </p:nvSpPr>
          <p:spPr bwMode="auto">
            <a:xfrm>
              <a:off x="6224588" y="809625"/>
              <a:ext cx="177800" cy="179387"/>
            </a:xfrm>
            <a:prstGeom prst="ellips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Line 6">
              <a:extLst>
                <a:ext uri="{FF2B5EF4-FFF2-40B4-BE49-F238E27FC236}">
                  <a16:creationId xmlns:a16="http://schemas.microsoft.com/office/drawing/2014/main" id="{FAAC99A8-914E-4D4C-8DA3-5D96DF83FE50}"/>
                </a:ext>
              </a:extLst>
            </p:cNvPr>
            <p:cNvSpPr>
              <a:spLocks noChangeShapeType="1"/>
            </p:cNvSpPr>
            <p:nvPr/>
          </p:nvSpPr>
          <p:spPr bwMode="auto">
            <a:xfrm flipH="1">
              <a:off x="6107113" y="962025"/>
              <a:ext cx="144463" cy="14446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44" name="Freeform 10">
            <a:extLst>
              <a:ext uri="{FF2B5EF4-FFF2-40B4-BE49-F238E27FC236}">
                <a16:creationId xmlns:a16="http://schemas.microsoft.com/office/drawing/2014/main" id="{B50C074E-D0D7-4A47-AD8C-534259351C3E}"/>
              </a:ext>
            </a:extLst>
          </p:cNvPr>
          <p:cNvSpPr>
            <a:spLocks/>
          </p:cNvSpPr>
          <p:nvPr/>
        </p:nvSpPr>
        <p:spPr bwMode="auto">
          <a:xfrm>
            <a:off x="5677924" y="4597405"/>
            <a:ext cx="409870" cy="289875"/>
          </a:xfrm>
          <a:custGeom>
            <a:avLst/>
            <a:gdLst>
              <a:gd name="T0" fmla="*/ 104 w 304"/>
              <a:gd name="T1" fmla="*/ 215 h 215"/>
              <a:gd name="T2" fmla="*/ 0 w 304"/>
              <a:gd name="T3" fmla="*/ 112 h 215"/>
              <a:gd name="T4" fmla="*/ 13 w 304"/>
              <a:gd name="T5" fmla="*/ 101 h 215"/>
              <a:gd name="T6" fmla="*/ 104 w 304"/>
              <a:gd name="T7" fmla="*/ 191 h 215"/>
              <a:gd name="T8" fmla="*/ 291 w 304"/>
              <a:gd name="T9" fmla="*/ 0 h 215"/>
              <a:gd name="T10" fmla="*/ 304 w 304"/>
              <a:gd name="T11" fmla="*/ 13 h 215"/>
              <a:gd name="T12" fmla="*/ 104 w 304"/>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304" h="215">
                <a:moveTo>
                  <a:pt x="104" y="215"/>
                </a:moveTo>
                <a:lnTo>
                  <a:pt x="0" y="112"/>
                </a:lnTo>
                <a:lnTo>
                  <a:pt x="13" y="101"/>
                </a:lnTo>
                <a:lnTo>
                  <a:pt x="104" y="191"/>
                </a:lnTo>
                <a:lnTo>
                  <a:pt x="291" y="0"/>
                </a:lnTo>
                <a:lnTo>
                  <a:pt x="304" y="13"/>
                </a:lnTo>
                <a:lnTo>
                  <a:pt x="104" y="215"/>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45" name="Group 44">
            <a:extLst>
              <a:ext uri="{FF2B5EF4-FFF2-40B4-BE49-F238E27FC236}">
                <a16:creationId xmlns:a16="http://schemas.microsoft.com/office/drawing/2014/main" id="{57AC9798-1EE1-4A42-850B-F5C35F9B2416}"/>
              </a:ext>
            </a:extLst>
          </p:cNvPr>
          <p:cNvGrpSpPr/>
          <p:nvPr/>
        </p:nvGrpSpPr>
        <p:grpSpPr>
          <a:xfrm>
            <a:off x="5593406" y="2642961"/>
            <a:ext cx="567174" cy="533489"/>
            <a:chOff x="5770563" y="2393536"/>
            <a:chExt cx="388937" cy="334963"/>
          </a:xfrm>
          <a:solidFill>
            <a:schemeClr val="tx2"/>
          </a:solidFill>
        </p:grpSpPr>
        <p:sp>
          <p:nvSpPr>
            <p:cNvPr id="46" name="Freeform 14">
              <a:extLst>
                <a:ext uri="{FF2B5EF4-FFF2-40B4-BE49-F238E27FC236}">
                  <a16:creationId xmlns:a16="http://schemas.microsoft.com/office/drawing/2014/main" id="{DB6D6072-869E-44CA-B15F-1F4A27D79B09}"/>
                </a:ext>
              </a:extLst>
            </p:cNvPr>
            <p:cNvSpPr>
              <a:spLocks noEditPoints="1"/>
            </p:cNvSpPr>
            <p:nvPr/>
          </p:nvSpPr>
          <p:spPr bwMode="auto">
            <a:xfrm>
              <a:off x="5770563" y="2393536"/>
              <a:ext cx="388937" cy="334963"/>
            </a:xfrm>
            <a:custGeom>
              <a:avLst/>
              <a:gdLst>
                <a:gd name="T0" fmla="*/ 245 w 245"/>
                <a:gd name="T1" fmla="*/ 18 h 211"/>
                <a:gd name="T2" fmla="*/ 245 w 245"/>
                <a:gd name="T3" fmla="*/ 9 h 211"/>
                <a:gd name="T4" fmla="*/ 245 w 245"/>
                <a:gd name="T5" fmla="*/ 0 h 211"/>
                <a:gd name="T6" fmla="*/ 0 w 245"/>
                <a:gd name="T7" fmla="*/ 0 h 211"/>
                <a:gd name="T8" fmla="*/ 0 w 245"/>
                <a:gd name="T9" fmla="*/ 9 h 211"/>
                <a:gd name="T10" fmla="*/ 0 w 245"/>
                <a:gd name="T11" fmla="*/ 18 h 211"/>
                <a:gd name="T12" fmla="*/ 0 w 245"/>
                <a:gd name="T13" fmla="*/ 193 h 211"/>
                <a:gd name="T14" fmla="*/ 0 w 245"/>
                <a:gd name="T15" fmla="*/ 202 h 211"/>
                <a:gd name="T16" fmla="*/ 0 w 245"/>
                <a:gd name="T17" fmla="*/ 211 h 211"/>
                <a:gd name="T18" fmla="*/ 227 w 245"/>
                <a:gd name="T19" fmla="*/ 211 h 211"/>
                <a:gd name="T20" fmla="*/ 236 w 245"/>
                <a:gd name="T21" fmla="*/ 211 h 211"/>
                <a:gd name="T22" fmla="*/ 245 w 245"/>
                <a:gd name="T23" fmla="*/ 211 h 211"/>
                <a:gd name="T24" fmla="*/ 245 w 245"/>
                <a:gd name="T25" fmla="*/ 18 h 211"/>
                <a:gd name="T26" fmla="*/ 227 w 245"/>
                <a:gd name="T27" fmla="*/ 18 h 211"/>
                <a:gd name="T28" fmla="*/ 227 w 245"/>
                <a:gd name="T29" fmla="*/ 53 h 211"/>
                <a:gd name="T30" fmla="*/ 18 w 245"/>
                <a:gd name="T31" fmla="*/ 53 h 211"/>
                <a:gd name="T32" fmla="*/ 18 w 245"/>
                <a:gd name="T33" fmla="*/ 18 h 211"/>
                <a:gd name="T34" fmla="*/ 227 w 245"/>
                <a:gd name="T35" fmla="*/ 18 h 211"/>
                <a:gd name="T36" fmla="*/ 18 w 245"/>
                <a:gd name="T37" fmla="*/ 193 h 211"/>
                <a:gd name="T38" fmla="*/ 18 w 245"/>
                <a:gd name="T39" fmla="*/ 70 h 211"/>
                <a:gd name="T40" fmla="*/ 227 w 245"/>
                <a:gd name="T41" fmla="*/ 70 h 211"/>
                <a:gd name="T42" fmla="*/ 227 w 245"/>
                <a:gd name="T43" fmla="*/ 193 h 211"/>
                <a:gd name="T44" fmla="*/ 18 w 245"/>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211">
                  <a:moveTo>
                    <a:pt x="245" y="18"/>
                  </a:moveTo>
                  <a:lnTo>
                    <a:pt x="245" y="9"/>
                  </a:lnTo>
                  <a:lnTo>
                    <a:pt x="245" y="0"/>
                  </a:lnTo>
                  <a:lnTo>
                    <a:pt x="0" y="0"/>
                  </a:lnTo>
                  <a:lnTo>
                    <a:pt x="0" y="9"/>
                  </a:lnTo>
                  <a:lnTo>
                    <a:pt x="0" y="18"/>
                  </a:lnTo>
                  <a:lnTo>
                    <a:pt x="0" y="193"/>
                  </a:lnTo>
                  <a:lnTo>
                    <a:pt x="0" y="202"/>
                  </a:lnTo>
                  <a:lnTo>
                    <a:pt x="0" y="211"/>
                  </a:lnTo>
                  <a:lnTo>
                    <a:pt x="227" y="211"/>
                  </a:lnTo>
                  <a:lnTo>
                    <a:pt x="236" y="211"/>
                  </a:lnTo>
                  <a:lnTo>
                    <a:pt x="245" y="211"/>
                  </a:lnTo>
                  <a:lnTo>
                    <a:pt x="245" y="18"/>
                  </a:lnTo>
                  <a:close/>
                  <a:moveTo>
                    <a:pt x="227" y="18"/>
                  </a:moveTo>
                  <a:lnTo>
                    <a:pt x="227" y="53"/>
                  </a:lnTo>
                  <a:lnTo>
                    <a:pt x="18" y="53"/>
                  </a:lnTo>
                  <a:lnTo>
                    <a:pt x="18" y="18"/>
                  </a:lnTo>
                  <a:lnTo>
                    <a:pt x="227" y="18"/>
                  </a:lnTo>
                  <a:close/>
                  <a:moveTo>
                    <a:pt x="18" y="193"/>
                  </a:moveTo>
                  <a:lnTo>
                    <a:pt x="18" y="70"/>
                  </a:lnTo>
                  <a:lnTo>
                    <a:pt x="227" y="70"/>
                  </a:lnTo>
                  <a:lnTo>
                    <a:pt x="227" y="193"/>
                  </a:lnTo>
                  <a:lnTo>
                    <a:pt x="18" y="193"/>
                  </a:lnTo>
                  <a:close/>
                </a:path>
              </a:pathLst>
            </a:custGeom>
            <a:grpFill/>
            <a:ln w="9525">
              <a:solidFill>
                <a:srgbClr val="F8F8F8"/>
              </a:solidFill>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Oval 15">
              <a:extLst>
                <a:ext uri="{FF2B5EF4-FFF2-40B4-BE49-F238E27FC236}">
                  <a16:creationId xmlns:a16="http://schemas.microsoft.com/office/drawing/2014/main" id="{CC92388F-4BFB-439F-B9D9-1D6F2C77F1FB}"/>
                </a:ext>
              </a:extLst>
            </p:cNvPr>
            <p:cNvSpPr>
              <a:spLocks noChangeArrowheads="1"/>
            </p:cNvSpPr>
            <p:nvPr/>
          </p:nvSpPr>
          <p:spPr bwMode="auto">
            <a:xfrm>
              <a:off x="6075363" y="2434811"/>
              <a:ext cx="28575"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8" name="Oval 16">
              <a:extLst>
                <a:ext uri="{FF2B5EF4-FFF2-40B4-BE49-F238E27FC236}">
                  <a16:creationId xmlns:a16="http://schemas.microsoft.com/office/drawing/2014/main" id="{DB3AFBA9-AB8E-40E7-9A75-F715B001FF9E}"/>
                </a:ext>
              </a:extLst>
            </p:cNvPr>
            <p:cNvSpPr>
              <a:spLocks noChangeArrowheads="1"/>
            </p:cNvSpPr>
            <p:nvPr/>
          </p:nvSpPr>
          <p:spPr bwMode="auto">
            <a:xfrm>
              <a:off x="6034088" y="2434811"/>
              <a:ext cx="28575"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9" name="Oval 17">
              <a:extLst>
                <a:ext uri="{FF2B5EF4-FFF2-40B4-BE49-F238E27FC236}">
                  <a16:creationId xmlns:a16="http://schemas.microsoft.com/office/drawing/2014/main" id="{98B41D4D-3721-48FF-9EA8-BA7759DAE925}"/>
                </a:ext>
              </a:extLst>
            </p:cNvPr>
            <p:cNvSpPr>
              <a:spLocks noChangeArrowheads="1"/>
            </p:cNvSpPr>
            <p:nvPr/>
          </p:nvSpPr>
          <p:spPr bwMode="auto">
            <a:xfrm>
              <a:off x="5992813" y="2434811"/>
              <a:ext cx="26987" cy="285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 name="Graphic 2" descr="Pencil">
            <a:extLst>
              <a:ext uri="{FF2B5EF4-FFF2-40B4-BE49-F238E27FC236}">
                <a16:creationId xmlns:a16="http://schemas.microsoft.com/office/drawing/2014/main" id="{4B9CA2C9-EEAC-4317-83AF-DE830A8817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57930" y="3510787"/>
            <a:ext cx="690076" cy="690076"/>
          </a:xfrm>
          <a:prstGeom prst="rect">
            <a:avLst/>
          </a:prstGeom>
        </p:spPr>
      </p:pic>
      <p:sp>
        <p:nvSpPr>
          <p:cNvPr id="28" name="Thought Bubble: Cloud 27">
            <a:extLst>
              <a:ext uri="{FF2B5EF4-FFF2-40B4-BE49-F238E27FC236}">
                <a16:creationId xmlns:a16="http://schemas.microsoft.com/office/drawing/2014/main" id="{D204A2DE-A90E-42BB-AF08-278F23AA2698}"/>
              </a:ext>
            </a:extLst>
          </p:cNvPr>
          <p:cNvSpPr/>
          <p:nvPr/>
        </p:nvSpPr>
        <p:spPr bwMode="auto">
          <a:xfrm>
            <a:off x="5522869" y="1692769"/>
            <a:ext cx="760198" cy="462560"/>
          </a:xfrm>
          <a:prstGeom prst="cloudCallou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Graphic 30" descr="Lock">
            <a:extLst>
              <a:ext uri="{FF2B5EF4-FFF2-40B4-BE49-F238E27FC236}">
                <a16:creationId xmlns:a16="http://schemas.microsoft.com/office/drawing/2014/main" id="{095B2842-AFB8-49BF-B6CD-C266E6EE5F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3816" y="5215622"/>
            <a:ext cx="829153" cy="829153"/>
          </a:xfrm>
          <a:prstGeom prst="rect">
            <a:avLst/>
          </a:prstGeom>
        </p:spPr>
      </p:pic>
      <p:sp>
        <p:nvSpPr>
          <p:cNvPr id="50" name="Title 2">
            <a:extLst>
              <a:ext uri="{FF2B5EF4-FFF2-40B4-BE49-F238E27FC236}">
                <a16:creationId xmlns:a16="http://schemas.microsoft.com/office/drawing/2014/main" id="{7D1D0E29-4BD2-4B9D-BB8B-0C6E1F9CB71E}"/>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ata Asset</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a:t>
            </a:r>
          </a:p>
        </p:txBody>
      </p:sp>
    </p:spTree>
    <p:custDataLst>
      <p:tags r:id="rId1"/>
    </p:custDataLst>
    <p:extLst>
      <p:ext uri="{BB962C8B-B14F-4D97-AF65-F5344CB8AC3E}">
        <p14:creationId xmlns:p14="http://schemas.microsoft.com/office/powerpoint/2010/main" val="17475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40">
                                            <p:txEl>
                                              <p:pRg st="1" end="1"/>
                                            </p:txEl>
                                          </p:spTgt>
                                        </p:tgtEl>
                                        <p:attrNameLst>
                                          <p:attrName>style.visibility</p:attrName>
                                        </p:attrNameLst>
                                      </p:cBhvr>
                                      <p:to>
                                        <p:strVal val="visible"/>
                                      </p:to>
                                    </p:set>
                                    <p:animEffect transition="in" filter="fade">
                                      <p:cBhvr>
                                        <p:cTn id="18" dur="500"/>
                                        <p:tgtEl>
                                          <p:spTgt spid="4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nodeType="withEffect">
                                  <p:stCondLst>
                                    <p:cond delay="0"/>
                                  </p:stCondLst>
                                  <p:childTnLst>
                                    <p:set>
                                      <p:cBhvr>
                                        <p:cTn id="25" dur="1" fill="hold">
                                          <p:stCondLst>
                                            <p:cond delay="0"/>
                                          </p:stCondLst>
                                        </p:cTn>
                                        <p:tgtEl>
                                          <p:spTgt spid="40">
                                            <p:txEl>
                                              <p:pRg st="2" end="2"/>
                                            </p:txEl>
                                          </p:spTgt>
                                        </p:tgtEl>
                                        <p:attrNameLst>
                                          <p:attrName>style.visibility</p:attrName>
                                        </p:attrNameLst>
                                      </p:cBhvr>
                                      <p:to>
                                        <p:strVal val="visible"/>
                                      </p:to>
                                    </p:set>
                                    <p:animEffect transition="in" filter="fade">
                                      <p:cBhvr>
                                        <p:cTn id="26" dur="500"/>
                                        <p:tgtEl>
                                          <p:spTgt spid="40">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nodeType="withEffect">
                                  <p:stCondLst>
                                    <p:cond delay="0"/>
                                  </p:stCondLst>
                                  <p:childTnLst>
                                    <p:set>
                                      <p:cBhvr>
                                        <p:cTn id="31" dur="1" fill="hold">
                                          <p:stCondLst>
                                            <p:cond delay="0"/>
                                          </p:stCondLst>
                                        </p:cTn>
                                        <p:tgtEl>
                                          <p:spTgt spid="40">
                                            <p:txEl>
                                              <p:pRg st="3" end="3"/>
                                            </p:txEl>
                                          </p:spTgt>
                                        </p:tgtEl>
                                        <p:attrNameLst>
                                          <p:attrName>style.visibility</p:attrName>
                                        </p:attrNameLst>
                                      </p:cBhvr>
                                      <p:to>
                                        <p:strVal val="visible"/>
                                      </p:to>
                                    </p:set>
                                    <p:animEffect transition="in" filter="fade">
                                      <p:cBhvr>
                                        <p:cTn id="32" dur="500"/>
                                        <p:tgtEl>
                                          <p:spTgt spid="40">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nodeType="withEffect">
                                  <p:stCondLst>
                                    <p:cond delay="0"/>
                                  </p:stCondLst>
                                  <p:childTnLst>
                                    <p:set>
                                      <p:cBhvr>
                                        <p:cTn id="39" dur="1" fill="hold">
                                          <p:stCondLst>
                                            <p:cond delay="0"/>
                                          </p:stCondLst>
                                        </p:cTn>
                                        <p:tgtEl>
                                          <p:spTgt spid="40">
                                            <p:txEl>
                                              <p:pRg st="4" end="4"/>
                                            </p:txEl>
                                          </p:spTgt>
                                        </p:tgtEl>
                                        <p:attrNameLst>
                                          <p:attrName>style.visibility</p:attrName>
                                        </p:attrNameLst>
                                      </p:cBhvr>
                                      <p:to>
                                        <p:strVal val="visible"/>
                                      </p:to>
                                    </p:set>
                                    <p:animEffect transition="in" filter="fade">
                                      <p:cBhvr>
                                        <p:cTn id="40" dur="500"/>
                                        <p:tgtEl>
                                          <p:spTgt spid="40">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nodeType="withEffect">
                                  <p:stCondLst>
                                    <p:cond delay="0"/>
                                  </p:stCondLst>
                                  <p:childTnLst>
                                    <p:set>
                                      <p:cBhvr>
                                        <p:cTn id="47" dur="1" fill="hold">
                                          <p:stCondLst>
                                            <p:cond delay="0"/>
                                          </p:stCondLst>
                                        </p:cTn>
                                        <p:tgtEl>
                                          <p:spTgt spid="40">
                                            <p:txEl>
                                              <p:pRg st="5" end="5"/>
                                            </p:txEl>
                                          </p:spTgt>
                                        </p:tgtEl>
                                        <p:attrNameLst>
                                          <p:attrName>style.visibility</p:attrName>
                                        </p:attrNameLst>
                                      </p:cBhvr>
                                      <p:to>
                                        <p:strVal val="visible"/>
                                      </p:to>
                                    </p:set>
                                    <p:animEffect transition="in" filter="fade">
                                      <p:cBhvr>
                                        <p:cTn id="48" dur="500"/>
                                        <p:tgtEl>
                                          <p:spTgt spid="4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2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What data sources are accessible for analysis</a:t>
            </a:r>
            <a:r>
              <a:rPr lang="en-US"/>
              <a:t>?</a:t>
            </a:r>
          </a:p>
        </p:txBody>
      </p:sp>
      <p:sp>
        <p:nvSpPr>
          <p:cNvPr id="4" name="Text Placeholder 1">
            <a:extLst>
              <a:ext uri="{FF2B5EF4-FFF2-40B4-BE49-F238E27FC236}">
                <a16:creationId xmlns:a16="http://schemas.microsoft.com/office/drawing/2014/main" id="{1A22681E-168C-4450-A572-DA7C706E81B0}"/>
              </a:ext>
            </a:extLst>
          </p:cNvPr>
          <p:cNvSpPr>
            <a:spLocks noGrp="1"/>
          </p:cNvSpPr>
          <p:nvPr>
            <p:ph type="body" sz="quarter" idx="10"/>
          </p:nvPr>
        </p:nvSpPr>
        <p:spPr>
          <a:xfrm>
            <a:off x="302482" y="3178513"/>
            <a:ext cx="11587037" cy="3480144"/>
          </a:xfrm>
        </p:spPr>
        <p:txBody>
          <a:bodyPr>
            <a:normAutofit/>
          </a:bodyPr>
          <a:lstStyle/>
          <a:p>
            <a:r>
              <a:rPr lang="en-GB"/>
              <a:t>Key Areas to Discuss</a:t>
            </a:r>
          </a:p>
          <a:p>
            <a:pPr lvl="2"/>
            <a:r>
              <a:rPr lang="en-US">
                <a:solidFill>
                  <a:srgbClr val="EDC30D"/>
                </a:solidFill>
              </a:rPr>
              <a:t>Location</a:t>
            </a:r>
          </a:p>
          <a:p>
            <a:pPr lvl="2"/>
            <a:r>
              <a:rPr lang="en-US">
                <a:solidFill>
                  <a:srgbClr val="EDC30D"/>
                </a:solidFill>
              </a:rPr>
              <a:t>Data Source type</a:t>
            </a:r>
          </a:p>
          <a:p>
            <a:pPr lvl="2"/>
            <a:r>
              <a:rPr lang="en-US">
                <a:solidFill>
                  <a:srgbClr val="EDC30D"/>
                </a:solidFill>
              </a:rPr>
              <a:t>Size</a:t>
            </a:r>
          </a:p>
          <a:p>
            <a:pPr lvl="2"/>
            <a:r>
              <a:rPr lang="en-US">
                <a:solidFill>
                  <a:srgbClr val="EDC30D"/>
                </a:solidFill>
              </a:rPr>
              <a:t>Refresh frequency</a:t>
            </a:r>
          </a:p>
          <a:p>
            <a:pPr lvl="2"/>
            <a:r>
              <a:rPr lang="en-GB">
                <a:solidFill>
                  <a:srgbClr val="EDC30D"/>
                </a:solidFill>
              </a:rPr>
              <a:t>W</a:t>
            </a:r>
            <a:r>
              <a:rPr lang="en-US">
                <a:solidFill>
                  <a:srgbClr val="EDC30D"/>
                </a:solidFill>
              </a:rPr>
              <a:t>ho can access</a:t>
            </a:r>
          </a:p>
          <a:p>
            <a:pPr lvl="2"/>
            <a:r>
              <a:rPr lang="en-GB">
                <a:solidFill>
                  <a:srgbClr val="EDC30D"/>
                </a:solidFill>
              </a:rPr>
              <a:t>H</a:t>
            </a:r>
            <a:r>
              <a:rPr lang="en-US">
                <a:solidFill>
                  <a:srgbClr val="EDC30D"/>
                </a:solidFill>
              </a:rPr>
              <a:t>ow can someone request access</a:t>
            </a:r>
          </a:p>
          <a:p>
            <a:pPr lvl="2"/>
            <a:r>
              <a:rPr lang="en-US">
                <a:solidFill>
                  <a:srgbClr val="EDC30D"/>
                </a:solidFill>
              </a:rPr>
              <a:t>Monitoring</a:t>
            </a:r>
          </a:p>
          <a:p>
            <a:pPr lvl="2"/>
            <a:r>
              <a:rPr lang="en-US">
                <a:solidFill>
                  <a:srgbClr val="EDC30D"/>
                </a:solidFill>
              </a:rPr>
              <a:t>Performance implications</a:t>
            </a:r>
          </a:p>
        </p:txBody>
      </p:sp>
    </p:spTree>
    <p:custDataLst>
      <p:tags r:id="rId1"/>
    </p:custDataLst>
    <p:extLst>
      <p:ext uri="{BB962C8B-B14F-4D97-AF65-F5344CB8AC3E}">
        <p14:creationId xmlns:p14="http://schemas.microsoft.com/office/powerpoint/2010/main" val="102109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632180-C8BB-4527-BB38-FDB20CE11326}"/>
              </a:ext>
            </a:extLst>
          </p:cNvPr>
          <p:cNvSpPr>
            <a:spLocks noGrp="1"/>
          </p:cNvSpPr>
          <p:nvPr>
            <p:ph type="ctrTitle"/>
          </p:nvPr>
        </p:nvSpPr>
        <p:spPr/>
        <p:txBody>
          <a:bodyPr/>
          <a:lstStyle/>
          <a:p>
            <a:r>
              <a:rPr lang="de-DE" err="1"/>
              <a:t>PowerBI</a:t>
            </a:r>
            <a:r>
              <a:rPr lang="de-DE"/>
              <a:t> </a:t>
            </a:r>
            <a:r>
              <a:rPr lang="de-DE" err="1"/>
              <a:t>Governance</a:t>
            </a:r>
            <a:r>
              <a:rPr lang="de-DE"/>
              <a:t>:</a:t>
            </a:r>
            <a:br>
              <a:rPr lang="de-DE"/>
            </a:br>
            <a:r>
              <a:rPr lang="de-DE" err="1"/>
              <a:t>How</a:t>
            </a:r>
            <a:r>
              <a:rPr lang="de-DE"/>
              <a:t> Do </a:t>
            </a:r>
            <a:r>
              <a:rPr lang="de-DE" err="1"/>
              <a:t>We</a:t>
            </a:r>
            <a:r>
              <a:rPr lang="de-DE"/>
              <a:t> Want to </a:t>
            </a:r>
            <a:r>
              <a:rPr lang="de-DE" err="1"/>
              <a:t>Achieve</a:t>
            </a:r>
            <a:r>
              <a:rPr lang="de-DE"/>
              <a:t> </a:t>
            </a:r>
            <a:r>
              <a:rPr lang="de-DE" err="1"/>
              <a:t>It</a:t>
            </a:r>
            <a:r>
              <a:rPr lang="de-DE"/>
              <a:t>?</a:t>
            </a:r>
          </a:p>
        </p:txBody>
      </p:sp>
      <p:sp>
        <p:nvSpPr>
          <p:cNvPr id="3" name="Textplatzhalter 2">
            <a:extLst>
              <a:ext uri="{FF2B5EF4-FFF2-40B4-BE49-F238E27FC236}">
                <a16:creationId xmlns:a16="http://schemas.microsoft.com/office/drawing/2014/main" id="{2CE1E3C1-6ED0-49B5-B2D6-25E391DD1B74}"/>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24490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5" name="Content Placeholder 2"/>
          <p:cNvSpPr txBox="1">
            <a:spLocks/>
          </p:cNvSpPr>
          <p:nvPr/>
        </p:nvSpPr>
        <p:spPr>
          <a:xfrm>
            <a:off x="978302" y="2101172"/>
            <a:ext cx="9767863" cy="33337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0" indent="-365760" algn="l" defTabSz="914400" rtl="0" eaLnBrk="1" fontAlgn="auto" latinLnBrk="0" hangingPunct="1">
              <a:lnSpc>
                <a:spcPct val="90000"/>
              </a:lnSpc>
              <a:spcBef>
                <a:spcPts val="1800"/>
              </a:spcBef>
              <a:spcAft>
                <a:spcPts val="0"/>
              </a:spcAft>
              <a:buClr>
                <a:srgbClr val="EDC30D"/>
              </a:buClr>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Title 6"/>
          <p:cNvSpPr>
            <a:spLocks noGrp="1"/>
          </p:cNvSpPr>
          <p:nvPr>
            <p:ph type="title"/>
          </p:nvPr>
        </p:nvSpPr>
        <p:spPr/>
        <p:txBody>
          <a:bodyPr/>
          <a:lstStyle/>
          <a:p>
            <a:r>
              <a:rPr lang="en-US">
                <a:solidFill>
                  <a:srgbClr val="EDC30D"/>
                </a:solidFill>
              </a:rPr>
              <a:t>Implementing Governance</a:t>
            </a:r>
            <a:endParaRPr lang="en-GB"/>
          </a:p>
        </p:txBody>
      </p:sp>
      <p:sp>
        <p:nvSpPr>
          <p:cNvPr id="3" name="Rectangle 2">
            <a:extLst>
              <a:ext uri="{FF2B5EF4-FFF2-40B4-BE49-F238E27FC236}">
                <a16:creationId xmlns:a16="http://schemas.microsoft.com/office/drawing/2014/main" id="{98ED7344-D150-4864-BB95-4CBDEE023F5F}"/>
              </a:ext>
            </a:extLst>
          </p:cNvPr>
          <p:cNvSpPr/>
          <p:nvPr/>
        </p:nvSpPr>
        <p:spPr>
          <a:xfrm>
            <a:off x="5496673" y="356736"/>
            <a:ext cx="6441897" cy="6189387"/>
          </a:xfrm>
          <a:prstGeom prst="rect">
            <a:avLst/>
          </a:prstGeom>
        </p:spPr>
        <p:txBody>
          <a:bodyPr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Balance the needs of IT and the busines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Every enterprise is uniqu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Determine initial principles and goals</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Clarify ownerships of business information and content</a:t>
            </a:r>
            <a:endParaRPr kumimoji="0" lang="en-GB" sz="2400" b="0" i="0" u="none" strike="noStrike" kern="1200" cap="none" spc="0" normalizeH="0" baseline="0" noProof="0">
              <a:ln>
                <a:noFill/>
              </a:ln>
              <a:solidFill>
                <a:prstClr val="black"/>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0041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978302" y="687508"/>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2000" b="0" i="0" u="none" strike="noStrike" kern="1200" cap="none" spc="-102" normalizeH="0" baseline="0" noProof="0">
              <a:ln w="3175">
                <a:noFill/>
              </a:ln>
              <a:solidFill>
                <a:srgbClr val="EDC30D"/>
              </a:solidFill>
              <a:effectLst/>
              <a:uLnTx/>
              <a:uFillTx/>
              <a:latin typeface="Segoe UI Light"/>
              <a:ea typeface="+mn-ea"/>
              <a:cs typeface="Segoe UI" pitchFamily="34" charset="0"/>
            </a:endParaRPr>
          </a:p>
        </p:txBody>
      </p:sp>
      <p:sp>
        <p:nvSpPr>
          <p:cNvPr id="2" name="Title 1"/>
          <p:cNvSpPr>
            <a:spLocks noGrp="1"/>
          </p:cNvSpPr>
          <p:nvPr>
            <p:ph type="title"/>
          </p:nvPr>
        </p:nvSpPr>
        <p:spPr/>
        <p:txBody>
          <a:bodyPr/>
          <a:lstStyle/>
          <a:p>
            <a:r>
              <a:rPr lang="en-US"/>
              <a:t>Data Discovery</a:t>
            </a:r>
            <a:endParaRPr lang="en-GB"/>
          </a:p>
        </p:txBody>
      </p:sp>
      <p:graphicFrame>
        <p:nvGraphicFramePr>
          <p:cNvPr id="3" name="Diagram 2">
            <a:extLst>
              <a:ext uri="{FF2B5EF4-FFF2-40B4-BE49-F238E27FC236}">
                <a16:creationId xmlns:a16="http://schemas.microsoft.com/office/drawing/2014/main" id="{046605F2-26B2-4A87-B0ED-B64980C781E5}"/>
              </a:ext>
            </a:extLst>
          </p:cNvPr>
          <p:cNvGraphicFramePr/>
          <p:nvPr/>
        </p:nvGraphicFramePr>
        <p:xfrm>
          <a:off x="5716284" y="309094"/>
          <a:ext cx="5877130" cy="4299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53F4BD9-8E01-48C0-AE7F-B0EF6C9BA9DD}"/>
              </a:ext>
            </a:extLst>
          </p:cNvPr>
          <p:cNvSpPr/>
          <p:nvPr/>
        </p:nvSpPr>
        <p:spPr>
          <a:xfrm>
            <a:off x="5716284" y="4443212"/>
            <a:ext cx="5877130" cy="1959099"/>
          </a:xfrm>
          <a:prstGeom prst="rect">
            <a:avLst/>
          </a:prstGeom>
        </p:spPr>
        <p:txBody>
          <a:bodyPr anchor="ctr"/>
          <a:lstStyle/>
          <a:p>
            <a:pPr marL="0" marR="0" lvl="0" indent="0" algn="l" defTabSz="914400" rtl="0" eaLnBrk="1" fontAlgn="auto" latinLnBrk="0" hangingPunct="1">
              <a:lnSpc>
                <a:spcPct val="100000"/>
              </a:lnSpc>
              <a:spcBef>
                <a:spcPts val="0"/>
              </a:spcBef>
              <a:spcAft>
                <a:spcPts val="1800"/>
              </a:spcAft>
              <a:buClr>
                <a:srgbClr val="EDC30D"/>
              </a:buClr>
              <a:buSzTx/>
              <a:buFontTx/>
              <a:buNone/>
              <a:tabLst/>
              <a:defRPr/>
            </a:pPr>
            <a:r>
              <a:rPr kumimoji="0" lang="en-US" sz="2800" b="0" i="0" u="none" strike="noStrike" kern="1200" cap="none" spc="0" normalizeH="0" baseline="0" noProof="0">
                <a:ln>
                  <a:noFill/>
                </a:ln>
                <a:solidFill>
                  <a:srgbClr val="1E1E1E"/>
                </a:solidFill>
                <a:effectLst/>
                <a:uLnTx/>
                <a:uFillTx/>
                <a:latin typeface="Segoe UI" panose="020B0502040204020203" pitchFamily="34" charset="0"/>
                <a:ea typeface="+mn-ea"/>
                <a:cs typeface="Segoe UI" panose="020B0502040204020203" pitchFamily="34" charset="0"/>
              </a:rPr>
              <a:t>Centralized Control vs. Decentralized Empowerment</a:t>
            </a:r>
          </a:p>
        </p:txBody>
      </p:sp>
    </p:spTree>
    <p:extLst>
      <p:ext uri="{BB962C8B-B14F-4D97-AF65-F5344CB8AC3E}">
        <p14:creationId xmlns:p14="http://schemas.microsoft.com/office/powerpoint/2010/main" val="216371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7" name="Title 3"/>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EDC30D"/>
                </a:solidFill>
                <a:effectLst/>
                <a:uLnTx/>
                <a:uFillTx/>
                <a:latin typeface="Segoe UI Light" panose="020B0502040204020203" pitchFamily="34" charset="0"/>
                <a:ea typeface="+mn-ea"/>
                <a:cs typeface="Segoe UI Light" panose="020B0502040204020203" pitchFamily="34" charset="0"/>
              </a:rPr>
              <a:t>Governance Model</a:t>
            </a:r>
            <a:endParaRPr kumimoji="0" lang="en-US" sz="6000" b="0" i="0" u="none" strike="noStrike" kern="1200" cap="none" spc="-102" normalizeH="0" baseline="0" noProof="0">
              <a:ln w="3175">
                <a:noFill/>
              </a:ln>
              <a:solidFill>
                <a:srgbClr val="EDC30D"/>
              </a:solidFill>
              <a:effectLst/>
              <a:uLnTx/>
              <a:uFillTx/>
              <a:latin typeface="Segoe UI Light" panose="020B0502040204020203" pitchFamily="34" charset="0"/>
              <a:ea typeface="+mn-ea"/>
              <a:cs typeface="Segoe UI Light" panose="020B0502040204020203" pitchFamily="34" charset="0"/>
            </a:endParaRPr>
          </a:p>
        </p:txBody>
      </p:sp>
      <p:sp>
        <p:nvSpPr>
          <p:cNvPr id="50" name="Freeform: Shape 49">
            <a:extLst>
              <a:ext uri="{FF2B5EF4-FFF2-40B4-BE49-F238E27FC236}">
                <a16:creationId xmlns:a16="http://schemas.microsoft.com/office/drawing/2014/main" id="{90ADC8CE-FDB2-422E-99A5-761B7A573449}"/>
              </a:ext>
            </a:extLst>
          </p:cNvPr>
          <p:cNvSpPr/>
          <p:nvPr/>
        </p:nvSpPr>
        <p:spPr>
          <a:xfrm>
            <a:off x="5621536" y="1491498"/>
            <a:ext cx="1103386" cy="986128"/>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061885" y="2491848"/>
            <a:ext cx="2222688" cy="986128"/>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02235" y="3492198"/>
            <a:ext cx="3341989" cy="986128"/>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42584" y="4492548"/>
            <a:ext cx="4461290" cy="986128"/>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385134" y="5502327"/>
            <a:ext cx="5576191" cy="982197"/>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10978" y="2023718"/>
            <a:ext cx="524503" cy="2769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366758" y="2669964"/>
            <a:ext cx="1612942" cy="646331"/>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BUSINESS UNI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DASHBOARDS, KPIs </a:t>
            </a:r>
            <a:b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31304" y="3758503"/>
            <a:ext cx="1883850" cy="461665"/>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DEPARTMENTAL, TEAM </a:t>
            </a:r>
            <a:b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OR GROUP REPORTING</a:t>
            </a:r>
          </a:p>
        </p:txBody>
      </p:sp>
      <p:sp>
        <p:nvSpPr>
          <p:cNvPr id="58" name="TextBox 57">
            <a:extLst>
              <a:ext uri="{FF2B5EF4-FFF2-40B4-BE49-F238E27FC236}">
                <a16:creationId xmlns:a16="http://schemas.microsoft.com/office/drawing/2014/main" id="{153F84BC-318F-48FE-BC99-8699587B2F2E}"/>
              </a:ext>
            </a:extLst>
          </p:cNvPr>
          <p:cNvSpPr txBox="1"/>
          <p:nvPr/>
        </p:nvSpPr>
        <p:spPr>
          <a:xfrm>
            <a:off x="5329889" y="4854242"/>
            <a:ext cx="1686680" cy="276999"/>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260960" y="5862150"/>
            <a:ext cx="1824538" cy="276999"/>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647434" y="1309419"/>
            <a:ext cx="1925527"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bold" panose="020B0702040204020203" pitchFamily="34" charset="0"/>
              </a:rPr>
              <a:t>TIGHT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373969" y="6225764"/>
            <a:ext cx="1760418"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bold" panose="020B0702040204020203" pitchFamily="34" charset="0"/>
              </a:rPr>
              <a:t>LESS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703011" y="5258521"/>
            <a:ext cx="2669417" cy="612475"/>
          </a:xfrm>
          <a:prstGeom prst="rect">
            <a:avLst/>
          </a:prstGeom>
          <a:noFill/>
        </p:spPr>
        <p:txBody>
          <a:bodyPr wrap="square" rtlCol="0">
            <a:spAutoFit/>
          </a:bodyPr>
          <a:lstStyle/>
          <a:p>
            <a:pPr marL="0" marR="0" lvl="0" indent="0" algn="r" defTabSz="932597"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rsonal/Private views</a:t>
            </a:r>
          </a:p>
          <a:p>
            <a:pPr marL="0" marR="0" lvl="0" indent="0" algn="r" defTabSz="932597"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8655" y="3565169"/>
            <a:ext cx="2421014" cy="911019"/>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ush up content</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ower BI Desktop</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032354" y="3565169"/>
            <a:ext cx="2678076"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Knowledge management</a:t>
            </a:r>
          </a:p>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31600" y="2212353"/>
            <a:ext cx="2449521"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rmanent record</a:t>
            </a:r>
          </a:p>
          <a:p>
            <a:pPr marL="0" marR="0" lvl="0" indent="0" algn="r"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261787" y="2212353"/>
            <a:ext cx="2215879"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ush down content</a:t>
            </a:r>
          </a:p>
          <a:p>
            <a:pPr marL="0" marR="0" lvl="0" indent="0" algn="l" defTabSz="93259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440960" y="1479451"/>
            <a:ext cx="2771481" cy="4986779"/>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16214" y="1479451"/>
            <a:ext cx="2781006" cy="4991542"/>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4574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27442" y="1566268"/>
            <a:ext cx="4480853" cy="1045806"/>
            <a:chOff x="1148611" y="1596638"/>
            <a:chExt cx="4572000" cy="1067078"/>
          </a:xfrm>
        </p:grpSpPr>
        <p:grpSp>
          <p:nvGrpSpPr>
            <p:cNvPr id="8" name="Group 7"/>
            <p:cNvGrpSpPr/>
            <p:nvPr/>
          </p:nvGrpSpPr>
          <p:grpSpPr>
            <a:xfrm>
              <a:off x="3341722" y="1747547"/>
              <a:ext cx="559708" cy="559562"/>
              <a:chOff x="3341722" y="1747547"/>
              <a:chExt cx="559708" cy="559562"/>
            </a:xfrm>
          </p:grpSpPr>
          <p:sp>
            <p:nvSpPr>
              <p:cNvPr id="18" name="Rectangle 17"/>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19" name="Picture 3" descr="\\SFP\Work\White_Whale\3-22036_Kuleen_Bharadwaj\PPT\4_SQL Server Renewal\SFP_Art\Icons\Chris Icons\report on browser.png"/>
              <p:cNvPicPr>
                <a:picLocks noChangeAspect="1" noChangeArrowheads="1"/>
              </p:cNvPicPr>
              <p:nvPr/>
            </p:nvPicPr>
            <p:blipFill>
              <a:blip r:embed="rId4" cstate="screen">
                <a:graysc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341722" y="1747547"/>
                <a:ext cx="559708" cy="559562"/>
              </a:xfrm>
              <a:prstGeom prst="rect">
                <a:avLst/>
              </a:prstGeom>
              <a:solidFill>
                <a:srgbClr val="7293B1"/>
              </a:solidFill>
            </p:spPr>
          </p:pic>
        </p:grpSp>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35353" y="1747547"/>
              <a:ext cx="559562" cy="559562"/>
            </a:xfrm>
            <a:prstGeom prst="rect">
              <a:avLst/>
            </a:prstGeom>
            <a:noFill/>
          </p:spPr>
        </p:pic>
        <p:grpSp>
          <p:nvGrpSpPr>
            <p:cNvPr id="10" name="Group 9"/>
            <p:cNvGrpSpPr/>
            <p:nvPr/>
          </p:nvGrpSpPr>
          <p:grpSpPr>
            <a:xfrm>
              <a:off x="2548237" y="1752067"/>
              <a:ext cx="559562" cy="562270"/>
              <a:chOff x="2548237" y="1752067"/>
              <a:chExt cx="559562" cy="562270"/>
            </a:xfrm>
          </p:grpSpPr>
          <p:sp>
            <p:nvSpPr>
              <p:cNvPr id="16" name="Rectangle 15"/>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17" name="Picture 3"/>
              <p:cNvPicPr>
                <a:picLocks noChangeAspect="1" noChangeArrowheads="1"/>
              </p:cNvPicPr>
              <p:nvPr/>
            </p:nvPicPr>
            <p:blipFill>
              <a:blip r:embed="rId7" cstate="screen">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bwMode="auto">
              <a:xfrm>
                <a:off x="2548237" y="1753020"/>
                <a:ext cx="559562" cy="561317"/>
              </a:xfrm>
              <a:prstGeom prst="rect">
                <a:avLst/>
              </a:prstGeom>
              <a:solidFill>
                <a:srgbClr val="7293B1"/>
              </a:solidFill>
            </p:spPr>
          </p:pic>
        </p:grpSp>
        <p:sp>
          <p:nvSpPr>
            <p:cNvPr id="11" name="TextBox 10"/>
            <p:cNvSpPr txBox="1"/>
            <p:nvPr/>
          </p:nvSpPr>
          <p:spPr>
            <a:xfrm>
              <a:off x="2548237" y="2331884"/>
              <a:ext cx="746278" cy="165917"/>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p>
          </p:txBody>
        </p:sp>
        <p:sp>
          <p:nvSpPr>
            <p:cNvPr id="12" name="TextBox 11"/>
            <p:cNvSpPr txBox="1"/>
            <p:nvPr/>
          </p:nvSpPr>
          <p:spPr>
            <a:xfrm>
              <a:off x="3346413" y="2331884"/>
              <a:ext cx="746278" cy="165917"/>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ports</a:t>
              </a:r>
            </a:p>
          </p:txBody>
        </p:sp>
        <p:sp>
          <p:nvSpPr>
            <p:cNvPr id="13" name="TextBox 12"/>
            <p:cNvSpPr txBox="1"/>
            <p:nvPr/>
          </p:nvSpPr>
          <p:spPr>
            <a:xfrm>
              <a:off x="4131730" y="2331884"/>
              <a:ext cx="1354437" cy="331832"/>
            </a:xfrm>
            <a:prstGeom prst="rect">
              <a:avLst/>
            </a:prstGeom>
            <a:noFill/>
          </p:spPr>
          <p:txBody>
            <a:bodyPr wrap="square" lIns="0" tIns="0" rIns="0" bIns="0" rtlCol="0">
              <a:spAutoFit/>
            </a:bodyPr>
            <a:lstStyle>
              <a:defPPr>
                <a:defRPr lang="en-US"/>
              </a:defPPr>
              <a:lvl1pPr defTabSz="932597">
                <a:lnSpc>
                  <a:spcPct val="90000"/>
                </a:lnSpc>
                <a:defRPr sz="1200" kern="0">
                  <a:gradFill>
                    <a:gsLst>
                      <a:gs pos="0">
                        <a:schemeClr val="tx2"/>
                      </a:gs>
                      <a:gs pos="86000">
                        <a:schemeClr val="tx2"/>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b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mp; Scorecards</a:t>
              </a:r>
            </a:p>
          </p:txBody>
        </p:sp>
        <p:sp>
          <p:nvSpPr>
            <p:cNvPr id="14" name="TextBox 13"/>
            <p:cNvSpPr txBox="1"/>
            <p:nvPr/>
          </p:nvSpPr>
          <p:spPr>
            <a:xfrm>
              <a:off x="1184593" y="2105571"/>
              <a:ext cx="1030684" cy="251229"/>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vision</a:t>
              </a:r>
            </a:p>
          </p:txBody>
        </p:sp>
        <p:cxnSp>
          <p:nvCxnSpPr>
            <p:cNvPr id="15" name="Straight Connector 14"/>
            <p:cNvCxnSpPr/>
            <p:nvPr/>
          </p:nvCxnSpPr>
          <p:spPr>
            <a:xfrm>
              <a:off x="1148611" y="1596638"/>
              <a:ext cx="457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Parallelogram 19"/>
          <p:cNvSpPr/>
          <p:nvPr/>
        </p:nvSpPr>
        <p:spPr bwMode="auto">
          <a:xfrm>
            <a:off x="6265421" y="1518862"/>
            <a:ext cx="1324998" cy="4496175"/>
          </a:xfrm>
          <a:prstGeom prst="parallelogram">
            <a:avLst>
              <a:gd name="adj" fmla="val 0"/>
            </a:avLst>
          </a:prstGeom>
          <a:solidFill>
            <a:schemeClr val="bg1">
              <a:lumMod val="85000"/>
            </a:schemeClr>
          </a:solidFill>
          <a:ln w="9525">
            <a:solidFill>
              <a:schemeClr val="bg1">
                <a:lumMod val="75000"/>
              </a:schemeClr>
            </a:solidFill>
            <a:round/>
            <a:headEnd/>
            <a:tailEnd/>
          </a:ln>
          <a:effectLst>
            <a:innerShdw blurRad="317500">
              <a:schemeClr val="bg1">
                <a:lumMod val="50000"/>
              </a:schemeClr>
            </a:innerShdw>
            <a:softEdge rad="0"/>
          </a:effectLst>
          <a:scene3d>
            <a:camera prst="perspectiveRight" fov="4500000">
              <a:rot lat="0" lon="19200000" rev="0"/>
            </a:camera>
            <a:lightRig rig="threePt" dir="t"/>
          </a:scene3d>
        </p:spPr>
        <p:txBody>
          <a:bodyPr vert="horz" wrap="square" lIns="91401" tIns="45700" rIns="91401" bIns="45700" numCol="1" anchor="t" anchorCtr="0" compatLnSpc="1">
            <a:prstTxWarp prst="textNoShape">
              <a:avLst/>
            </a:prstTxWarp>
          </a:bodyPr>
          <a:lstStyle/>
          <a:p>
            <a:pPr marL="0" marR="0" lvl="0" indent="0" algn="l" defTabSz="91387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Condensed"/>
              <a:ea typeface="+mn-ea"/>
              <a:cs typeface="+mn-cs"/>
            </a:endParaRPr>
          </a:p>
        </p:txBody>
      </p:sp>
      <p:grpSp>
        <p:nvGrpSpPr>
          <p:cNvPr id="21" name="Group 20"/>
          <p:cNvGrpSpPr/>
          <p:nvPr/>
        </p:nvGrpSpPr>
        <p:grpSpPr>
          <a:xfrm>
            <a:off x="6422790" y="1337652"/>
            <a:ext cx="982074" cy="4809700"/>
            <a:chOff x="6551671" y="1363372"/>
            <a:chExt cx="1002051" cy="4907536"/>
          </a:xfrm>
        </p:grpSpPr>
        <p:sp>
          <p:nvSpPr>
            <p:cNvPr id="22" name="Freeform 9"/>
            <p:cNvSpPr>
              <a:spLocks/>
            </p:cNvSpPr>
            <p:nvPr/>
          </p:nvSpPr>
          <p:spPr bwMode="auto">
            <a:xfrm rot="5400000" flipH="1" flipV="1">
              <a:off x="6876170" y="4360810"/>
              <a:ext cx="616500" cy="206260"/>
            </a:xfrm>
            <a:custGeom>
              <a:avLst/>
              <a:gdLst>
                <a:gd name="T0" fmla="*/ 0 w 703"/>
                <a:gd name="T1" fmla="*/ 150 h 150"/>
                <a:gd name="T2" fmla="*/ 201 w 703"/>
                <a:gd name="T3" fmla="*/ 0 h 150"/>
                <a:gd name="T4" fmla="*/ 673 w 703"/>
                <a:gd name="T5" fmla="*/ 66 h 150"/>
                <a:gd name="T6" fmla="*/ 703 w 703"/>
                <a:gd name="T7" fmla="*/ 150 h 150"/>
                <a:gd name="T8" fmla="*/ 0 w 703"/>
                <a:gd name="T9" fmla="*/ 150 h 150"/>
              </a:gdLst>
              <a:ahLst/>
              <a:cxnLst>
                <a:cxn ang="0">
                  <a:pos x="T0" y="T1"/>
                </a:cxn>
                <a:cxn ang="0">
                  <a:pos x="T2" y="T3"/>
                </a:cxn>
                <a:cxn ang="0">
                  <a:pos x="T4" y="T5"/>
                </a:cxn>
                <a:cxn ang="0">
                  <a:pos x="T6" y="T7"/>
                </a:cxn>
                <a:cxn ang="0">
                  <a:pos x="T8" y="T9"/>
                </a:cxn>
              </a:cxnLst>
              <a:rect l="0" t="0" r="r" b="b"/>
              <a:pathLst>
                <a:path w="703" h="150">
                  <a:moveTo>
                    <a:pt x="0" y="150"/>
                  </a:moveTo>
                  <a:lnTo>
                    <a:pt x="201" y="0"/>
                  </a:lnTo>
                  <a:lnTo>
                    <a:pt x="673" y="66"/>
                  </a:lnTo>
                  <a:lnTo>
                    <a:pt x="703" y="150"/>
                  </a:lnTo>
                  <a:lnTo>
                    <a:pt x="0" y="15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3" name="Freeform 10"/>
            <p:cNvSpPr>
              <a:spLocks/>
            </p:cNvSpPr>
            <p:nvPr/>
          </p:nvSpPr>
          <p:spPr bwMode="auto">
            <a:xfrm rot="5008932" flipH="1" flipV="1">
              <a:off x="6213513" y="1874417"/>
              <a:ext cx="1851254" cy="829164"/>
            </a:xfrm>
            <a:custGeom>
              <a:avLst/>
              <a:gdLst>
                <a:gd name="T0" fmla="*/ 804 w 2111"/>
                <a:gd name="T1" fmla="*/ 0 h 603"/>
                <a:gd name="T2" fmla="*/ 302 w 2111"/>
                <a:gd name="T3" fmla="*/ 302 h 603"/>
                <a:gd name="T4" fmla="*/ 1407 w 2111"/>
                <a:gd name="T5" fmla="*/ 151 h 603"/>
                <a:gd name="T6" fmla="*/ 0 w 2111"/>
                <a:gd name="T7" fmla="*/ 452 h 603"/>
                <a:gd name="T8" fmla="*/ 1005 w 2111"/>
                <a:gd name="T9" fmla="*/ 603 h 603"/>
                <a:gd name="T10" fmla="*/ 1508 w 2111"/>
                <a:gd name="T11" fmla="*/ 603 h 603"/>
                <a:gd name="T12" fmla="*/ 2111 w 2111"/>
                <a:gd name="T13" fmla="*/ 0 h 603"/>
                <a:gd name="T14" fmla="*/ 804 w 2111"/>
                <a:gd name="T15" fmla="*/ 0 h 6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1" h="603">
                  <a:moveTo>
                    <a:pt x="804" y="0"/>
                  </a:moveTo>
                  <a:lnTo>
                    <a:pt x="302" y="302"/>
                  </a:lnTo>
                  <a:lnTo>
                    <a:pt x="1407" y="151"/>
                  </a:lnTo>
                  <a:lnTo>
                    <a:pt x="0" y="452"/>
                  </a:lnTo>
                  <a:lnTo>
                    <a:pt x="1005" y="603"/>
                  </a:lnTo>
                  <a:lnTo>
                    <a:pt x="1508" y="603"/>
                  </a:lnTo>
                  <a:lnTo>
                    <a:pt x="2111" y="0"/>
                  </a:lnTo>
                  <a:lnTo>
                    <a:pt x="804"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4" name="Freeform 11"/>
            <p:cNvSpPr>
              <a:spLocks/>
            </p:cNvSpPr>
            <p:nvPr/>
          </p:nvSpPr>
          <p:spPr bwMode="auto">
            <a:xfrm rot="5237031" flipH="1" flipV="1">
              <a:off x="6056997" y="4842565"/>
              <a:ext cx="2027522" cy="829164"/>
            </a:xfrm>
            <a:custGeom>
              <a:avLst/>
              <a:gdLst>
                <a:gd name="T0" fmla="*/ 0 w 2312"/>
                <a:gd name="T1" fmla="*/ 0 h 603"/>
                <a:gd name="T2" fmla="*/ 1508 w 2312"/>
                <a:gd name="T3" fmla="*/ 0 h 603"/>
                <a:gd name="T4" fmla="*/ 2312 w 2312"/>
                <a:gd name="T5" fmla="*/ 302 h 603"/>
                <a:gd name="T6" fmla="*/ 1307 w 2312"/>
                <a:gd name="T7" fmla="*/ 151 h 603"/>
                <a:gd name="T8" fmla="*/ 1809 w 2312"/>
                <a:gd name="T9" fmla="*/ 302 h 603"/>
                <a:gd name="T10" fmla="*/ 1608 w 2312"/>
                <a:gd name="T11" fmla="*/ 452 h 603"/>
                <a:gd name="T12" fmla="*/ 1005 w 2312"/>
                <a:gd name="T13" fmla="*/ 603 h 603"/>
                <a:gd name="T14" fmla="*/ 603 w 2312"/>
                <a:gd name="T15" fmla="*/ 603 h 603"/>
                <a:gd name="T16" fmla="*/ 0 w 2312"/>
                <a:gd name="T17"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2" h="603">
                  <a:moveTo>
                    <a:pt x="0" y="0"/>
                  </a:moveTo>
                  <a:lnTo>
                    <a:pt x="1508" y="0"/>
                  </a:lnTo>
                  <a:lnTo>
                    <a:pt x="2312" y="302"/>
                  </a:lnTo>
                  <a:lnTo>
                    <a:pt x="1307" y="151"/>
                  </a:lnTo>
                  <a:lnTo>
                    <a:pt x="1809" y="302"/>
                  </a:lnTo>
                  <a:lnTo>
                    <a:pt x="1608" y="452"/>
                  </a:lnTo>
                  <a:lnTo>
                    <a:pt x="1005" y="603"/>
                  </a:lnTo>
                  <a:lnTo>
                    <a:pt x="603" y="603"/>
                  </a:lnTo>
                  <a:lnTo>
                    <a:pt x="0"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5" name="Freeform 12"/>
            <p:cNvSpPr>
              <a:spLocks/>
            </p:cNvSpPr>
            <p:nvPr/>
          </p:nvSpPr>
          <p:spPr bwMode="auto">
            <a:xfrm rot="4964037" flipH="1" flipV="1">
              <a:off x="6362483" y="4167732"/>
              <a:ext cx="793645" cy="415270"/>
            </a:xfrm>
            <a:custGeom>
              <a:avLst/>
              <a:gdLst>
                <a:gd name="T0" fmla="*/ 0 w 905"/>
                <a:gd name="T1" fmla="*/ 0 h 302"/>
                <a:gd name="T2" fmla="*/ 603 w 905"/>
                <a:gd name="T3" fmla="*/ 302 h 302"/>
                <a:gd name="T4" fmla="*/ 704 w 905"/>
                <a:gd name="T5" fmla="*/ 151 h 302"/>
                <a:gd name="T6" fmla="*/ 905 w 905"/>
                <a:gd name="T7" fmla="*/ 0 h 302"/>
                <a:gd name="T8" fmla="*/ 0 w 905"/>
                <a:gd name="T9" fmla="*/ 0 h 302"/>
              </a:gdLst>
              <a:ahLst/>
              <a:cxnLst>
                <a:cxn ang="0">
                  <a:pos x="T0" y="T1"/>
                </a:cxn>
                <a:cxn ang="0">
                  <a:pos x="T2" y="T3"/>
                </a:cxn>
                <a:cxn ang="0">
                  <a:pos x="T4" y="T5"/>
                </a:cxn>
                <a:cxn ang="0">
                  <a:pos x="T6" y="T7"/>
                </a:cxn>
                <a:cxn ang="0">
                  <a:pos x="T8" y="T9"/>
                </a:cxn>
              </a:cxnLst>
              <a:rect l="0" t="0" r="r" b="b"/>
              <a:pathLst>
                <a:path w="905" h="302">
                  <a:moveTo>
                    <a:pt x="0" y="0"/>
                  </a:moveTo>
                  <a:lnTo>
                    <a:pt x="603" y="302"/>
                  </a:lnTo>
                  <a:lnTo>
                    <a:pt x="704" y="151"/>
                  </a:lnTo>
                  <a:lnTo>
                    <a:pt x="905" y="0"/>
                  </a:lnTo>
                  <a:lnTo>
                    <a:pt x="0" y="0"/>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6" name="Freeform 13"/>
            <p:cNvSpPr>
              <a:spLocks/>
            </p:cNvSpPr>
            <p:nvPr/>
          </p:nvSpPr>
          <p:spPr bwMode="auto">
            <a:xfrm rot="5400000" flipH="1" flipV="1">
              <a:off x="6266002" y="3331117"/>
              <a:ext cx="1056732" cy="415270"/>
            </a:xfrm>
            <a:custGeom>
              <a:avLst/>
              <a:gdLst>
                <a:gd name="T0" fmla="*/ 0 w 1205"/>
                <a:gd name="T1" fmla="*/ 302 h 302"/>
                <a:gd name="T2" fmla="*/ 100 w 1205"/>
                <a:gd name="T3" fmla="*/ 151 h 302"/>
                <a:gd name="T4" fmla="*/ 402 w 1205"/>
                <a:gd name="T5" fmla="*/ 0 h 302"/>
                <a:gd name="T6" fmla="*/ 1205 w 1205"/>
                <a:gd name="T7" fmla="*/ 0 h 302"/>
                <a:gd name="T8" fmla="*/ 0 w 1205"/>
                <a:gd name="T9" fmla="*/ 302 h 302"/>
              </a:gdLst>
              <a:ahLst/>
              <a:cxnLst>
                <a:cxn ang="0">
                  <a:pos x="T0" y="T1"/>
                </a:cxn>
                <a:cxn ang="0">
                  <a:pos x="T2" y="T3"/>
                </a:cxn>
                <a:cxn ang="0">
                  <a:pos x="T4" y="T5"/>
                </a:cxn>
                <a:cxn ang="0">
                  <a:pos x="T6" y="T7"/>
                </a:cxn>
                <a:cxn ang="0">
                  <a:pos x="T8" y="T9"/>
                </a:cxn>
              </a:cxnLst>
              <a:rect l="0" t="0" r="r" b="b"/>
              <a:pathLst>
                <a:path w="1205" h="302">
                  <a:moveTo>
                    <a:pt x="0" y="302"/>
                  </a:moveTo>
                  <a:lnTo>
                    <a:pt x="100" y="151"/>
                  </a:lnTo>
                  <a:lnTo>
                    <a:pt x="402" y="0"/>
                  </a:lnTo>
                  <a:lnTo>
                    <a:pt x="1205" y="0"/>
                  </a:lnTo>
                  <a:lnTo>
                    <a:pt x="0" y="302"/>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sp>
          <p:nvSpPr>
            <p:cNvPr id="27" name="Freeform 14"/>
            <p:cNvSpPr>
              <a:spLocks/>
            </p:cNvSpPr>
            <p:nvPr/>
          </p:nvSpPr>
          <p:spPr bwMode="auto">
            <a:xfrm rot="5149843" flipH="1" flipV="1">
              <a:off x="6210846" y="3018455"/>
              <a:ext cx="1546073" cy="621529"/>
            </a:xfrm>
            <a:custGeom>
              <a:avLst/>
              <a:gdLst>
                <a:gd name="T0" fmla="*/ 0 w 1763"/>
                <a:gd name="T1" fmla="*/ 452 h 452"/>
                <a:gd name="T2" fmla="*/ 20 w 1763"/>
                <a:gd name="T3" fmla="*/ 356 h 452"/>
                <a:gd name="T4" fmla="*/ 1361 w 1763"/>
                <a:gd name="T5" fmla="*/ 0 h 452"/>
                <a:gd name="T6" fmla="*/ 1763 w 1763"/>
                <a:gd name="T7" fmla="*/ 0 h 452"/>
                <a:gd name="T8" fmla="*/ 1260 w 1763"/>
                <a:gd name="T9" fmla="*/ 302 h 452"/>
                <a:gd name="T10" fmla="*/ 1059 w 1763"/>
                <a:gd name="T11" fmla="*/ 406 h 452"/>
                <a:gd name="T12" fmla="*/ 0 w 1763"/>
                <a:gd name="T13" fmla="*/ 452 h 452"/>
              </a:gdLst>
              <a:ahLst/>
              <a:cxnLst>
                <a:cxn ang="0">
                  <a:pos x="T0" y="T1"/>
                </a:cxn>
                <a:cxn ang="0">
                  <a:pos x="T2" y="T3"/>
                </a:cxn>
                <a:cxn ang="0">
                  <a:pos x="T4" y="T5"/>
                </a:cxn>
                <a:cxn ang="0">
                  <a:pos x="T6" y="T7"/>
                </a:cxn>
                <a:cxn ang="0">
                  <a:pos x="T8" y="T9"/>
                </a:cxn>
                <a:cxn ang="0">
                  <a:pos x="T10" y="T11"/>
                </a:cxn>
                <a:cxn ang="0">
                  <a:pos x="T12" y="T13"/>
                </a:cxn>
              </a:cxnLst>
              <a:rect l="0" t="0" r="r" b="b"/>
              <a:pathLst>
                <a:path w="1763" h="452">
                  <a:moveTo>
                    <a:pt x="0" y="452"/>
                  </a:moveTo>
                  <a:lnTo>
                    <a:pt x="20" y="356"/>
                  </a:lnTo>
                  <a:lnTo>
                    <a:pt x="1361" y="0"/>
                  </a:lnTo>
                  <a:lnTo>
                    <a:pt x="1763" y="0"/>
                  </a:lnTo>
                  <a:lnTo>
                    <a:pt x="1260" y="302"/>
                  </a:lnTo>
                  <a:lnTo>
                    <a:pt x="1059" y="406"/>
                  </a:lnTo>
                  <a:lnTo>
                    <a:pt x="0" y="452"/>
                  </a:lnTo>
                  <a:close/>
                </a:path>
              </a:pathLst>
            </a:custGeom>
            <a:solidFill>
              <a:schemeClr val="bg1">
                <a:lumMod val="85000"/>
                <a:alpha val="61000"/>
              </a:schemeClr>
            </a:solidFill>
            <a:ln w="9525">
              <a:solidFill>
                <a:schemeClr val="bg1">
                  <a:lumMod val="50000"/>
                </a:schemeClr>
              </a:solidFill>
              <a:round/>
              <a:headEnd/>
              <a:tailEnd/>
            </a:ln>
          </p:spPr>
          <p:txBody>
            <a:bodyPr vert="horz" wrap="square" lIns="91401" tIns="45700" rIns="91401" bIns="457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w Cen MT"/>
                <a:ea typeface="+mn-ea"/>
                <a:cs typeface="+mn-cs"/>
              </a:endParaRPr>
            </a:p>
          </p:txBody>
        </p:sp>
      </p:grpSp>
      <p:sp>
        <p:nvSpPr>
          <p:cNvPr id="28" name="Rectangle 27"/>
          <p:cNvSpPr/>
          <p:nvPr/>
        </p:nvSpPr>
        <p:spPr>
          <a:xfrm>
            <a:off x="7144087" y="1114856"/>
            <a:ext cx="4193880" cy="406093"/>
          </a:xfrm>
          <a:prstGeom prst="rect">
            <a:avLst/>
          </a:prstGeom>
          <a:noFill/>
        </p:spPr>
        <p:txBody>
          <a:bodyPr wrap="square">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mn-cs"/>
              </a:rPr>
              <a:t>Self-Service BI</a:t>
            </a:r>
          </a:p>
        </p:txBody>
      </p:sp>
      <p:sp>
        <p:nvSpPr>
          <p:cNvPr id="29" name="TextBox 28"/>
          <p:cNvSpPr txBox="1"/>
          <p:nvPr/>
        </p:nvSpPr>
        <p:spPr>
          <a:xfrm>
            <a:off x="1322424" y="1160175"/>
            <a:ext cx="4172451" cy="307777"/>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mn-cs"/>
              </a:rPr>
              <a:t>Corporate BI</a:t>
            </a:r>
          </a:p>
        </p:txBody>
      </p:sp>
      <p:grpSp>
        <p:nvGrpSpPr>
          <p:cNvPr id="30" name="Group 29"/>
          <p:cNvGrpSpPr/>
          <p:nvPr/>
        </p:nvGrpSpPr>
        <p:grpSpPr>
          <a:xfrm>
            <a:off x="3286616" y="5310049"/>
            <a:ext cx="847310" cy="863587"/>
            <a:chOff x="3351705" y="5511827"/>
            <a:chExt cx="864545" cy="881153"/>
          </a:xfrm>
        </p:grpSpPr>
        <p:pic>
          <p:nvPicPr>
            <p:cNvPr id="31" name="Picture 30"/>
            <p:cNvPicPr>
              <a:picLocks noChangeAspect="1"/>
            </p:cNvPicPr>
            <p:nvPr/>
          </p:nvPicPr>
          <p:blipFill>
            <a:blip r:embed="rId9"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514524" y="5511827"/>
              <a:ext cx="474188" cy="591822"/>
            </a:xfrm>
            <a:prstGeom prst="rect">
              <a:avLst/>
            </a:prstGeom>
            <a:noFill/>
          </p:spPr>
        </p:pic>
        <p:sp>
          <p:nvSpPr>
            <p:cNvPr id="32" name="TextBox 31"/>
            <p:cNvSpPr txBox="1"/>
            <p:nvPr/>
          </p:nvSpPr>
          <p:spPr>
            <a:xfrm>
              <a:off x="3351705" y="6141751"/>
              <a:ext cx="864545" cy="251229"/>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IT Pro</a:t>
              </a:r>
            </a:p>
          </p:txBody>
        </p:sp>
      </p:grpSp>
      <p:grpSp>
        <p:nvGrpSpPr>
          <p:cNvPr id="33" name="Group 32"/>
          <p:cNvGrpSpPr/>
          <p:nvPr/>
        </p:nvGrpSpPr>
        <p:grpSpPr>
          <a:xfrm>
            <a:off x="8930801" y="1681635"/>
            <a:ext cx="1270180" cy="900049"/>
            <a:chOff x="9110701" y="1714352"/>
            <a:chExt cx="1296017" cy="918358"/>
          </a:xfrm>
        </p:grpSpPr>
        <p:sp>
          <p:nvSpPr>
            <p:cNvPr id="34" name="TextBox 33"/>
            <p:cNvSpPr txBox="1"/>
            <p:nvPr/>
          </p:nvSpPr>
          <p:spPr>
            <a:xfrm>
              <a:off x="9110701" y="2381480"/>
              <a:ext cx="1296017" cy="251230"/>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End Users</a:t>
              </a:r>
            </a:p>
          </p:txBody>
        </p:sp>
        <p:sp>
          <p:nvSpPr>
            <p:cNvPr id="35"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6"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7"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38"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grpSp>
      <p:sp>
        <p:nvSpPr>
          <p:cNvPr id="39" name="Up Arrow 34"/>
          <p:cNvSpPr/>
          <p:nvPr/>
        </p:nvSpPr>
        <p:spPr bwMode="auto">
          <a:xfrm rot="3360126">
            <a:off x="6603979" y="1656674"/>
            <a:ext cx="549977" cy="3791650"/>
          </a:xfrm>
          <a:prstGeom prst="upArrow">
            <a:avLst/>
          </a:prstGeom>
          <a:solidFill>
            <a:schemeClr val="tx2">
              <a:alpha val="43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40" name="Up Arrow 35"/>
          <p:cNvSpPr/>
          <p:nvPr/>
        </p:nvSpPr>
        <p:spPr bwMode="auto">
          <a:xfrm rot="5400000">
            <a:off x="6536252" y="518435"/>
            <a:ext cx="549977" cy="3050374"/>
          </a:xfrm>
          <a:prstGeom prst="upArrow">
            <a:avLst/>
          </a:prstGeom>
          <a:solidFill>
            <a:schemeClr val="tx2">
              <a:alpha val="37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pic>
        <p:nvPicPr>
          <p:cNvPr id="41" name="Picture 40"/>
          <p:cNvPicPr>
            <a:picLocks noChangeAspect="1"/>
          </p:cNvPicPr>
          <p:nvPr/>
        </p:nvPicPr>
        <p:blipFill rotWithShape="1">
          <a:blip r:embed="rId10"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a:xfrm rot="2851868" flipH="1">
            <a:off x="2418870" y="2986484"/>
            <a:ext cx="1000765" cy="762767"/>
          </a:xfrm>
          <a:prstGeom prst="rect">
            <a:avLst/>
          </a:prstGeom>
          <a:noFill/>
          <a:ln>
            <a:noFill/>
          </a:ln>
        </p:spPr>
      </p:pic>
      <p:sp>
        <p:nvSpPr>
          <p:cNvPr id="42" name="TextBox 41"/>
          <p:cNvSpPr txBox="1"/>
          <p:nvPr/>
        </p:nvSpPr>
        <p:spPr>
          <a:xfrm>
            <a:off x="1162707" y="3447362"/>
            <a:ext cx="1163944"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TL/Data Quality</a:t>
            </a:r>
          </a:p>
        </p:txBody>
      </p:sp>
      <p:sp>
        <p:nvSpPr>
          <p:cNvPr id="43" name="?"/>
          <p:cNvSpPr txBox="1"/>
          <p:nvPr/>
        </p:nvSpPr>
        <p:spPr>
          <a:xfrm>
            <a:off x="9252792" y="3780814"/>
            <a:ext cx="1040819" cy="2563651"/>
          </a:xfrm>
          <a:prstGeom prst="rect">
            <a:avLst/>
          </a:prstGeom>
          <a:noFill/>
        </p:spPr>
        <p:txBody>
          <a:bodyPr wrap="square" lIns="0" tIns="0" rIns="0" bIns="0" rtlCol="0">
            <a:spAutoFit/>
          </a:bodyPr>
          <a:lstStyle/>
          <a:p>
            <a:pPr marL="0" marR="0" lvl="0" indent="0" algn="l" defTabSz="913837" rtl="0" eaLnBrk="1" fontAlgn="auto" latinLnBrk="0" hangingPunct="1">
              <a:lnSpc>
                <a:spcPct val="100000"/>
              </a:lnSpc>
              <a:spcBef>
                <a:spcPts val="0"/>
              </a:spcBef>
              <a:spcAft>
                <a:spcPts val="0"/>
              </a:spcAft>
              <a:buClrTx/>
              <a:buSzTx/>
              <a:buFontTx/>
              <a:buNone/>
              <a:tabLst/>
              <a:defRPr/>
            </a:pPr>
            <a:r>
              <a:rPr kumimoji="0" lang="en-US" sz="16659" b="0" i="0" u="none" strike="noStrike" kern="0" cap="none" spc="0" normalizeH="0" baseline="0" noProof="0">
                <a:ln>
                  <a:noFill/>
                </a:ln>
                <a:gradFill>
                  <a:gsLst>
                    <a:gs pos="0">
                      <a:srgbClr val="D2D2D2">
                        <a:alpha val="47000"/>
                      </a:srgbClr>
                    </a:gs>
                    <a:gs pos="86000">
                      <a:srgbClr val="D2D2D2">
                        <a:alpha val="23000"/>
                      </a:srgbClr>
                    </a:gs>
                  </a:gsLst>
                  <a:lin ang="5400000" scaled="0"/>
                </a:gradFill>
                <a:effectLst/>
                <a:uLnTx/>
                <a:uFillTx/>
                <a:latin typeface="Segoe UI"/>
                <a:ea typeface="+mn-ea"/>
                <a:cs typeface="+mn-cs"/>
              </a:rPr>
              <a:t>?</a:t>
            </a:r>
          </a:p>
        </p:txBody>
      </p:sp>
      <p:sp>
        <p:nvSpPr>
          <p:cNvPr id="44" name="Title 93"/>
          <p:cNvSpPr>
            <a:spLocks noGrp="1"/>
          </p:cNvSpPr>
          <p:nvPr>
            <p:ph type="title"/>
          </p:nvPr>
        </p:nvSpPr>
        <p:spPr>
          <a:xfrm>
            <a:off x="137383" y="101102"/>
            <a:ext cx="11653523" cy="927940"/>
          </a:xfrm>
        </p:spPr>
        <p:txBody>
          <a:bodyPr/>
          <a:lstStyle/>
          <a:p>
            <a:r>
              <a:rPr lang="en-US" sz="4800" spc="-102">
                <a:ln w="3175">
                  <a:noFill/>
                </a:ln>
                <a:solidFill>
                  <a:srgbClr val="EDC30D"/>
                </a:solidFill>
                <a:latin typeface="Segoe UI Light" panose="020B0502040204020203" pitchFamily="34" charset="0"/>
                <a:ea typeface="+mn-ea"/>
                <a:cs typeface="Segoe UI Light" panose="020B0502040204020203" pitchFamily="34" charset="0"/>
              </a:rPr>
              <a:t>Evolution of BI</a:t>
            </a:r>
          </a:p>
        </p:txBody>
      </p:sp>
      <p:grpSp>
        <p:nvGrpSpPr>
          <p:cNvPr id="45" name="Group 44"/>
          <p:cNvGrpSpPr/>
          <p:nvPr/>
        </p:nvGrpSpPr>
        <p:grpSpPr>
          <a:xfrm>
            <a:off x="8079766" y="2918099"/>
            <a:ext cx="2361797" cy="1572675"/>
            <a:chOff x="8242356" y="2975966"/>
            <a:chExt cx="2409839" cy="1604667"/>
          </a:xfrm>
        </p:grpSpPr>
        <p:pic>
          <p:nvPicPr>
            <p:cNvPr id="46" name="Picture 4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501625" y="2975966"/>
              <a:ext cx="1068036" cy="800664"/>
            </a:xfrm>
            <a:prstGeom prst="rect">
              <a:avLst/>
            </a:prstGeom>
            <a:solidFill>
              <a:schemeClr val="tx2"/>
            </a:solidFill>
          </p:spPr>
        </p:pic>
        <p:sp>
          <p:nvSpPr>
            <p:cNvPr id="47" name="TextBox 46"/>
            <p:cNvSpPr txBox="1"/>
            <p:nvPr/>
          </p:nvSpPr>
          <p:spPr>
            <a:xfrm>
              <a:off x="8256410" y="4392210"/>
              <a:ext cx="1298236" cy="18842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readsheets</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48" name="TextBox 47"/>
            <p:cNvSpPr txBox="1"/>
            <p:nvPr/>
          </p:nvSpPr>
          <p:spPr>
            <a:xfrm>
              <a:off x="9527578" y="3779171"/>
              <a:ext cx="1124617" cy="376845"/>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cialized Tools</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8242356" y="3515392"/>
              <a:ext cx="965910" cy="849613"/>
              <a:chOff x="8324565" y="-543377"/>
              <a:chExt cx="1035966" cy="911233"/>
            </a:xfrm>
          </p:grpSpPr>
          <p:sp>
            <p:nvSpPr>
              <p:cNvPr id="50" name="Rectangle 49"/>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51" name="Picture 3"/>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8324565" y="-543377"/>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cxnSp>
        <p:nvCxnSpPr>
          <p:cNvPr id="52" name="Straight Connector 51"/>
          <p:cNvCxnSpPr/>
          <p:nvPr/>
        </p:nvCxnSpPr>
        <p:spPr>
          <a:xfrm>
            <a:off x="1127442" y="2738423"/>
            <a:ext cx="44808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Up Arrow 81"/>
          <p:cNvSpPr/>
          <p:nvPr/>
        </p:nvSpPr>
        <p:spPr bwMode="auto">
          <a:xfrm rot="19086551">
            <a:off x="3646272" y="2531700"/>
            <a:ext cx="391854" cy="385851"/>
          </a:xfrm>
          <a:prstGeom prst="upArrow">
            <a:avLst>
              <a:gd name="adj1" fmla="val 50000"/>
              <a:gd name="adj2" fmla="val 51079"/>
            </a:avLst>
          </a:prstGeom>
          <a:solidFill>
            <a:schemeClr val="tx2"/>
          </a:solidFill>
          <a:ln>
            <a:gradFill flip="none" rotWithShape="1">
              <a:gsLst>
                <a:gs pos="0">
                  <a:srgbClr val="DFE6D0"/>
                </a:gs>
                <a:gs pos="12000">
                  <a:srgbClr val="DFE6D0">
                    <a:alpha val="68000"/>
                  </a:srgbClr>
                </a:gs>
                <a:gs pos="100000">
                  <a:sysClr val="windowText" lastClr="000000">
                    <a:alpha val="0"/>
                  </a:sys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54" name="Group 53"/>
          <p:cNvGrpSpPr/>
          <p:nvPr/>
        </p:nvGrpSpPr>
        <p:grpSpPr>
          <a:xfrm>
            <a:off x="1162708" y="2829011"/>
            <a:ext cx="4801437" cy="1004776"/>
            <a:chOff x="1184593" y="2885063"/>
            <a:chExt cx="4899105" cy="1025215"/>
          </a:xfrm>
        </p:grpSpPr>
        <p:pic>
          <p:nvPicPr>
            <p:cNvPr id="55" name="Picture 7" descr="\\SFP\Work\White_Whale\3-22036_Kuleen_Bharadwaj\PPT\4_SQL Server Renewal\SFP_Art\Icons\Chris Icons\cube_blue.png"/>
            <p:cNvPicPr>
              <a:picLocks noChangeAspect="1" noChangeArrowheads="1"/>
            </p:cNvPicPr>
            <p:nvPr/>
          </p:nvPicPr>
          <p:blipFill>
            <a:blip r:embed="rId13" cstate="screen">
              <a:duotone>
                <a:prstClr val="black"/>
                <a:schemeClr val="accent1">
                  <a:tint val="45000"/>
                  <a:satMod val="400000"/>
                </a:schemeClr>
              </a:duotone>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19326" y="2980799"/>
              <a:ext cx="536228" cy="555350"/>
            </a:xfrm>
            <a:prstGeom prst="rect">
              <a:avLst/>
            </a:prstGeom>
            <a:noFill/>
          </p:spPr>
        </p:pic>
        <p:sp>
          <p:nvSpPr>
            <p:cNvPr id="56" name="TextBox 55"/>
            <p:cNvSpPr txBox="1"/>
            <p:nvPr/>
          </p:nvSpPr>
          <p:spPr>
            <a:xfrm>
              <a:off x="4226617" y="3568920"/>
              <a:ext cx="773094" cy="331833"/>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bes</a:t>
              </a:r>
            </a:p>
          </p:txBody>
        </p:sp>
        <p:sp>
          <p:nvSpPr>
            <p:cNvPr id="57" name="TextBox 56"/>
            <p:cNvSpPr txBox="1"/>
            <p:nvPr/>
          </p:nvSpPr>
          <p:spPr>
            <a:xfrm>
              <a:off x="4993992" y="3578445"/>
              <a:ext cx="1089706" cy="331833"/>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a:t>
              </a:r>
            </a:p>
          </p:txBody>
        </p:sp>
        <p:sp>
          <p:nvSpPr>
            <p:cNvPr id="58" name="TextBox 57"/>
            <p:cNvSpPr txBox="1"/>
            <p:nvPr/>
          </p:nvSpPr>
          <p:spPr>
            <a:xfrm>
              <a:off x="1184593" y="2885063"/>
              <a:ext cx="996125" cy="502460"/>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a:t>
              </a:r>
            </a:p>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taging</a:t>
              </a:r>
            </a:p>
          </p:txBody>
        </p:sp>
        <p:sp>
          <p:nvSpPr>
            <p:cNvPr id="59" name="Up Arrow 80"/>
            <p:cNvSpPr/>
            <p:nvPr/>
          </p:nvSpPr>
          <p:spPr bwMode="auto">
            <a:xfrm rot="4393742">
              <a:off x="3673994" y="3280710"/>
              <a:ext cx="399825" cy="405920"/>
            </a:xfrm>
            <a:prstGeom prst="upArrow">
              <a:avLst>
                <a:gd name="adj1" fmla="val 50000"/>
                <a:gd name="adj2" fmla="val 51079"/>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60" name="Group 59"/>
            <p:cNvGrpSpPr/>
            <p:nvPr/>
          </p:nvGrpSpPr>
          <p:grpSpPr>
            <a:xfrm>
              <a:off x="5009301" y="2982416"/>
              <a:ext cx="390488" cy="541015"/>
              <a:chOff x="-1497013" y="-1624013"/>
              <a:chExt cx="1068388" cy="1308100"/>
            </a:xfrm>
            <a:solidFill>
              <a:schemeClr val="bg2"/>
            </a:solidFill>
          </p:grpSpPr>
          <p:sp>
            <p:nvSpPr>
              <p:cNvPr id="61"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2"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3"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4"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5" name="Up Arrow 61"/>
          <p:cNvSpPr/>
          <p:nvPr/>
        </p:nvSpPr>
        <p:spPr bwMode="auto">
          <a:xfrm>
            <a:off x="2563548" y="3730963"/>
            <a:ext cx="391854" cy="367408"/>
          </a:xfrm>
          <a:prstGeom prst="upArrow">
            <a:avLst>
              <a:gd name="adj1" fmla="val 50000"/>
              <a:gd name="adj2" fmla="val 59287"/>
            </a:avLst>
          </a:prstGeom>
          <a:solidFill>
            <a:schemeClr val="tx2"/>
          </a:solidFill>
          <a:ln>
            <a:gradFill flip="none" rotWithShape="1">
              <a:gsLst>
                <a:gs pos="0">
                  <a:srgbClr val="DFE6D0"/>
                </a:gs>
                <a:gs pos="12000">
                  <a:srgbClr val="DFE6D0">
                    <a:alpha val="68000"/>
                  </a:srgbClr>
                </a:gs>
                <a:gs pos="100000">
                  <a:sysClr val="windowText" lastClr="000000">
                    <a:alpha val="0"/>
                  </a:sysClr>
                </a:gs>
              </a:gsLst>
              <a:lin ang="5400000" scaled="0"/>
              <a:tileRect/>
            </a:grad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505050"/>
                  </a:gs>
                  <a:gs pos="86000">
                    <a:srgbClr val="505050"/>
                  </a:gs>
                </a:gsLst>
                <a:lin ang="5400000" scaled="0"/>
              </a:gradFill>
              <a:effectLst/>
              <a:uLnTx/>
              <a:uFillTx/>
              <a:latin typeface="Segoe" pitchFamily="34" charset="0"/>
              <a:ea typeface="+mn-ea"/>
              <a:cs typeface="+mn-cs"/>
            </a:endParaRPr>
          </a:p>
        </p:txBody>
      </p:sp>
      <p:cxnSp>
        <p:nvCxnSpPr>
          <p:cNvPr id="66" name="Straight Connector 65"/>
          <p:cNvCxnSpPr/>
          <p:nvPr/>
        </p:nvCxnSpPr>
        <p:spPr>
          <a:xfrm>
            <a:off x="1127442" y="4127330"/>
            <a:ext cx="4480853" cy="0"/>
          </a:xfrm>
          <a:prstGeom prst="line">
            <a:avLst/>
          </a:prstGeom>
          <a:noFill/>
          <a:ln w="9525" cap="flat" cmpd="sng" algn="ctr">
            <a:solidFill>
              <a:schemeClr val="bg1"/>
            </a:solidFill>
            <a:prstDash val="solid"/>
          </a:ln>
          <a:effectLst/>
        </p:spPr>
      </p:cxnSp>
      <p:sp>
        <p:nvSpPr>
          <p:cNvPr id="67" name="TextBox 66"/>
          <p:cNvSpPr txBox="1"/>
          <p:nvPr/>
        </p:nvSpPr>
        <p:spPr>
          <a:xfrm>
            <a:off x="1162707" y="4378700"/>
            <a:ext cx="740041"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isting Data</a:t>
            </a:r>
          </a:p>
        </p:txBody>
      </p:sp>
      <p:sp>
        <p:nvSpPr>
          <p:cNvPr id="68" name="TextBox 67"/>
          <p:cNvSpPr txBox="1"/>
          <p:nvPr/>
        </p:nvSpPr>
        <p:spPr>
          <a:xfrm>
            <a:off x="2435282" y="4850544"/>
            <a:ext cx="966095" cy="325217"/>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lication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69" name="Picture 68"/>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16200000" flipH="1">
            <a:off x="2520045" y="4212687"/>
            <a:ext cx="452532" cy="639640"/>
          </a:xfrm>
          <a:prstGeom prst="rect">
            <a:avLst/>
          </a:prstGeom>
          <a:noFill/>
        </p:spPr>
      </p:pic>
      <p:sp>
        <p:nvSpPr>
          <p:cNvPr id="70" name="TextBox 69"/>
          <p:cNvSpPr txBox="1"/>
          <p:nvPr/>
        </p:nvSpPr>
        <p:spPr>
          <a:xfrm>
            <a:off x="4579789" y="4861314"/>
            <a:ext cx="726465"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1" name="TextBox 70"/>
          <p:cNvSpPr txBox="1"/>
          <p:nvPr/>
        </p:nvSpPr>
        <p:spPr>
          <a:xfrm>
            <a:off x="3457970" y="4859447"/>
            <a:ext cx="922773"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Mart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72" name="Straight Connector 71"/>
          <p:cNvCxnSpPr/>
          <p:nvPr/>
        </p:nvCxnSpPr>
        <p:spPr>
          <a:xfrm>
            <a:off x="1127442" y="5244698"/>
            <a:ext cx="4480853" cy="0"/>
          </a:xfrm>
          <a:prstGeom prst="line">
            <a:avLst/>
          </a:prstGeom>
          <a:noFill/>
          <a:ln w="9525" cap="flat" cmpd="sng" algn="ctr">
            <a:solidFill>
              <a:schemeClr val="bg1"/>
            </a:solidFill>
            <a:prstDash val="solid"/>
          </a:ln>
          <a:effectLst/>
        </p:spPr>
      </p:cxnSp>
      <p:grpSp>
        <p:nvGrpSpPr>
          <p:cNvPr id="73" name="Group 72"/>
          <p:cNvGrpSpPr/>
          <p:nvPr/>
        </p:nvGrpSpPr>
        <p:grpSpPr>
          <a:xfrm>
            <a:off x="3429177" y="4170549"/>
            <a:ext cx="680293" cy="643168"/>
            <a:chOff x="3427685" y="4251550"/>
            <a:chExt cx="810600" cy="766365"/>
          </a:xfrm>
        </p:grpSpPr>
        <p:grpSp>
          <p:nvGrpSpPr>
            <p:cNvPr id="74" name="Group 73"/>
            <p:cNvGrpSpPr/>
            <p:nvPr/>
          </p:nvGrpSpPr>
          <p:grpSpPr>
            <a:xfrm>
              <a:off x="3427685" y="4251550"/>
              <a:ext cx="390488" cy="541015"/>
              <a:chOff x="-1497013" y="-1746211"/>
              <a:chExt cx="1068388" cy="1308100"/>
            </a:xfrm>
            <a:solidFill>
              <a:srgbClr val="002050"/>
            </a:solidFill>
          </p:grpSpPr>
          <p:sp>
            <p:nvSpPr>
              <p:cNvPr id="8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5" name="Group 74"/>
            <p:cNvGrpSpPr/>
            <p:nvPr/>
          </p:nvGrpSpPr>
          <p:grpSpPr>
            <a:xfrm>
              <a:off x="3847797" y="4271201"/>
              <a:ext cx="390488" cy="541015"/>
              <a:chOff x="-1497013" y="-1746221"/>
              <a:chExt cx="1068388" cy="1308103"/>
            </a:xfrm>
            <a:solidFill>
              <a:srgbClr val="002050"/>
            </a:solidFill>
          </p:grpSpPr>
          <p:sp>
            <p:nvSpPr>
              <p:cNvPr id="8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6" name="Group 75"/>
            <p:cNvGrpSpPr/>
            <p:nvPr/>
          </p:nvGrpSpPr>
          <p:grpSpPr>
            <a:xfrm>
              <a:off x="3611668" y="4476901"/>
              <a:ext cx="390488" cy="541014"/>
              <a:chOff x="4281504" y="4259110"/>
              <a:chExt cx="390488" cy="541014"/>
            </a:xfrm>
          </p:grpSpPr>
          <p:sp>
            <p:nvSpPr>
              <p:cNvPr id="77" name="Rectangle 76"/>
              <p:cNvSpPr/>
              <p:nvPr/>
            </p:nvSpPr>
            <p:spPr>
              <a:xfrm>
                <a:off x="4300881" y="4329333"/>
                <a:ext cx="367840" cy="361666"/>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78" name="Group 77"/>
              <p:cNvGrpSpPr/>
              <p:nvPr/>
            </p:nvGrpSpPr>
            <p:grpSpPr>
              <a:xfrm>
                <a:off x="4281504" y="4259110"/>
                <a:ext cx="390488" cy="541014"/>
                <a:chOff x="-1497013" y="-1746209"/>
                <a:chExt cx="1068388" cy="1308096"/>
              </a:xfrm>
              <a:solidFill>
                <a:srgbClr val="002050"/>
              </a:solidFill>
            </p:grpSpPr>
            <p:sp>
              <p:nvSpPr>
                <p:cNvPr id="7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91" name="Group 90"/>
          <p:cNvGrpSpPr/>
          <p:nvPr/>
        </p:nvGrpSpPr>
        <p:grpSpPr>
          <a:xfrm>
            <a:off x="4506444" y="4269846"/>
            <a:ext cx="586454" cy="449344"/>
            <a:chOff x="4593681" y="4528365"/>
            <a:chExt cx="598383" cy="458485"/>
          </a:xfrm>
        </p:grpSpPr>
        <p:grpSp>
          <p:nvGrpSpPr>
            <p:cNvPr id="92" name="Group 91"/>
            <p:cNvGrpSpPr/>
            <p:nvPr/>
          </p:nvGrpSpPr>
          <p:grpSpPr>
            <a:xfrm>
              <a:off x="4768104" y="4528365"/>
              <a:ext cx="423960" cy="322667"/>
              <a:chOff x="5743575" y="223838"/>
              <a:chExt cx="823913" cy="627062"/>
            </a:xfrm>
          </p:grpSpPr>
          <p:sp>
            <p:nvSpPr>
              <p:cNvPr id="10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93" name="Rectangle 92"/>
            <p:cNvSpPr/>
            <p:nvPr/>
          </p:nvSpPr>
          <p:spPr>
            <a:xfrm>
              <a:off x="4688925" y="4612568"/>
              <a:ext cx="165867" cy="45719"/>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94" name="Group 93"/>
            <p:cNvGrpSpPr/>
            <p:nvPr/>
          </p:nvGrpSpPr>
          <p:grpSpPr>
            <a:xfrm>
              <a:off x="4683643" y="4596849"/>
              <a:ext cx="423960" cy="322667"/>
              <a:chOff x="5743575" y="223838"/>
              <a:chExt cx="823913" cy="627062"/>
            </a:xfrm>
            <a:solidFill>
              <a:srgbClr val="505050">
                <a:lumMod val="65000"/>
              </a:srgbClr>
            </a:solidFill>
          </p:grpSpPr>
          <p:sp>
            <p:nvSpPr>
              <p:cNvPr id="10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0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95" name="Group 94"/>
            <p:cNvGrpSpPr/>
            <p:nvPr/>
          </p:nvGrpSpPr>
          <p:grpSpPr>
            <a:xfrm>
              <a:off x="4593681" y="4664183"/>
              <a:ext cx="423960" cy="322667"/>
              <a:chOff x="4593681" y="4664183"/>
              <a:chExt cx="423960" cy="322667"/>
            </a:xfrm>
          </p:grpSpPr>
          <p:sp>
            <p:nvSpPr>
              <p:cNvPr id="96" name="Rectangle 95"/>
              <p:cNvSpPr/>
              <p:nvPr/>
            </p:nvSpPr>
            <p:spPr>
              <a:xfrm>
                <a:off x="4596408" y="4675220"/>
                <a:ext cx="165867" cy="45719"/>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97" name="Group 96"/>
              <p:cNvGrpSpPr/>
              <p:nvPr/>
            </p:nvGrpSpPr>
            <p:grpSpPr>
              <a:xfrm>
                <a:off x="4593681" y="4664183"/>
                <a:ext cx="423960" cy="322667"/>
                <a:chOff x="5743575" y="223838"/>
                <a:chExt cx="823913" cy="627062"/>
              </a:xfrm>
              <a:solidFill>
                <a:srgbClr val="505050">
                  <a:lumMod val="75000"/>
                </a:srgbClr>
              </a:solidFill>
            </p:grpSpPr>
            <p:sp>
              <p:nvSpPr>
                <p:cNvPr id="9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729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104" name="TextBox 103"/>
          <p:cNvSpPr txBox="1"/>
          <p:nvPr/>
        </p:nvSpPr>
        <p:spPr>
          <a:xfrm>
            <a:off x="1541853" y="6326890"/>
            <a:ext cx="9140109" cy="307777"/>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a:ea typeface="+mn-ea"/>
                <a:cs typeface="+mn-cs"/>
              </a:rPr>
              <a:t>Is it possible to balance Control with Agility?</a:t>
            </a:r>
          </a:p>
        </p:txBody>
      </p:sp>
    </p:spTree>
    <p:custDataLst>
      <p:tags r:id="rId1"/>
    </p:custDataLst>
    <p:extLst>
      <p:ext uri="{BB962C8B-B14F-4D97-AF65-F5344CB8AC3E}">
        <p14:creationId xmlns:p14="http://schemas.microsoft.com/office/powerpoint/2010/main" val="263560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200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500"/>
                                        <p:tgtEl>
                                          <p:spTgt spid="6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7"/>
                                        </p:tgtEl>
                                        <p:attrNameLst>
                                          <p:attrName>style.visibility</p:attrName>
                                        </p:attrNameLst>
                                      </p:cBhvr>
                                      <p:to>
                                        <p:strVal val="visible"/>
                                      </p:to>
                                    </p:set>
                                    <p:animEffect transition="in" filter="fade">
                                      <p:cBhvr>
                                        <p:cTn id="28" dur="500"/>
                                        <p:tgtEl>
                                          <p:spTgt spid="6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nodeType="with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500"/>
                                        <p:tgtEl>
                                          <p:spTgt spid="6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fade">
                                      <p:cBhvr>
                                        <p:cTn id="40" dur="500"/>
                                        <p:tgtEl>
                                          <p:spTgt spid="71"/>
                                        </p:tgtEl>
                                      </p:cBhvr>
                                    </p:animEffect>
                                  </p:childTnLst>
                                </p:cTn>
                              </p:par>
                              <p:par>
                                <p:cTn id="41" presetID="10" presetClass="entr" presetSubtype="0" fill="hold" nodeType="withEffect">
                                  <p:stCondLst>
                                    <p:cond delay="0"/>
                                  </p:stCondLst>
                                  <p:childTnLst>
                                    <p:set>
                                      <p:cBhvr>
                                        <p:cTn id="42" dur="1" fill="hold">
                                          <p:stCondLst>
                                            <p:cond delay="0"/>
                                          </p:stCondLst>
                                        </p:cTn>
                                        <p:tgtEl>
                                          <p:spTgt spid="72"/>
                                        </p:tgtEl>
                                        <p:attrNameLst>
                                          <p:attrName>style.visibility</p:attrName>
                                        </p:attrNameLst>
                                      </p:cBhvr>
                                      <p:to>
                                        <p:strVal val="visible"/>
                                      </p:to>
                                    </p:set>
                                    <p:animEffect transition="in" filter="fade">
                                      <p:cBhvr>
                                        <p:cTn id="43" dur="500"/>
                                        <p:tgtEl>
                                          <p:spTgt spid="72"/>
                                        </p:tgtEl>
                                      </p:cBhvr>
                                    </p:animEffect>
                                  </p:childTnLst>
                                </p:cTn>
                              </p:par>
                              <p:par>
                                <p:cTn id="44" presetID="10" presetClass="entr" presetSubtype="0" fill="hold" nodeType="with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par>
                                <p:cTn id="47" presetID="10" presetClass="entr" presetSubtype="0" fill="hold" nodeType="withEffect">
                                  <p:stCondLst>
                                    <p:cond delay="0"/>
                                  </p:stCondLst>
                                  <p:childTnLst>
                                    <p:set>
                                      <p:cBhvr>
                                        <p:cTn id="48" dur="1" fill="hold">
                                          <p:stCondLst>
                                            <p:cond delay="0"/>
                                          </p:stCondLst>
                                        </p:cTn>
                                        <p:tgtEl>
                                          <p:spTgt spid="91"/>
                                        </p:tgtEl>
                                        <p:attrNameLst>
                                          <p:attrName>style.visibility</p:attrName>
                                        </p:attrNameLst>
                                      </p:cBhvr>
                                      <p:to>
                                        <p:strVal val="visible"/>
                                      </p:to>
                                    </p:set>
                                    <p:animEffect transition="in" filter="fade">
                                      <p:cBhvr>
                                        <p:cTn id="49" dur="500"/>
                                        <p:tgtEl>
                                          <p:spTgt spid="9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42"/>
                                        </p:tgtEl>
                                        <p:attrNameLst>
                                          <p:attrName>style.visibility</p:attrName>
                                        </p:attrNameLst>
                                      </p:cBhvr>
                                      <p:to>
                                        <p:strVal val="visible"/>
                                      </p:to>
                                    </p:set>
                                    <p:animEffect transition="in" filter="fade">
                                      <p:cBhvr>
                                        <p:cTn id="54" dur="500"/>
                                        <p:tgtEl>
                                          <p:spTgt spid="4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par>
                                <p:cTn id="58" presetID="10" presetClass="entr" presetSubtype="0" fill="hold"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500"/>
                                        <p:tgtEl>
                                          <p:spTgt spid="41"/>
                                        </p:tgtEl>
                                      </p:cBhvr>
                                    </p:animEffect>
                                  </p:childTnLst>
                                </p:cTn>
                              </p:par>
                              <p:par>
                                <p:cTn id="61" presetID="10" presetClass="entr" presetSubtype="0" fill="hold" nodeType="with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fade">
                                      <p:cBhvr>
                                        <p:cTn id="63" dur="500"/>
                                        <p:tgtEl>
                                          <p:spTgt spid="52"/>
                                        </p:tgtEl>
                                      </p:cBhvr>
                                    </p:animEffect>
                                  </p:childTnLst>
                                </p:cTn>
                              </p:par>
                            </p:childTnLst>
                          </p:cTn>
                        </p:par>
                        <p:par>
                          <p:cTn id="64" fill="hold">
                            <p:stCondLst>
                              <p:cond delay="500"/>
                            </p:stCondLst>
                            <p:childTnLst>
                              <p:par>
                                <p:cTn id="65" presetID="10" presetClass="entr" presetSubtype="0" fill="hold" nodeType="afterEffect">
                                  <p:stCondLst>
                                    <p:cond delay="125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500"/>
                                        <p:tgtEl>
                                          <p:spTgt spid="54"/>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fade">
                                      <p:cBhvr>
                                        <p:cTn id="72" dur="500"/>
                                        <p:tgtEl>
                                          <p:spTgt spid="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childTnLst>
                          </p:cTn>
                        </p:par>
                        <p:par>
                          <p:cTn id="76" fill="hold">
                            <p:stCondLst>
                              <p:cond delay="500"/>
                            </p:stCondLst>
                            <p:childTnLst>
                              <p:par>
                                <p:cTn id="77" presetID="22" presetClass="entr" presetSubtype="8" fill="hold" grpId="0" nodeType="after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wipe(left)">
                                      <p:cBhvr>
                                        <p:cTn id="79" dur="1000"/>
                                        <p:tgtEl>
                                          <p:spTgt spid="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500"/>
                                        <p:tgtEl>
                                          <p:spTgt spid="21"/>
                                        </p:tgtEl>
                                      </p:cBhvr>
                                    </p:animEffect>
                                  </p:childTnLst>
                                </p:cTn>
                              </p:par>
                              <p:par>
                                <p:cTn id="90" presetID="10" presetClass="exit" presetSubtype="0" fill="hold" grpId="1" nodeType="withEffect">
                                  <p:stCondLst>
                                    <p:cond delay="0"/>
                                  </p:stCondLst>
                                  <p:childTnLst>
                                    <p:animEffect transition="out" filter="fade">
                                      <p:cBhvr>
                                        <p:cTn id="91" dur="500"/>
                                        <p:tgtEl>
                                          <p:spTgt spid="20"/>
                                        </p:tgtEl>
                                      </p:cBhvr>
                                    </p:animEffect>
                                    <p:set>
                                      <p:cBhvr>
                                        <p:cTn id="92" dur="1" fill="hold">
                                          <p:stCondLst>
                                            <p:cond delay="499"/>
                                          </p:stCondLst>
                                        </p:cTn>
                                        <p:tgtEl>
                                          <p:spTgt spid="20"/>
                                        </p:tgtEl>
                                        <p:attrNameLst>
                                          <p:attrName>style.visibility</p:attrName>
                                        </p:attrNameLst>
                                      </p:cBhvr>
                                      <p:to>
                                        <p:strVal val="hidden"/>
                                      </p:to>
                                    </p:set>
                                  </p:childTnLst>
                                </p:cTn>
                              </p:par>
                              <p:par>
                                <p:cTn id="93" presetID="22" presetClass="entr" presetSubtype="8" fill="hold" grpId="0" nodeType="with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wipe(left)">
                                      <p:cBhvr>
                                        <p:cTn id="95" dur="100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par>
                          <p:cTn id="99" fill="hold">
                            <p:stCondLst>
                              <p:cond delay="1000"/>
                            </p:stCondLst>
                            <p:childTnLst>
                              <p:par>
                                <p:cTn id="100" presetID="22" presetClass="entr" presetSubtype="8" fill="hold" grpId="0" nodeType="afterEffect">
                                  <p:stCondLst>
                                    <p:cond delay="0"/>
                                  </p:stCondLst>
                                  <p:childTnLst>
                                    <p:set>
                                      <p:cBhvr>
                                        <p:cTn id="101" dur="1" fill="hold">
                                          <p:stCondLst>
                                            <p:cond delay="0"/>
                                          </p:stCondLst>
                                        </p:cTn>
                                        <p:tgtEl>
                                          <p:spTgt spid="104"/>
                                        </p:tgtEl>
                                        <p:attrNameLst>
                                          <p:attrName>style.visibility</p:attrName>
                                        </p:attrNameLst>
                                      </p:cBhvr>
                                      <p:to>
                                        <p:strVal val="visible"/>
                                      </p:to>
                                    </p:set>
                                    <p:animEffect transition="in" filter="wipe(left)">
                                      <p:cBhvr>
                                        <p:cTn id="102" dur="10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8" grpId="0"/>
      <p:bldP spid="29" grpId="0"/>
      <p:bldP spid="39" grpId="0" animBg="1"/>
      <p:bldP spid="40" grpId="0" animBg="1"/>
      <p:bldP spid="42" grpId="0"/>
      <p:bldP spid="43" grpId="0"/>
      <p:bldP spid="53" grpId="0" animBg="1"/>
      <p:bldP spid="65" grpId="0" animBg="1"/>
      <p:bldP spid="67" grpId="0"/>
      <p:bldP spid="68" grpId="0"/>
      <p:bldP spid="70" grpId="0"/>
      <p:bldP spid="71" grpId="0"/>
      <p:bldP spid="104"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93"/>
          <p:cNvSpPr>
            <a:spLocks noGrp="1"/>
          </p:cNvSpPr>
          <p:nvPr>
            <p:ph type="title"/>
          </p:nvPr>
        </p:nvSpPr>
        <p:spPr>
          <a:xfrm>
            <a:off x="255356" y="262431"/>
            <a:ext cx="11653523" cy="927940"/>
          </a:xfrm>
        </p:spPr>
        <p:txBody>
          <a:bodyPr/>
          <a:lstStyle/>
          <a:p>
            <a:r>
              <a:rPr lang="en-US" sz="4800" spc="-102">
                <a:ln w="3175">
                  <a:noFill/>
                </a:ln>
                <a:solidFill>
                  <a:srgbClr val="EDC30D"/>
                </a:solidFill>
                <a:latin typeface="Segoe UI Light" panose="020B0502040204020203" pitchFamily="34" charset="0"/>
                <a:ea typeface="+mn-ea"/>
                <a:cs typeface="Segoe UI Light" panose="020B0502040204020203" pitchFamily="34" charset="0"/>
              </a:rPr>
              <a:t>A balanced approach…</a:t>
            </a:r>
          </a:p>
        </p:txBody>
      </p:sp>
      <p:grpSp>
        <p:nvGrpSpPr>
          <p:cNvPr id="16" name="Group 15"/>
          <p:cNvGrpSpPr/>
          <p:nvPr/>
        </p:nvGrpSpPr>
        <p:grpSpPr>
          <a:xfrm>
            <a:off x="3286616" y="5310049"/>
            <a:ext cx="847310" cy="863587"/>
            <a:chOff x="3351705" y="5511827"/>
            <a:chExt cx="864545" cy="881153"/>
          </a:xfrm>
        </p:grpSpPr>
        <p:pic>
          <p:nvPicPr>
            <p:cNvPr id="17" name="Picture 16"/>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514524" y="5511827"/>
              <a:ext cx="474188" cy="591822"/>
            </a:xfrm>
            <a:prstGeom prst="rect">
              <a:avLst/>
            </a:prstGeom>
            <a:noFill/>
          </p:spPr>
        </p:pic>
        <p:sp>
          <p:nvSpPr>
            <p:cNvPr id="18" name="TextBox 17"/>
            <p:cNvSpPr txBox="1"/>
            <p:nvPr/>
          </p:nvSpPr>
          <p:spPr>
            <a:xfrm>
              <a:off x="3351705" y="6141751"/>
              <a:ext cx="864545" cy="251229"/>
            </a:xfrm>
            <a:prstGeom prst="rect">
              <a:avLst/>
            </a:prstGeom>
            <a:noFill/>
          </p:spPr>
          <p:txBody>
            <a:bodyPr wrap="square" lIns="0" tIns="0" rIns="0" bIns="0" rtlCol="0">
              <a:spAutoFit/>
            </a:bodyPr>
            <a:lstStyle/>
            <a:p>
              <a:pPr marL="0" marR="0" lvl="0" indent="0" algn="ctr" defTabSz="91383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IT Pro</a:t>
              </a:r>
            </a:p>
          </p:txBody>
        </p:sp>
      </p:grpSp>
      <p:cxnSp>
        <p:nvCxnSpPr>
          <p:cNvPr id="19" name="Straight Connector 18"/>
          <p:cNvCxnSpPr/>
          <p:nvPr/>
        </p:nvCxnSpPr>
        <p:spPr>
          <a:xfrm>
            <a:off x="1127442" y="4095865"/>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162707" y="4467111"/>
            <a:ext cx="740041" cy="492443"/>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isting Data</a:t>
            </a:r>
          </a:p>
        </p:txBody>
      </p:sp>
      <p:sp>
        <p:nvSpPr>
          <p:cNvPr id="21" name="TextBox 20"/>
          <p:cNvSpPr txBox="1"/>
          <p:nvPr/>
        </p:nvSpPr>
        <p:spPr>
          <a:xfrm>
            <a:off x="2435282" y="4948486"/>
            <a:ext cx="966095" cy="325217"/>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B Application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16200000" flipH="1">
            <a:off x="2515475" y="4304206"/>
            <a:ext cx="461673" cy="639640"/>
          </a:xfrm>
          <a:prstGeom prst="rect">
            <a:avLst/>
          </a:prstGeom>
          <a:noFill/>
        </p:spPr>
      </p:pic>
      <p:sp>
        <p:nvSpPr>
          <p:cNvPr id="23" name="TextBox 22"/>
          <p:cNvSpPr txBox="1"/>
          <p:nvPr/>
        </p:nvSpPr>
        <p:spPr>
          <a:xfrm>
            <a:off x="4579789" y="4959473"/>
            <a:ext cx="726465"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4" name="TextBox 23"/>
          <p:cNvSpPr txBox="1"/>
          <p:nvPr/>
        </p:nvSpPr>
        <p:spPr>
          <a:xfrm>
            <a:off x="3457970" y="4957569"/>
            <a:ext cx="922773" cy="162609"/>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Marts</a:t>
            </a:r>
            <a:endParaRPr kumimoji="0" lang="en-US" sz="1961"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25" name="Straight Connector 24"/>
          <p:cNvCxnSpPr/>
          <p:nvPr/>
        </p:nvCxnSpPr>
        <p:spPr>
          <a:xfrm>
            <a:off x="1127442" y="5350601"/>
            <a:ext cx="44808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506444" y="4356059"/>
            <a:ext cx="586454" cy="458420"/>
            <a:chOff x="4593681" y="4528365"/>
            <a:chExt cx="598383" cy="458485"/>
          </a:xfrm>
        </p:grpSpPr>
        <p:grpSp>
          <p:nvGrpSpPr>
            <p:cNvPr id="27" name="Group 26"/>
            <p:cNvGrpSpPr/>
            <p:nvPr/>
          </p:nvGrpSpPr>
          <p:grpSpPr>
            <a:xfrm>
              <a:off x="4768104" y="4528365"/>
              <a:ext cx="423960" cy="322667"/>
              <a:chOff x="5743575" y="223838"/>
              <a:chExt cx="823913" cy="627062"/>
            </a:xfrm>
          </p:grpSpPr>
          <p:sp>
            <p:nvSpPr>
              <p:cNvPr id="37"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28" name="Rectangle 27"/>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29" name="Group 28"/>
            <p:cNvGrpSpPr/>
            <p:nvPr/>
          </p:nvGrpSpPr>
          <p:grpSpPr>
            <a:xfrm>
              <a:off x="4683643" y="4596849"/>
              <a:ext cx="423960" cy="322667"/>
              <a:chOff x="5743575" y="223838"/>
              <a:chExt cx="823913" cy="627062"/>
            </a:xfrm>
            <a:solidFill>
              <a:schemeClr val="bg1">
                <a:lumMod val="65000"/>
              </a:schemeClr>
            </a:solidFill>
          </p:grpSpPr>
          <p:sp>
            <p:nvSpPr>
              <p:cNvPr id="35"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0" name="Group 29"/>
            <p:cNvGrpSpPr/>
            <p:nvPr/>
          </p:nvGrpSpPr>
          <p:grpSpPr>
            <a:xfrm>
              <a:off x="4593681" y="4664183"/>
              <a:ext cx="423960" cy="322667"/>
              <a:chOff x="4593681" y="4664183"/>
              <a:chExt cx="423960" cy="322667"/>
            </a:xfrm>
          </p:grpSpPr>
          <p:sp>
            <p:nvSpPr>
              <p:cNvPr id="31" name="Rectangle 30"/>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32" name="Group 31"/>
              <p:cNvGrpSpPr/>
              <p:nvPr/>
            </p:nvGrpSpPr>
            <p:grpSpPr>
              <a:xfrm>
                <a:off x="4593681" y="4664183"/>
                <a:ext cx="423960" cy="322667"/>
                <a:chOff x="5743575" y="223838"/>
                <a:chExt cx="823913" cy="627062"/>
              </a:xfrm>
              <a:solidFill>
                <a:schemeClr val="bg1">
                  <a:lumMod val="75000"/>
                </a:schemeClr>
              </a:solidFill>
            </p:grpSpPr>
            <p:sp>
              <p:nvSpPr>
                <p:cNvPr id="33"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729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39" name="Up Arrow 62"/>
          <p:cNvSpPr/>
          <p:nvPr/>
        </p:nvSpPr>
        <p:spPr bwMode="auto">
          <a:xfrm rot="5400000">
            <a:off x="6535977" y="3550921"/>
            <a:ext cx="549977" cy="2300294"/>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40" name="Group 39"/>
          <p:cNvGrpSpPr/>
          <p:nvPr/>
        </p:nvGrpSpPr>
        <p:grpSpPr>
          <a:xfrm>
            <a:off x="8349045" y="5419255"/>
            <a:ext cx="1102588" cy="886524"/>
            <a:chOff x="9025917" y="1714352"/>
            <a:chExt cx="1296017" cy="942751"/>
          </a:xfrm>
        </p:grpSpPr>
        <p:sp>
          <p:nvSpPr>
            <p:cNvPr id="41" name="TextBox 40"/>
            <p:cNvSpPr txBox="1"/>
            <p:nvPr/>
          </p:nvSpPr>
          <p:spPr>
            <a:xfrm>
              <a:off x="9025917" y="2395266"/>
              <a:ext cx="1296017" cy="261837"/>
            </a:xfrm>
            <a:prstGeom prst="rect">
              <a:avLst/>
            </a:prstGeom>
            <a:noFill/>
          </p:spPr>
          <p:txBody>
            <a:bodyPr wrap="square" lIns="0" tIns="0" rIns="0" bIns="0"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mn-cs"/>
                </a:rPr>
                <a:t>End Users</a:t>
              </a:r>
            </a:p>
          </p:txBody>
        </p:sp>
        <p:sp>
          <p:nvSpPr>
            <p:cNvPr id="42"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3"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5"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sp>
          <p:nvSpPr>
            <p:cNvPr id="46"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109681" tIns="54840" rIns="109681" bIns="54840" numCol="1" rtlCol="0" anchor="ctr" anchorCtr="0" compatLnSpc="1">
              <a:prstTxWarp prst="textNoShape">
                <a:avLst/>
              </a:prstTxWarp>
            </a:bodyPr>
            <a:lstStyle/>
            <a:p>
              <a:pPr marL="0" marR="0" lvl="0" indent="0" algn="ctr" defTabSz="1096331" rtl="0" eaLnBrk="1" fontAlgn="base" latinLnBrk="0" hangingPunct="1">
                <a:lnSpc>
                  <a:spcPct val="7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Tw Cen MT"/>
                <a:ea typeface="+mn-ea"/>
                <a:cs typeface="+mn-cs"/>
              </a:endParaRPr>
            </a:p>
          </p:txBody>
        </p:sp>
      </p:grpSp>
      <p:grpSp>
        <p:nvGrpSpPr>
          <p:cNvPr id="47" name="Group 46"/>
          <p:cNvGrpSpPr/>
          <p:nvPr/>
        </p:nvGrpSpPr>
        <p:grpSpPr>
          <a:xfrm>
            <a:off x="7908238" y="1553375"/>
            <a:ext cx="1984201" cy="3677810"/>
            <a:chOff x="7792583" y="935910"/>
            <a:chExt cx="2024563" cy="3752626"/>
          </a:xfrm>
        </p:grpSpPr>
        <p:pic>
          <p:nvPicPr>
            <p:cNvPr id="48" name="Picture 4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57631" y="935910"/>
              <a:ext cx="1068036" cy="800664"/>
            </a:xfrm>
            <a:prstGeom prst="rect">
              <a:avLst/>
            </a:prstGeom>
            <a:solidFill>
              <a:schemeClr val="tx2"/>
            </a:solidFill>
          </p:spPr>
        </p:pic>
        <p:sp>
          <p:nvSpPr>
            <p:cNvPr id="49" name="TextBox 48"/>
            <p:cNvSpPr txBox="1"/>
            <p:nvPr/>
          </p:nvSpPr>
          <p:spPr>
            <a:xfrm>
              <a:off x="7792583" y="4500113"/>
              <a:ext cx="2024563" cy="188423"/>
            </a:xfrm>
            <a:prstGeom prst="rect">
              <a:avLst/>
            </a:prstGeom>
            <a:noFill/>
          </p:spPr>
          <p:txBody>
            <a:bodyPr wrap="square" lIns="0" tIns="0" rIns="0" bIns="0"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Excel</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sp>
          <p:nvSpPr>
            <p:cNvPr id="50" name="TextBox 49"/>
            <p:cNvSpPr txBox="1"/>
            <p:nvPr/>
          </p:nvSpPr>
          <p:spPr>
            <a:xfrm>
              <a:off x="7960563" y="1813792"/>
              <a:ext cx="1517790" cy="188423"/>
            </a:xfrm>
            <a:prstGeom prst="rect">
              <a:avLst/>
            </a:prstGeom>
            <a:noFill/>
          </p:spPr>
          <p:txBody>
            <a:bodyPr wrap="square" lIns="0" tIns="0" rIns="0" bIns="0"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1" name="Group 50"/>
            <p:cNvGrpSpPr/>
            <p:nvPr/>
          </p:nvGrpSpPr>
          <p:grpSpPr>
            <a:xfrm>
              <a:off x="8242356" y="3515392"/>
              <a:ext cx="965910" cy="849613"/>
              <a:chOff x="8324565" y="-543377"/>
              <a:chExt cx="1035966" cy="911233"/>
            </a:xfrm>
          </p:grpSpPr>
          <p:sp>
            <p:nvSpPr>
              <p:cNvPr id="52" name="Rectangle 51"/>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53" name="Picture 3"/>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8324565" y="-543377"/>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sp>
        <p:nvSpPr>
          <p:cNvPr id="54" name="Up Arrow 77"/>
          <p:cNvSpPr/>
          <p:nvPr/>
        </p:nvSpPr>
        <p:spPr bwMode="auto">
          <a:xfrm>
            <a:off x="8541650" y="2698396"/>
            <a:ext cx="549977" cy="1133298"/>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55" name="Group 54"/>
          <p:cNvGrpSpPr/>
          <p:nvPr/>
        </p:nvGrpSpPr>
        <p:grpSpPr>
          <a:xfrm>
            <a:off x="4136941" y="2922838"/>
            <a:ext cx="1827204" cy="910948"/>
            <a:chOff x="4219326" y="2980799"/>
            <a:chExt cx="1864372" cy="929478"/>
          </a:xfrm>
        </p:grpSpPr>
        <p:pic>
          <p:nvPicPr>
            <p:cNvPr id="56" name="Picture 7" descr="\\SFP\Work\White_Whale\3-22036_Kuleen_Bharadwaj\PPT\4_SQL Server Renewal\SFP_Art\Icons\Chris Icons\cube_blue.png"/>
            <p:cNvPicPr>
              <a:picLocks noChangeAspect="1" noChangeArrowheads="1"/>
            </p:cNvPicPr>
            <p:nvPr/>
          </p:nvPicPr>
          <p:blipFill>
            <a:blip r:embed="rId7" cstate="screen">
              <a:duotone>
                <a:prstClr val="black"/>
                <a:schemeClr val="accent1">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219326" y="2980799"/>
              <a:ext cx="536228" cy="555350"/>
            </a:xfrm>
            <a:prstGeom prst="rect">
              <a:avLst/>
            </a:prstGeom>
            <a:noFill/>
          </p:spPr>
        </p:pic>
        <p:sp>
          <p:nvSpPr>
            <p:cNvPr id="57" name="TextBox 56"/>
            <p:cNvSpPr txBox="1"/>
            <p:nvPr/>
          </p:nvSpPr>
          <p:spPr>
            <a:xfrm>
              <a:off x="4226617" y="3568920"/>
              <a:ext cx="773094"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nalysis</a:t>
              </a:r>
              <a:r>
                <a:rPr kumimoji="0" lang="en-US" sz="1174" b="0" i="0" u="none" strike="noStrike" kern="0" cap="none" spc="0" normalizeH="0" baseline="0" noProof="0">
                  <a:ln>
                    <a:noFill/>
                  </a:ln>
                  <a:gradFill>
                    <a:gsLst>
                      <a:gs pos="0">
                        <a:srgbClr val="505050"/>
                      </a:gs>
                      <a:gs pos="86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ubes</a:t>
              </a:r>
            </a:p>
          </p:txBody>
        </p:sp>
        <p:sp>
          <p:nvSpPr>
            <p:cNvPr id="58" name="TextBox 57"/>
            <p:cNvSpPr txBox="1"/>
            <p:nvPr/>
          </p:nvSpPr>
          <p:spPr>
            <a:xfrm>
              <a:off x="4993992" y="3578445"/>
              <a:ext cx="1089706" cy="331832"/>
            </a:xfrm>
            <a:prstGeom prst="rect">
              <a:avLst/>
            </a:prstGeom>
            <a:noFill/>
          </p:spPr>
          <p:txBody>
            <a:bodyPr wrap="square" lIns="0" tIns="0" rIns="0" bIns="0" rtlCol="0">
              <a:spAutoFit/>
            </a:bodyPr>
            <a:lstStyle/>
            <a:p>
              <a:pPr marL="0" marR="0" lvl="0" indent="0" algn="l" defTabSz="913874" rtl="0" eaLnBrk="1" fontAlgn="auto" latinLnBrk="0" hangingPunct="1">
                <a:lnSpc>
                  <a:spcPct val="90000"/>
                </a:lnSpc>
                <a:spcBef>
                  <a:spcPts val="0"/>
                </a:spcBef>
                <a:spcAft>
                  <a:spcPts val="0"/>
                </a:spcAft>
                <a:buClrTx/>
                <a:buSzTx/>
                <a:buFontTx/>
                <a:buNone/>
                <a:tabLst/>
                <a:defRPr/>
              </a:pPr>
              <a:r>
                <a:rPr kumimoji="0" lang="en-US" sz="1174"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a:t>
              </a:r>
            </a:p>
          </p:txBody>
        </p:sp>
        <p:grpSp>
          <p:nvGrpSpPr>
            <p:cNvPr id="59" name="Group 58"/>
            <p:cNvGrpSpPr/>
            <p:nvPr/>
          </p:nvGrpSpPr>
          <p:grpSpPr>
            <a:xfrm>
              <a:off x="5009301" y="2982416"/>
              <a:ext cx="390488" cy="541015"/>
              <a:chOff x="-1497013" y="-1624013"/>
              <a:chExt cx="1068388" cy="1308100"/>
            </a:xfrm>
            <a:solidFill>
              <a:schemeClr val="bg2"/>
            </a:solidFill>
          </p:grpSpPr>
          <p:sp>
            <p:nvSpPr>
              <p:cNvPr id="60"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1"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2"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3"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4" name="Up Arrow 89"/>
          <p:cNvSpPr/>
          <p:nvPr/>
        </p:nvSpPr>
        <p:spPr bwMode="auto">
          <a:xfrm rot="14914768">
            <a:off x="6562648" y="1412859"/>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5" name="Up Arrow 103"/>
          <p:cNvSpPr/>
          <p:nvPr/>
        </p:nvSpPr>
        <p:spPr bwMode="auto">
          <a:xfrm rot="6732246">
            <a:off x="6689458" y="2920087"/>
            <a:ext cx="549977" cy="1681510"/>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66" name="Up Arrow 104"/>
          <p:cNvSpPr/>
          <p:nvPr/>
        </p:nvSpPr>
        <p:spPr bwMode="auto">
          <a:xfrm rot="4132530">
            <a:off x="6587086" y="915831"/>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5" name="Up Arrow 89">
            <a:extLst>
              <a:ext uri="{FF2B5EF4-FFF2-40B4-BE49-F238E27FC236}">
                <a16:creationId xmlns:a16="http://schemas.microsoft.com/office/drawing/2014/main" id="{8B30FD6A-32AD-4E94-83AE-862A62807DDD}"/>
              </a:ext>
            </a:extLst>
          </p:cNvPr>
          <p:cNvSpPr/>
          <p:nvPr/>
        </p:nvSpPr>
        <p:spPr bwMode="auto">
          <a:xfrm rot="14914768">
            <a:off x="6562648" y="1412858"/>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6" name="Up Arrow 104">
            <a:extLst>
              <a:ext uri="{FF2B5EF4-FFF2-40B4-BE49-F238E27FC236}">
                <a16:creationId xmlns:a16="http://schemas.microsoft.com/office/drawing/2014/main" id="{28174BA2-648E-4BC3-853A-862DE4654F25}"/>
              </a:ext>
            </a:extLst>
          </p:cNvPr>
          <p:cNvSpPr/>
          <p:nvPr/>
        </p:nvSpPr>
        <p:spPr bwMode="auto">
          <a:xfrm rot="4132530">
            <a:off x="6587086" y="915830"/>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7" name="Up Arrow 62">
            <a:extLst>
              <a:ext uri="{FF2B5EF4-FFF2-40B4-BE49-F238E27FC236}">
                <a16:creationId xmlns:a16="http://schemas.microsoft.com/office/drawing/2014/main" id="{D8F9445E-CC74-41FC-BA53-6FAC4D8F99FE}"/>
              </a:ext>
            </a:extLst>
          </p:cNvPr>
          <p:cNvSpPr/>
          <p:nvPr/>
        </p:nvSpPr>
        <p:spPr bwMode="auto">
          <a:xfrm rot="5400000">
            <a:off x="6535977" y="3550922"/>
            <a:ext cx="549977" cy="2300294"/>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8" name="Up Arrow 103">
            <a:extLst>
              <a:ext uri="{FF2B5EF4-FFF2-40B4-BE49-F238E27FC236}">
                <a16:creationId xmlns:a16="http://schemas.microsoft.com/office/drawing/2014/main" id="{124A1744-3D28-4770-ABB1-EF61413D283E}"/>
              </a:ext>
            </a:extLst>
          </p:cNvPr>
          <p:cNvSpPr/>
          <p:nvPr/>
        </p:nvSpPr>
        <p:spPr bwMode="auto">
          <a:xfrm rot="6732246">
            <a:off x="6689458" y="2920088"/>
            <a:ext cx="549977" cy="1681510"/>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89" name="Up Arrow 89">
            <a:extLst>
              <a:ext uri="{FF2B5EF4-FFF2-40B4-BE49-F238E27FC236}">
                <a16:creationId xmlns:a16="http://schemas.microsoft.com/office/drawing/2014/main" id="{F83556AD-4172-470F-9577-1820F9905DEF}"/>
              </a:ext>
            </a:extLst>
          </p:cNvPr>
          <p:cNvSpPr/>
          <p:nvPr/>
        </p:nvSpPr>
        <p:spPr bwMode="auto">
          <a:xfrm rot="14914768">
            <a:off x="6562648" y="1412859"/>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90" name="Up Arrow 104">
            <a:extLst>
              <a:ext uri="{FF2B5EF4-FFF2-40B4-BE49-F238E27FC236}">
                <a16:creationId xmlns:a16="http://schemas.microsoft.com/office/drawing/2014/main" id="{5358E59C-025E-4A53-B63B-0F90DF537B54}"/>
              </a:ext>
            </a:extLst>
          </p:cNvPr>
          <p:cNvSpPr/>
          <p:nvPr/>
        </p:nvSpPr>
        <p:spPr bwMode="auto">
          <a:xfrm rot="4132530">
            <a:off x="6587086" y="915831"/>
            <a:ext cx="549977" cy="2541665"/>
          </a:xfrm>
          <a:prstGeom prst="upArrow">
            <a:avLst/>
          </a:prstGeom>
          <a:solidFill>
            <a:schemeClr val="accent4"/>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1397" tIns="45699" rIns="91397" bIns="45699"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2400" b="0" i="1" u="none" strike="noStrike" kern="0" cap="none" spc="0" normalizeH="0" baseline="0" noProof="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nvGrpSpPr>
          <p:cNvPr id="109" name="Group 108">
            <a:extLst>
              <a:ext uri="{FF2B5EF4-FFF2-40B4-BE49-F238E27FC236}">
                <a16:creationId xmlns:a16="http://schemas.microsoft.com/office/drawing/2014/main" id="{60F8E111-A363-44E6-97F6-514E24C538B2}"/>
              </a:ext>
            </a:extLst>
          </p:cNvPr>
          <p:cNvGrpSpPr/>
          <p:nvPr/>
        </p:nvGrpSpPr>
        <p:grpSpPr>
          <a:xfrm>
            <a:off x="3429177" y="4170549"/>
            <a:ext cx="680293" cy="643168"/>
            <a:chOff x="3427685" y="4251550"/>
            <a:chExt cx="810600" cy="766365"/>
          </a:xfrm>
        </p:grpSpPr>
        <p:grpSp>
          <p:nvGrpSpPr>
            <p:cNvPr id="110" name="Group 109">
              <a:extLst>
                <a:ext uri="{FF2B5EF4-FFF2-40B4-BE49-F238E27FC236}">
                  <a16:creationId xmlns:a16="http://schemas.microsoft.com/office/drawing/2014/main" id="{807A504C-2E44-4916-AF56-533A6655792E}"/>
                </a:ext>
              </a:extLst>
            </p:cNvPr>
            <p:cNvGrpSpPr/>
            <p:nvPr/>
          </p:nvGrpSpPr>
          <p:grpSpPr>
            <a:xfrm>
              <a:off x="3427685" y="4251550"/>
              <a:ext cx="390488" cy="541015"/>
              <a:chOff x="-1497013" y="-1746211"/>
              <a:chExt cx="1068388" cy="1308100"/>
            </a:xfrm>
            <a:solidFill>
              <a:srgbClr val="002050"/>
            </a:solidFill>
          </p:grpSpPr>
          <p:sp>
            <p:nvSpPr>
              <p:cNvPr id="123" name="Freeform 5">
                <a:extLst>
                  <a:ext uri="{FF2B5EF4-FFF2-40B4-BE49-F238E27FC236}">
                    <a16:creationId xmlns:a16="http://schemas.microsoft.com/office/drawing/2014/main" id="{83059336-20D6-414B-8E93-DB2C6D0F427C}"/>
                  </a:ext>
                </a:extLst>
              </p:cNvPr>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4" name="Freeform 6">
                <a:extLst>
                  <a:ext uri="{FF2B5EF4-FFF2-40B4-BE49-F238E27FC236}">
                    <a16:creationId xmlns:a16="http://schemas.microsoft.com/office/drawing/2014/main" id="{5498A646-B169-4DD7-AD04-C7F57A09241D}"/>
                  </a:ext>
                </a:extLst>
              </p:cNvPr>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5" name="Freeform 7">
                <a:extLst>
                  <a:ext uri="{FF2B5EF4-FFF2-40B4-BE49-F238E27FC236}">
                    <a16:creationId xmlns:a16="http://schemas.microsoft.com/office/drawing/2014/main" id="{F9BE51DB-FB4C-4E65-A76B-B7BAE94D364D}"/>
                  </a:ext>
                </a:extLst>
              </p:cNvPr>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6" name="Freeform 8">
                <a:extLst>
                  <a:ext uri="{FF2B5EF4-FFF2-40B4-BE49-F238E27FC236}">
                    <a16:creationId xmlns:a16="http://schemas.microsoft.com/office/drawing/2014/main" id="{F53CAC95-5F50-491D-B6FE-355ACC71BCEC}"/>
                  </a:ext>
                </a:extLst>
              </p:cNvPr>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73C45BC2-0047-4F65-A1AD-A32648DB7C11}"/>
                </a:ext>
              </a:extLst>
            </p:cNvPr>
            <p:cNvGrpSpPr/>
            <p:nvPr/>
          </p:nvGrpSpPr>
          <p:grpSpPr>
            <a:xfrm>
              <a:off x="3847797" y="4271201"/>
              <a:ext cx="390488" cy="541015"/>
              <a:chOff x="-1497013" y="-1746221"/>
              <a:chExt cx="1068388" cy="1308103"/>
            </a:xfrm>
            <a:solidFill>
              <a:srgbClr val="002050"/>
            </a:solidFill>
          </p:grpSpPr>
          <p:sp>
            <p:nvSpPr>
              <p:cNvPr id="119" name="Freeform 5">
                <a:extLst>
                  <a:ext uri="{FF2B5EF4-FFF2-40B4-BE49-F238E27FC236}">
                    <a16:creationId xmlns:a16="http://schemas.microsoft.com/office/drawing/2014/main" id="{78EB14CB-2939-46A3-AE45-21614794B805}"/>
                  </a:ext>
                </a:extLst>
              </p:cNvPr>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0" name="Freeform 6">
                <a:extLst>
                  <a:ext uri="{FF2B5EF4-FFF2-40B4-BE49-F238E27FC236}">
                    <a16:creationId xmlns:a16="http://schemas.microsoft.com/office/drawing/2014/main" id="{CC2FB2EE-07F8-47BC-9E23-5996E59767B1}"/>
                  </a:ext>
                </a:extLst>
              </p:cNvPr>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1" name="Freeform 7">
                <a:extLst>
                  <a:ext uri="{FF2B5EF4-FFF2-40B4-BE49-F238E27FC236}">
                    <a16:creationId xmlns:a16="http://schemas.microsoft.com/office/drawing/2014/main" id="{26A1C1D4-EC47-42F0-843F-BA61852FDB95}"/>
                  </a:ext>
                </a:extLst>
              </p:cNvPr>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22" name="Freeform 8">
                <a:extLst>
                  <a:ext uri="{FF2B5EF4-FFF2-40B4-BE49-F238E27FC236}">
                    <a16:creationId xmlns:a16="http://schemas.microsoft.com/office/drawing/2014/main" id="{A6051447-9814-4BF1-93E4-6805D3BEA7CC}"/>
                  </a:ext>
                </a:extLst>
              </p:cNvPr>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2" name="Group 111">
              <a:extLst>
                <a:ext uri="{FF2B5EF4-FFF2-40B4-BE49-F238E27FC236}">
                  <a16:creationId xmlns:a16="http://schemas.microsoft.com/office/drawing/2014/main" id="{C3ED4036-6818-4602-8ACF-C9CEA1D83DEC}"/>
                </a:ext>
              </a:extLst>
            </p:cNvPr>
            <p:cNvGrpSpPr/>
            <p:nvPr/>
          </p:nvGrpSpPr>
          <p:grpSpPr>
            <a:xfrm>
              <a:off x="3611668" y="4476901"/>
              <a:ext cx="390488" cy="541014"/>
              <a:chOff x="4281504" y="4259110"/>
              <a:chExt cx="390488" cy="541014"/>
            </a:xfrm>
          </p:grpSpPr>
          <p:sp>
            <p:nvSpPr>
              <p:cNvPr id="113" name="Rectangle 112">
                <a:extLst>
                  <a:ext uri="{FF2B5EF4-FFF2-40B4-BE49-F238E27FC236}">
                    <a16:creationId xmlns:a16="http://schemas.microsoft.com/office/drawing/2014/main" id="{167B0CEA-16DB-4D32-99F2-AD5DDD8AD52F}"/>
                  </a:ext>
                </a:extLst>
              </p:cNvPr>
              <p:cNvSpPr/>
              <p:nvPr/>
            </p:nvSpPr>
            <p:spPr>
              <a:xfrm>
                <a:off x="4300881" y="4329333"/>
                <a:ext cx="367840" cy="361666"/>
              </a:xfrm>
              <a:prstGeom prst="rect">
                <a:avLst/>
              </a:prstGeom>
              <a:solidFill>
                <a:srgbClr val="505050"/>
              </a:solidFill>
              <a:ln w="1079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14" name="Group 113">
                <a:extLst>
                  <a:ext uri="{FF2B5EF4-FFF2-40B4-BE49-F238E27FC236}">
                    <a16:creationId xmlns:a16="http://schemas.microsoft.com/office/drawing/2014/main" id="{66CB7A2D-7D18-4886-99A6-7340E6A44D65}"/>
                  </a:ext>
                </a:extLst>
              </p:cNvPr>
              <p:cNvGrpSpPr/>
              <p:nvPr/>
            </p:nvGrpSpPr>
            <p:grpSpPr>
              <a:xfrm>
                <a:off x="4281504" y="4259110"/>
                <a:ext cx="390488" cy="541014"/>
                <a:chOff x="-1497013" y="-1746209"/>
                <a:chExt cx="1068388" cy="1308096"/>
              </a:xfrm>
              <a:solidFill>
                <a:srgbClr val="002050"/>
              </a:solidFill>
            </p:grpSpPr>
            <p:sp>
              <p:nvSpPr>
                <p:cNvPr id="115" name="Freeform 5">
                  <a:extLst>
                    <a:ext uri="{FF2B5EF4-FFF2-40B4-BE49-F238E27FC236}">
                      <a16:creationId xmlns:a16="http://schemas.microsoft.com/office/drawing/2014/main" id="{FF00E84A-B07A-4104-A49C-E88537F591D1}"/>
                    </a:ext>
                  </a:extLst>
                </p:cNvPr>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6" name="Freeform 6">
                  <a:extLst>
                    <a:ext uri="{FF2B5EF4-FFF2-40B4-BE49-F238E27FC236}">
                      <a16:creationId xmlns:a16="http://schemas.microsoft.com/office/drawing/2014/main" id="{4D236724-89E3-4A70-8E24-67ABC235B9DD}"/>
                    </a:ext>
                  </a:extLst>
                </p:cNvPr>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7" name="Freeform 7">
                  <a:extLst>
                    <a:ext uri="{FF2B5EF4-FFF2-40B4-BE49-F238E27FC236}">
                      <a16:creationId xmlns:a16="http://schemas.microsoft.com/office/drawing/2014/main" id="{30FB25B7-B58C-4640-B474-29CAD4AD446A}"/>
                    </a:ext>
                  </a:extLst>
                </p:cNvPr>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8" name="Freeform 8">
                  <a:extLst>
                    <a:ext uri="{FF2B5EF4-FFF2-40B4-BE49-F238E27FC236}">
                      <a16:creationId xmlns:a16="http://schemas.microsoft.com/office/drawing/2014/main" id="{B40C4BD2-5E81-4294-96E8-ED1979AFAEE5}"/>
                    </a:ext>
                  </a:extLst>
                </p:cNvPr>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4703568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569F5D-A3C4-4C6F-A5F9-441B91DCC6A0}"/>
              </a:ext>
            </a:extLst>
          </p:cNvPr>
          <p:cNvSpPr>
            <a:spLocks noGrp="1"/>
          </p:cNvSpPr>
          <p:nvPr>
            <p:ph type="title"/>
          </p:nvPr>
        </p:nvSpPr>
        <p:spPr/>
        <p:txBody>
          <a:bodyPr/>
          <a:lstStyle/>
          <a:p>
            <a:r>
              <a:rPr lang="en-GB"/>
              <a:t>Why do we need a Framework?</a:t>
            </a:r>
          </a:p>
        </p:txBody>
      </p:sp>
      <p:graphicFrame>
        <p:nvGraphicFramePr>
          <p:cNvPr id="5" name="Teksta vietturis 3">
            <a:extLst>
              <a:ext uri="{FF2B5EF4-FFF2-40B4-BE49-F238E27FC236}">
                <a16:creationId xmlns:a16="http://schemas.microsoft.com/office/drawing/2014/main" id="{570E6DB2-2B7C-4337-9B95-DC811546FE62}"/>
              </a:ext>
            </a:extLst>
          </p:cNvPr>
          <p:cNvGraphicFramePr/>
          <p:nvPr/>
        </p:nvGraphicFramePr>
        <p:xfrm>
          <a:off x="1184084" y="1391952"/>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36928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FCA133-295D-4CCA-9861-7AF98AC3BD91}"/>
              </a:ext>
            </a:extLst>
          </p:cNvPr>
          <p:cNvSpPr>
            <a:spLocks noGrp="1"/>
          </p:cNvSpPr>
          <p:nvPr>
            <p:ph type="title"/>
          </p:nvPr>
        </p:nvSpPr>
        <p:spPr/>
        <p:txBody>
          <a:bodyPr/>
          <a:lstStyle/>
          <a:p>
            <a:r>
              <a:rPr lang="de-DE"/>
              <a:t>Methods </a:t>
            </a:r>
            <a:r>
              <a:rPr lang="de-DE" err="1"/>
              <a:t>of</a:t>
            </a:r>
            <a:r>
              <a:rPr lang="de-DE"/>
              <a:t> </a:t>
            </a:r>
            <a:r>
              <a:rPr lang="de-DE" err="1"/>
              <a:t>introducing</a:t>
            </a:r>
            <a:r>
              <a:rPr lang="de-DE"/>
              <a:t> </a:t>
            </a:r>
            <a:r>
              <a:rPr lang="de-DE" err="1"/>
              <a:t>governance</a:t>
            </a:r>
            <a:endParaRPr lang="de-DE"/>
          </a:p>
        </p:txBody>
      </p:sp>
      <p:pic>
        <p:nvPicPr>
          <p:cNvPr id="3" name="Picture 2" descr="Image shows the three main ways governance is introduced, which are described in the table below.">
            <a:extLst>
              <a:ext uri="{FF2B5EF4-FFF2-40B4-BE49-F238E27FC236}">
                <a16:creationId xmlns:a16="http://schemas.microsoft.com/office/drawing/2014/main" id="{BEAE77F3-7AE8-44FB-A957-5563724B6C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9027" y="1847757"/>
            <a:ext cx="9813945" cy="4187283"/>
          </a:xfrm>
          <a:prstGeom prst="rect">
            <a:avLst/>
          </a:prstGeom>
          <a:noFill/>
        </p:spPr>
      </p:pic>
    </p:spTree>
    <p:extLst>
      <p:ext uri="{BB962C8B-B14F-4D97-AF65-F5344CB8AC3E}">
        <p14:creationId xmlns:p14="http://schemas.microsoft.com/office/powerpoint/2010/main" val="29446586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C87520-9D7A-4496-A179-A8CC064517C6}"/>
              </a:ext>
            </a:extLst>
          </p:cNvPr>
          <p:cNvSpPr>
            <a:spLocks noGrp="1"/>
          </p:cNvSpPr>
          <p:nvPr>
            <p:ph type="title"/>
          </p:nvPr>
        </p:nvSpPr>
        <p:spPr/>
        <p:txBody>
          <a:bodyPr/>
          <a:lstStyle/>
          <a:p>
            <a:r>
              <a:rPr lang="de-DE" err="1"/>
              <a:t>Governance</a:t>
            </a:r>
            <a:r>
              <a:rPr lang="de-DE"/>
              <a:t> Challenges</a:t>
            </a:r>
            <a:endParaRPr lang="en-US"/>
          </a:p>
        </p:txBody>
      </p:sp>
      <p:grpSp>
        <p:nvGrpSpPr>
          <p:cNvPr id="3" name="Group 31">
            <a:extLst>
              <a:ext uri="{FF2B5EF4-FFF2-40B4-BE49-F238E27FC236}">
                <a16:creationId xmlns:a16="http://schemas.microsoft.com/office/drawing/2014/main" id="{2964268D-A0E2-48A6-8DE2-900F18ABAD5A}"/>
              </a:ext>
            </a:extLst>
          </p:cNvPr>
          <p:cNvGrpSpPr/>
          <p:nvPr/>
        </p:nvGrpSpPr>
        <p:grpSpPr>
          <a:xfrm>
            <a:off x="408875" y="1325305"/>
            <a:ext cx="11015337" cy="1684113"/>
            <a:chOff x="408876" y="1325303"/>
            <a:chExt cx="10223845" cy="1593388"/>
          </a:xfrm>
        </p:grpSpPr>
        <p:sp>
          <p:nvSpPr>
            <p:cNvPr id="4" name="Rectangle 14">
              <a:extLst>
                <a:ext uri="{FF2B5EF4-FFF2-40B4-BE49-F238E27FC236}">
                  <a16:creationId xmlns:a16="http://schemas.microsoft.com/office/drawing/2014/main" id="{2913C600-5BD1-4443-BE6F-0DA39ADEE89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Strategy</a:t>
              </a:r>
            </a:p>
          </p:txBody>
        </p:sp>
        <p:sp>
          <p:nvSpPr>
            <p:cNvPr id="5" name="Rectangle 15">
              <a:extLst>
                <a:ext uri="{FF2B5EF4-FFF2-40B4-BE49-F238E27FC236}">
                  <a16:creationId xmlns:a16="http://schemas.microsoft.com/office/drawing/2014/main" id="{11ABAB6E-AFD1-48F4-A267-EA97DF478D8C}"/>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Lack of a cohesive data governance strategy that aligns with the business strategy.</a:t>
              </a:r>
            </a:p>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Lack of executive support for governing data as a strategic asset.</a:t>
              </a:r>
            </a:p>
            <a:p>
              <a:pPr marL="285750" marR="0" lvl="0" indent="-285750" algn="l" defTabSz="914367"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1400" b="0" i="0" u="none" strike="noStrike" kern="1200" cap="none" spc="0" normalizeH="0" baseline="0" noProof="0">
                  <a:ln w="3175">
                    <a:noFill/>
                  </a:ln>
                  <a:solidFill>
                    <a:prstClr val="black"/>
                  </a:solidFill>
                  <a:effectLst/>
                  <a:uLnTx/>
                  <a:uFillTx/>
                  <a:latin typeface="Segoe UI"/>
                  <a:ea typeface="+mn-ea"/>
                  <a:cs typeface="+mn-cs"/>
                </a:rPr>
                <a:t>Insufficient adoption planning for advancing adoption and the maturity level of BI and analytics.</a:t>
              </a:r>
            </a:p>
          </p:txBody>
        </p:sp>
      </p:grpSp>
      <p:grpSp>
        <p:nvGrpSpPr>
          <p:cNvPr id="9" name="Group 38">
            <a:extLst>
              <a:ext uri="{FF2B5EF4-FFF2-40B4-BE49-F238E27FC236}">
                <a16:creationId xmlns:a16="http://schemas.microsoft.com/office/drawing/2014/main" id="{A29A11D4-56AE-4A91-97A9-051D4C21F9D9}"/>
              </a:ext>
            </a:extLst>
          </p:cNvPr>
          <p:cNvGrpSpPr/>
          <p:nvPr/>
        </p:nvGrpSpPr>
        <p:grpSpPr>
          <a:xfrm>
            <a:off x="408876" y="3190185"/>
            <a:ext cx="11015336" cy="1684121"/>
            <a:chOff x="408876" y="1325299"/>
            <a:chExt cx="10223845" cy="1593392"/>
          </a:xfrm>
        </p:grpSpPr>
        <p:sp>
          <p:nvSpPr>
            <p:cNvPr id="10" name="Rectangle 39">
              <a:extLst>
                <a:ext uri="{FF2B5EF4-FFF2-40B4-BE49-F238E27FC236}">
                  <a16:creationId xmlns:a16="http://schemas.microsoft.com/office/drawing/2014/main" id="{AEBF1F8B-8FAE-43F7-AA9B-098AB3AB8B38}"/>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ople</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11" name="Rectangle 40">
              <a:extLst>
                <a:ext uri="{FF2B5EF4-FFF2-40B4-BE49-F238E27FC236}">
                  <a16:creationId xmlns:a16="http://schemas.microsoft.com/office/drawing/2014/main" id="{4EAA865E-36CD-400A-A7A2-E53511F4963B}"/>
                </a:ext>
              </a:extLst>
            </p:cNvPr>
            <p:cNvSpPr/>
            <p:nvPr/>
          </p:nvSpPr>
          <p:spPr bwMode="auto">
            <a:xfrm>
              <a:off x="4661129" y="1325299"/>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ligned priorities between centralized teams and business un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identified champions with sufficient expertise and enthusiasm throughout the business units to advance organizational adoption objec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wareness of self-service best pract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Duplicate effort spent across business un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clear accountability, roles, and responsibilities.</a:t>
              </a:r>
            </a:p>
          </p:txBody>
        </p:sp>
      </p:grpSp>
      <p:grpSp>
        <p:nvGrpSpPr>
          <p:cNvPr id="12" name="Group 38">
            <a:extLst>
              <a:ext uri="{FF2B5EF4-FFF2-40B4-BE49-F238E27FC236}">
                <a16:creationId xmlns:a16="http://schemas.microsoft.com/office/drawing/2014/main" id="{D8A033C4-BE9F-4009-913B-BD32DA6D74E1}"/>
              </a:ext>
            </a:extLst>
          </p:cNvPr>
          <p:cNvGrpSpPr/>
          <p:nvPr/>
        </p:nvGrpSpPr>
        <p:grpSpPr>
          <a:xfrm>
            <a:off x="408876" y="5058137"/>
            <a:ext cx="11015336" cy="1684118"/>
            <a:chOff x="408876" y="1325303"/>
            <a:chExt cx="10223845" cy="1593388"/>
          </a:xfrm>
        </p:grpSpPr>
        <p:sp>
          <p:nvSpPr>
            <p:cNvPr id="13" name="Rectangle 39">
              <a:extLst>
                <a:ext uri="{FF2B5EF4-FFF2-40B4-BE49-F238E27FC236}">
                  <a16:creationId xmlns:a16="http://schemas.microsoft.com/office/drawing/2014/main" id="{A089807C-C472-4F75-B4BB-53C076C615A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err="1">
                  <a:ln>
                    <a:noFill/>
                  </a:ln>
                  <a:solidFill>
                    <a:srgbClr val="EDC30D"/>
                  </a:solidFill>
                  <a:effectLst/>
                  <a:uLnTx/>
                  <a:uFillTx/>
                  <a:latin typeface="Segoe UI Light"/>
                  <a:ea typeface="Segoe UI" pitchFamily="34" charset="0"/>
                  <a:cs typeface="Segoe UI" pitchFamily="34" charset="0"/>
                </a:rPr>
                <a:t>Process</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14" name="Rectangle 40">
              <a:extLst>
                <a:ext uri="{FF2B5EF4-FFF2-40B4-BE49-F238E27FC236}">
                  <a16:creationId xmlns:a16="http://schemas.microsoft.com/office/drawing/2014/main" id="{C8D6CE9C-2DBE-4169-9D35-D1331DBE1140}"/>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clearly defined processes resulting in chaos and inconsistenc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standardization or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sufficient ability to communicate and share lessons learn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documentation and over-reliance on tribal knowle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ability to comply with security and privacy requirements.</a:t>
              </a:r>
            </a:p>
          </p:txBody>
        </p:sp>
      </p:grpSp>
    </p:spTree>
    <p:extLst>
      <p:ext uri="{BB962C8B-B14F-4D97-AF65-F5344CB8AC3E}">
        <p14:creationId xmlns:p14="http://schemas.microsoft.com/office/powerpoint/2010/main" val="97090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C87520-9D7A-4496-A179-A8CC064517C6}"/>
              </a:ext>
            </a:extLst>
          </p:cNvPr>
          <p:cNvSpPr>
            <a:spLocks noGrp="1"/>
          </p:cNvSpPr>
          <p:nvPr>
            <p:ph type="title"/>
          </p:nvPr>
        </p:nvSpPr>
        <p:spPr/>
        <p:txBody>
          <a:bodyPr/>
          <a:lstStyle/>
          <a:p>
            <a:r>
              <a:rPr lang="de-DE" err="1"/>
              <a:t>Governance</a:t>
            </a:r>
            <a:r>
              <a:rPr lang="de-DE"/>
              <a:t> Challenges</a:t>
            </a:r>
            <a:endParaRPr lang="en-US"/>
          </a:p>
        </p:txBody>
      </p:sp>
      <p:grpSp>
        <p:nvGrpSpPr>
          <p:cNvPr id="3" name="Group 31">
            <a:extLst>
              <a:ext uri="{FF2B5EF4-FFF2-40B4-BE49-F238E27FC236}">
                <a16:creationId xmlns:a16="http://schemas.microsoft.com/office/drawing/2014/main" id="{2964268D-A0E2-48A6-8DE2-900F18ABAD5A}"/>
              </a:ext>
            </a:extLst>
          </p:cNvPr>
          <p:cNvGrpSpPr/>
          <p:nvPr/>
        </p:nvGrpSpPr>
        <p:grpSpPr>
          <a:xfrm>
            <a:off x="408876" y="1325303"/>
            <a:ext cx="11015337" cy="1684113"/>
            <a:chOff x="408876" y="1325303"/>
            <a:chExt cx="10223845" cy="1593388"/>
          </a:xfrm>
        </p:grpSpPr>
        <p:sp>
          <p:nvSpPr>
            <p:cNvPr id="4" name="Rectangle 14">
              <a:extLst>
                <a:ext uri="{FF2B5EF4-FFF2-40B4-BE49-F238E27FC236}">
                  <a16:creationId xmlns:a16="http://schemas.microsoft.com/office/drawing/2014/main" id="{2913C600-5BD1-4443-BE6F-0DA39ADEE89F}"/>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Data quality and Data management</a:t>
              </a:r>
            </a:p>
          </p:txBody>
        </p:sp>
        <p:sp>
          <p:nvSpPr>
            <p:cNvPr id="5" name="Rectangle 15">
              <a:extLst>
                <a:ext uri="{FF2B5EF4-FFF2-40B4-BE49-F238E27FC236}">
                  <a16:creationId xmlns:a16="http://schemas.microsoft.com/office/drawing/2014/main" id="{11ABAB6E-AFD1-48F4-A267-EA97DF478D8C}"/>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Sprawl of data and repo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accurate, incomplete, or outdated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trust in the data, especially for self-service co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Inconsistent reports produced without data valid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luable data not used or difficult to ac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Fragmented, siloed, and duplicated datas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clear data ownership and stewardship.</a:t>
              </a:r>
            </a:p>
          </p:txBody>
        </p:sp>
      </p:grpSp>
      <p:grpSp>
        <p:nvGrpSpPr>
          <p:cNvPr id="15" name="Group 31">
            <a:extLst>
              <a:ext uri="{FF2B5EF4-FFF2-40B4-BE49-F238E27FC236}">
                <a16:creationId xmlns:a16="http://schemas.microsoft.com/office/drawing/2014/main" id="{C06C6F21-FD65-42A0-A95A-4F890A81C46F}"/>
              </a:ext>
            </a:extLst>
          </p:cNvPr>
          <p:cNvGrpSpPr/>
          <p:nvPr/>
        </p:nvGrpSpPr>
        <p:grpSpPr>
          <a:xfrm>
            <a:off x="408876" y="3254719"/>
            <a:ext cx="11015337" cy="1684113"/>
            <a:chOff x="408876" y="1325303"/>
            <a:chExt cx="10223845" cy="1593388"/>
          </a:xfrm>
        </p:grpSpPr>
        <p:sp>
          <p:nvSpPr>
            <p:cNvPr id="16" name="Rectangle 14">
              <a:extLst>
                <a:ext uri="{FF2B5EF4-FFF2-40B4-BE49-F238E27FC236}">
                  <a16:creationId xmlns:a16="http://schemas.microsoft.com/office/drawing/2014/main" id="{B15C4245-26C3-4B01-8317-056E9E0AEA4E}"/>
                </a:ext>
              </a:extLst>
            </p:cNvPr>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de-DE"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Skills and Data L</a:t>
              </a:r>
              <a:r>
                <a:rPr kumimoji="0" lang="de-DE" sz="2800" b="0" i="0" u="none" strike="noStrike" kern="1200" cap="none" spc="0" normalizeH="0" baseline="0" noProof="0" err="1">
                  <a:ln>
                    <a:noFill/>
                  </a:ln>
                  <a:solidFill>
                    <a:srgbClr val="EDC30D"/>
                  </a:solidFill>
                  <a:effectLst/>
                  <a:uLnTx/>
                  <a:uFillTx/>
                  <a:latin typeface="Segoe UI Light"/>
                  <a:ea typeface="Segoe UI" pitchFamily="34" charset="0"/>
                  <a:cs typeface="Segoe UI" pitchFamily="34" charset="0"/>
                </a:rPr>
                <a:t>iteracy</a:t>
              </a: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p:txBody>
        </p:sp>
        <p:sp>
          <p:nvSpPr>
            <p:cNvPr id="20" name="Rectangle 15">
              <a:extLst>
                <a:ext uri="{FF2B5EF4-FFF2-40B4-BE49-F238E27FC236}">
                  <a16:creationId xmlns:a16="http://schemas.microsoft.com/office/drawing/2014/main" id="{2D45905C-92B2-4485-BEA3-3957DDB904F0}"/>
                </a:ext>
              </a:extLst>
            </p:cNvPr>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rying levels of ability to interpret, create, and communicate with data effectiv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Varying levels of technical skillsets and skill g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Lack of ability to confidently manage data diversity and volu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Underestimating the level of complexity for BI solution development and management throughout its entire lifecyc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Coping with the speed of change for cloud services.</a:t>
              </a:r>
            </a:p>
          </p:txBody>
        </p:sp>
      </p:grpSp>
    </p:spTree>
    <p:extLst>
      <p:ext uri="{BB962C8B-B14F-4D97-AF65-F5344CB8AC3E}">
        <p14:creationId xmlns:p14="http://schemas.microsoft.com/office/powerpoint/2010/main" val="20479487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865" y="1460"/>
            <a:ext cx="5424979" cy="6856055"/>
            <a:chOff x="-618" y="973"/>
            <a:chExt cx="2849058" cy="6857027"/>
          </a:xfrm>
          <a:solidFill>
            <a:srgbClr val="000000"/>
          </a:solidFill>
        </p:grpSpPr>
        <p:sp>
          <p:nvSpPr>
            <p:cNvPr id="22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3" name="Group 122"/>
            <p:cNvGrpSpPr/>
            <p:nvPr/>
          </p:nvGrpSpPr>
          <p:grpSpPr>
            <a:xfrm>
              <a:off x="316244" y="3172634"/>
              <a:ext cx="255342" cy="224444"/>
              <a:chOff x="681704" y="2920137"/>
              <a:chExt cx="321649" cy="282726"/>
            </a:xfrm>
            <a:grpFill/>
          </p:grpSpPr>
          <p:sp>
            <p:nvSpPr>
              <p:cNvPr id="124"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379"/>
            <p:cNvGrpSpPr/>
            <p:nvPr/>
          </p:nvGrpSpPr>
          <p:grpSpPr>
            <a:xfrm>
              <a:off x="313305" y="4124026"/>
              <a:ext cx="276799" cy="192696"/>
              <a:chOff x="3543365" y="7242824"/>
              <a:chExt cx="1238250" cy="862020"/>
            </a:xfrm>
            <a:grpFill/>
          </p:grpSpPr>
          <p:sp>
            <p:nvSpPr>
              <p:cNvPr id="14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8" name="Picture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9209238" y="2991039"/>
            <a:ext cx="6857650" cy="876557"/>
          </a:xfrm>
          <a:prstGeom prst="rect">
            <a:avLst/>
          </a:prstGeom>
        </p:spPr>
      </p:pic>
      <p:sp>
        <p:nvSpPr>
          <p:cNvPr id="4" name="Rectangle 3"/>
          <p:cNvSpPr/>
          <p:nvPr/>
        </p:nvSpPr>
        <p:spPr>
          <a:xfrm>
            <a:off x="6877765" y="1731262"/>
            <a:ext cx="5035561" cy="3872177"/>
          </a:xfrm>
          <a:prstGeom prst="rect">
            <a:avLst/>
          </a:prstGeom>
        </p:spPr>
        <p:txBody>
          <a:bodyPr wrap="square" lIns="179285" tIns="143428" rIns="179285" bIns="143428">
            <a:spAutoFit/>
          </a:bodyPr>
          <a:lstStyle/>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User adoption</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Corporate sponsorship</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2353"/>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t>Power BI champions</a:t>
            </a:r>
            <a:b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rPr>
            </a:b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panose="020B0502040204020203" pitchFamily="34" charset="0"/>
              <a:ea typeface="+mn-ea"/>
              <a:cs typeface="Segoe UI" panose="020B0502040204020203" pitchFamily="34" charset="0"/>
            </a:endParaRPr>
          </a:p>
          <a:p>
            <a:pPr lvl="0" defTabSz="914367">
              <a:lnSpc>
                <a:spcPct val="90000"/>
              </a:lnSpc>
              <a:spcAft>
                <a:spcPts val="2353"/>
              </a:spcAft>
              <a:defRPr/>
            </a:pPr>
            <a:r>
              <a:rPr lang="en-US" sz="2400">
                <a:gradFill>
                  <a:gsLst>
                    <a:gs pos="66272">
                      <a:srgbClr val="000000"/>
                    </a:gs>
                    <a:gs pos="45562">
                      <a:srgbClr val="000000"/>
                    </a:gs>
                  </a:gsLst>
                  <a:lin ang="5400000" scaled="0"/>
                </a:gradFill>
                <a:latin typeface="Segoe UI" panose="020B0502040204020203" pitchFamily="34" charset="0"/>
                <a:cs typeface="Segoe UI" panose="020B0502040204020203" pitchFamily="34" charset="0"/>
              </a:rPr>
              <a:t>Balance with flexibility &amp; ability to be productive</a:t>
            </a:r>
          </a:p>
        </p:txBody>
      </p:sp>
      <p:pic>
        <p:nvPicPr>
          <p:cNvPr id="5" name="Graphic 4" descr="Upward trend">
            <a:extLst>
              <a:ext uri="{FF2B5EF4-FFF2-40B4-BE49-F238E27FC236}">
                <a16:creationId xmlns:a16="http://schemas.microsoft.com/office/drawing/2014/main" id="{3760482C-60CC-418F-848D-2F574D7164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65926" y="1701701"/>
            <a:ext cx="579579" cy="579579"/>
          </a:xfrm>
          <a:prstGeom prst="rect">
            <a:avLst/>
          </a:prstGeom>
        </p:spPr>
      </p:pic>
      <p:pic>
        <p:nvPicPr>
          <p:cNvPr id="10" name="Graphic 9" descr="Building">
            <a:extLst>
              <a:ext uri="{FF2B5EF4-FFF2-40B4-BE49-F238E27FC236}">
                <a16:creationId xmlns:a16="http://schemas.microsoft.com/office/drawing/2014/main" id="{31E581DC-76BD-4024-93BB-2D808172D0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13743" y="2666653"/>
            <a:ext cx="683944" cy="683944"/>
          </a:xfrm>
          <a:prstGeom prst="rect">
            <a:avLst/>
          </a:prstGeom>
        </p:spPr>
      </p:pic>
      <p:pic>
        <p:nvPicPr>
          <p:cNvPr id="12" name="Graphic 11" descr="Podium">
            <a:extLst>
              <a:ext uri="{FF2B5EF4-FFF2-40B4-BE49-F238E27FC236}">
                <a16:creationId xmlns:a16="http://schemas.microsoft.com/office/drawing/2014/main" id="{193EA5D3-A0C8-45E6-BCF5-C47B943C84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08940" y="3579513"/>
            <a:ext cx="693550" cy="693550"/>
          </a:xfrm>
          <a:prstGeom prst="rect">
            <a:avLst/>
          </a:prstGeom>
        </p:spPr>
      </p:pic>
      <p:sp>
        <p:nvSpPr>
          <p:cNvPr id="23" name="Date Placeholder 22">
            <a:extLst>
              <a:ext uri="{FF2B5EF4-FFF2-40B4-BE49-F238E27FC236}">
                <a16:creationId xmlns:a16="http://schemas.microsoft.com/office/drawing/2014/main" id="{6A4CD4E5-0578-46FF-9DFD-FF3F489185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Title 2">
            <a:extLst>
              <a:ext uri="{FF2B5EF4-FFF2-40B4-BE49-F238E27FC236}">
                <a16:creationId xmlns:a16="http://schemas.microsoft.com/office/drawing/2014/main" id="{7104D2D1-2E69-465F-8920-AB4F3F5670AA}"/>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eveloping a culture </a:t>
            </a:r>
            <a:b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br>
            <a:r>
              <a:rPr kumimoji="0" lang="en-US" sz="60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f analytics</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57" name="Graphic 56" descr="Scales of Justice">
            <a:extLst>
              <a:ext uri="{FF2B5EF4-FFF2-40B4-BE49-F238E27FC236}">
                <a16:creationId xmlns:a16="http://schemas.microsoft.com/office/drawing/2014/main" id="{DB193E12-5C82-409F-81F9-0E59F7ED703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7274" y="4682090"/>
            <a:ext cx="764958" cy="764958"/>
          </a:xfrm>
          <a:prstGeom prst="rect">
            <a:avLst/>
          </a:prstGeom>
        </p:spPr>
      </p:pic>
    </p:spTree>
    <p:custDataLst>
      <p:tags r:id="rId1"/>
    </p:custDataLst>
    <p:extLst>
      <p:ext uri="{BB962C8B-B14F-4D97-AF65-F5344CB8AC3E}">
        <p14:creationId xmlns:p14="http://schemas.microsoft.com/office/powerpoint/2010/main" val="211501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a:xfrm>
            <a:off x="165099" y="2746202"/>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Success Factors</a:t>
            </a:r>
          </a:p>
        </p:txBody>
      </p:sp>
      <p:sp>
        <p:nvSpPr>
          <p:cNvPr id="8" name="Text Placeholder 3">
            <a:extLst>
              <a:ext uri="{FF2B5EF4-FFF2-40B4-BE49-F238E27FC236}">
                <a16:creationId xmlns:a16="http://schemas.microsoft.com/office/drawing/2014/main" id="{A1DF0229-118B-4604-85EB-E44E666354A8}"/>
              </a:ext>
            </a:extLst>
          </p:cNvPr>
          <p:cNvSpPr txBox="1">
            <a:spLocks/>
          </p:cNvSpPr>
          <p:nvPr/>
        </p:nvSpPr>
        <p:spPr>
          <a:xfrm>
            <a:off x="5663297" y="1636848"/>
            <a:ext cx="6281057" cy="391491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Lightweight Governance Model</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Co-defined governance decisions</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Governance as part of user’s regular workflow</a:t>
            </a:r>
          </a:p>
          <a:p>
            <a:pPr marL="457200" marR="0" lvl="0" indent="-4572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GB" sz="2400" b="0" i="0" u="none" strike="noStrike" kern="1200" cap="none" spc="0" normalizeH="0" baseline="0" noProof="0">
                <a:ln>
                  <a:noFill/>
                </a:ln>
                <a:solidFill>
                  <a:prstClr val="black"/>
                </a:solidFill>
                <a:effectLst/>
                <a:uLnTx/>
                <a:uFillTx/>
                <a:latin typeface="Segoe UI Light"/>
              </a:rPr>
              <a:t>Clear, transparent rules for governance requirements regarding data access, usage and sharing</a:t>
            </a:r>
          </a:p>
          <a:p>
            <a:pPr marL="457200" lvl="0" indent="-457200">
              <a:lnSpc>
                <a:spcPct val="100000"/>
              </a:lnSpc>
              <a:buFont typeface="Arial" panose="020B0604020202020204" pitchFamily="34" charset="0"/>
              <a:buChar char="•"/>
              <a:defRPr/>
            </a:pPr>
            <a:r>
              <a:rPr lang="en-US" sz="2400">
                <a:solidFill>
                  <a:prstClr val="black"/>
                </a:solidFill>
              </a:rPr>
              <a:t>Alignment with organizational data culture goals</a:t>
            </a:r>
          </a:p>
        </p:txBody>
      </p:sp>
    </p:spTree>
    <p:custDataLst>
      <p:tags r:id="rId1"/>
    </p:custDataLst>
    <p:extLst>
      <p:ext uri="{BB962C8B-B14F-4D97-AF65-F5344CB8AC3E}">
        <p14:creationId xmlns:p14="http://schemas.microsoft.com/office/powerpoint/2010/main" val="371140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66" y="1460"/>
            <a:ext cx="5243309" cy="6856055"/>
            <a:chOff x="-618" y="973"/>
            <a:chExt cx="2849058" cy="6857027"/>
          </a:xfrm>
          <a:solidFill>
            <a:srgbClr val="000000"/>
          </a:solidFill>
        </p:grpSpPr>
        <p:sp>
          <p:nvSpPr>
            <p:cNvPr id="5"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p:cNvGrpSpPr/>
            <p:nvPr/>
          </p:nvGrpSpPr>
          <p:grpSpPr>
            <a:xfrm>
              <a:off x="316244" y="3172634"/>
              <a:ext cx="255342" cy="224444"/>
              <a:chOff x="681704" y="2920137"/>
              <a:chExt cx="321649" cy="282726"/>
            </a:xfrm>
            <a:grpFill/>
          </p:grpSpPr>
          <p:sp>
            <p:nvSpPr>
              <p:cNvPr id="25"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379"/>
            <p:cNvGrpSpPr/>
            <p:nvPr/>
          </p:nvGrpSpPr>
          <p:grpSpPr>
            <a:xfrm>
              <a:off x="313305" y="4124026"/>
              <a:ext cx="276799" cy="192696"/>
              <a:chOff x="3543365" y="7242824"/>
              <a:chExt cx="1238250" cy="862020"/>
            </a:xfrm>
            <a:grpFill/>
          </p:grpSpPr>
          <p:sp>
            <p:nvSpPr>
              <p:cNvPr id="9"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8" name="Rectangle 27"/>
          <p:cNvSpPr/>
          <p:nvPr/>
        </p:nvSpPr>
        <p:spPr>
          <a:xfrm>
            <a:off x="6782749" y="778118"/>
            <a:ext cx="3806211" cy="4850906"/>
          </a:xfrm>
          <a:prstGeom prst="rect">
            <a:avLst/>
          </a:prstGeom>
        </p:spPr>
        <p:txBody>
          <a:bodyPr wrap="square" lIns="179285" tIns="143428" rIns="179285" bIns="143428">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ystem usage</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GB"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ecurity</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Report performance </a:t>
            </a: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2400" b="0" i="0" u="none" strike="noStrike" kern="1200" cap="none" spc="0" normalizeH="0" baseline="0" noProof="0">
                <a:ln>
                  <a:noFill/>
                </a:ln>
                <a:gradFill>
                  <a:gsLst>
                    <a:gs pos="66272">
                      <a:srgbClr val="000000"/>
                    </a:gs>
                    <a:gs pos="45562">
                      <a:srgbClr val="000000"/>
                    </a:gs>
                  </a:gsLst>
                  <a:lin ang="5400000" scaled="0"/>
                </a:gradFill>
                <a:effectLst/>
                <a:uLnTx/>
                <a:uFillTx/>
                <a:latin typeface="Segoe UI Semibold" panose="020B0702040204020203" pitchFamily="34" charset="0"/>
                <a:ea typeface="+mn-ea"/>
                <a:cs typeface="Segoe UI Semibold" panose="020B0702040204020203" pitchFamily="34" charset="0"/>
              </a:rPr>
              <a:t>Data source usage</a:t>
            </a:r>
          </a:p>
        </p:txBody>
      </p:sp>
      <p:grpSp>
        <p:nvGrpSpPr>
          <p:cNvPr id="2" name="Group 1"/>
          <p:cNvGrpSpPr/>
          <p:nvPr/>
        </p:nvGrpSpPr>
        <p:grpSpPr>
          <a:xfrm>
            <a:off x="6096000" y="903864"/>
            <a:ext cx="396798" cy="401778"/>
            <a:chOff x="5761038" y="1544180"/>
            <a:chExt cx="404755" cy="409834"/>
          </a:xfrm>
        </p:grpSpPr>
        <p:sp>
          <p:nvSpPr>
            <p:cNvPr id="29" name="Oval 28"/>
            <p:cNvSpPr/>
            <p:nvPr/>
          </p:nvSpPr>
          <p:spPr bwMode="auto">
            <a:xfrm>
              <a:off x="5761038" y="1544180"/>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Picture 30"/>
            <p:cNvPicPr>
              <a:picLocks noChangeAspect="1"/>
            </p:cNvPicPr>
            <p:nvPr/>
          </p:nvPicPr>
          <p:blipFill>
            <a:blip r:embed="rId4"/>
            <a:stretch>
              <a:fillRect/>
            </a:stretch>
          </p:blipFill>
          <p:spPr>
            <a:xfrm>
              <a:off x="5855349" y="1702679"/>
              <a:ext cx="207693" cy="101432"/>
            </a:xfrm>
            <a:prstGeom prst="rect">
              <a:avLst/>
            </a:prstGeom>
          </p:spPr>
        </p:pic>
      </p:grpSp>
      <p:grpSp>
        <p:nvGrpSpPr>
          <p:cNvPr id="3" name="Group 2"/>
          <p:cNvGrpSpPr/>
          <p:nvPr/>
        </p:nvGrpSpPr>
        <p:grpSpPr>
          <a:xfrm>
            <a:off x="6096000" y="2298293"/>
            <a:ext cx="396798" cy="401778"/>
            <a:chOff x="5761038" y="2832062"/>
            <a:chExt cx="404755" cy="409834"/>
          </a:xfrm>
        </p:grpSpPr>
        <p:sp>
          <p:nvSpPr>
            <p:cNvPr id="32" name="Oval 31"/>
            <p:cNvSpPr/>
            <p:nvPr/>
          </p:nvSpPr>
          <p:spPr bwMode="auto">
            <a:xfrm>
              <a:off x="5761038" y="2832062"/>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4"/>
            <a:stretch>
              <a:fillRect/>
            </a:stretch>
          </p:blipFill>
          <p:spPr>
            <a:xfrm>
              <a:off x="5855349" y="2990561"/>
              <a:ext cx="207693" cy="101432"/>
            </a:xfrm>
            <a:prstGeom prst="rect">
              <a:avLst/>
            </a:prstGeom>
          </p:spPr>
        </p:pic>
      </p:grpSp>
      <p:grpSp>
        <p:nvGrpSpPr>
          <p:cNvPr id="38" name="Group 37"/>
          <p:cNvGrpSpPr/>
          <p:nvPr/>
        </p:nvGrpSpPr>
        <p:grpSpPr>
          <a:xfrm>
            <a:off x="6096000" y="3690238"/>
            <a:ext cx="396798" cy="401778"/>
            <a:chOff x="5761038" y="3884261"/>
            <a:chExt cx="404755" cy="409834"/>
          </a:xfrm>
        </p:grpSpPr>
        <p:sp>
          <p:nvSpPr>
            <p:cNvPr id="34" name="Oval 33"/>
            <p:cNvSpPr/>
            <p:nvPr/>
          </p:nvSpPr>
          <p:spPr bwMode="auto">
            <a:xfrm>
              <a:off x="5761038" y="3884261"/>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 name="Picture 34"/>
            <p:cNvPicPr>
              <a:picLocks noChangeAspect="1"/>
            </p:cNvPicPr>
            <p:nvPr/>
          </p:nvPicPr>
          <p:blipFill>
            <a:blip r:embed="rId4"/>
            <a:stretch>
              <a:fillRect/>
            </a:stretch>
          </p:blipFill>
          <p:spPr>
            <a:xfrm>
              <a:off x="5855349" y="4042760"/>
              <a:ext cx="207693" cy="101432"/>
            </a:xfrm>
            <a:prstGeom prst="rect">
              <a:avLst/>
            </a:prstGeom>
          </p:spPr>
        </p:pic>
      </p:grpSp>
      <p:grpSp>
        <p:nvGrpSpPr>
          <p:cNvPr id="39" name="Group 38"/>
          <p:cNvGrpSpPr/>
          <p:nvPr/>
        </p:nvGrpSpPr>
        <p:grpSpPr>
          <a:xfrm>
            <a:off x="6096000" y="5078182"/>
            <a:ext cx="396798" cy="401778"/>
            <a:chOff x="5761038" y="4928840"/>
            <a:chExt cx="404755" cy="409834"/>
          </a:xfrm>
        </p:grpSpPr>
        <p:sp>
          <p:nvSpPr>
            <p:cNvPr id="36" name="Oval 35"/>
            <p:cNvSpPr/>
            <p:nvPr/>
          </p:nvSpPr>
          <p:spPr bwMode="auto">
            <a:xfrm>
              <a:off x="5761038" y="4928840"/>
              <a:ext cx="404755" cy="409834"/>
            </a:xfrm>
            <a:prstGeom prst="ellipse">
              <a:avLst/>
            </a:prstGeom>
            <a:solidFill>
              <a:srgbClr val="FFCE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p:cNvPicPr>
              <a:picLocks noChangeAspect="1"/>
            </p:cNvPicPr>
            <p:nvPr/>
          </p:nvPicPr>
          <p:blipFill>
            <a:blip r:embed="rId4"/>
            <a:stretch>
              <a:fillRect/>
            </a:stretch>
          </p:blipFill>
          <p:spPr>
            <a:xfrm>
              <a:off x="5855349" y="5087339"/>
              <a:ext cx="207693" cy="101432"/>
            </a:xfrm>
            <a:prstGeom prst="rect">
              <a:avLst/>
            </a:prstGeom>
          </p:spPr>
        </p:pic>
      </p:grpSp>
      <p:sp>
        <p:nvSpPr>
          <p:cNvPr id="40" name="Title 2">
            <a:extLst>
              <a:ext uri="{FF2B5EF4-FFF2-40B4-BE49-F238E27FC236}">
                <a16:creationId xmlns:a16="http://schemas.microsoft.com/office/drawing/2014/main" id="{9AD05913-9E5C-4029-9B84-15C3E4E75107}"/>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overnance Monitoring</a:t>
            </a:r>
          </a:p>
        </p:txBody>
      </p:sp>
    </p:spTree>
    <p:custDataLst>
      <p:tags r:id="rId1"/>
    </p:custDataLst>
    <p:extLst>
      <p:ext uri="{BB962C8B-B14F-4D97-AF65-F5344CB8AC3E}">
        <p14:creationId xmlns:p14="http://schemas.microsoft.com/office/powerpoint/2010/main" val="400198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Governance Considerations</a:t>
            </a:r>
          </a:p>
        </p:txBody>
      </p:sp>
      <p:sp>
        <p:nvSpPr>
          <p:cNvPr id="2" name="Rectangle 1">
            <a:extLst>
              <a:ext uri="{FF2B5EF4-FFF2-40B4-BE49-F238E27FC236}">
                <a16:creationId xmlns:a16="http://schemas.microsoft.com/office/drawing/2014/main" id="{AA689785-39BB-4D92-8576-2848C50E4927}"/>
              </a:ext>
            </a:extLst>
          </p:cNvPr>
          <p:cNvSpPr/>
          <p:nvPr/>
        </p:nvSpPr>
        <p:spPr>
          <a:xfrm>
            <a:off x="5856514" y="1372088"/>
            <a:ext cx="5866444" cy="4113823"/>
          </a:xfrm>
          <a:prstGeom prst="rect">
            <a:avLst/>
          </a:prstGeom>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Does BI start top down or bottom up?</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here does change start? Technology or peopl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Who should be allowed to see and use business intelligence data?</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Segoe UI"/>
                <a:ea typeface="+mn-ea"/>
                <a:cs typeface="+mn-cs"/>
              </a:rPr>
              <a:t>Fail quickly? What do you mean by that and how does it apply to business intelligence?</a:t>
            </a:r>
          </a:p>
        </p:txBody>
      </p:sp>
    </p:spTree>
    <p:custDataLst>
      <p:tags r:id="rId1"/>
    </p:custDataLst>
    <p:extLst>
      <p:ext uri="{BB962C8B-B14F-4D97-AF65-F5344CB8AC3E}">
        <p14:creationId xmlns:p14="http://schemas.microsoft.com/office/powerpoint/2010/main" val="1581174729"/>
      </p:ext>
    </p:extLst>
  </p:cSld>
  <p:clrMapOvr>
    <a:masterClrMapping/>
  </p:clrMapOvr>
  <mc:AlternateContent xmlns:mc="http://schemas.openxmlformats.org/markup-compatibility/2006" xmlns:p14="http://schemas.microsoft.com/office/powerpoint/2010/main">
    <mc:Choice Requires="p14">
      <p:transition spd="med" p14:dur="700" advTm="120965">
        <p:fade/>
      </p:transition>
    </mc:Choice>
    <mc:Fallback xmlns="">
      <p:transition spd="med" advTm="1209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99680" y="924672"/>
            <a:ext cx="527118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IT prepared and cleansed enterprise-wide master data</a:t>
            </a:r>
          </a:p>
        </p:txBody>
      </p:sp>
      <p:sp>
        <p:nvSpPr>
          <p:cNvPr id="10" name="Title 2">
            <a:extLst>
              <a:ext uri="{FF2B5EF4-FFF2-40B4-BE49-F238E27FC236}">
                <a16:creationId xmlns:a16="http://schemas.microsoft.com/office/drawing/2014/main" id="{4CE6419C-7230-4A0C-B6DF-E2D3BE664580}"/>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aster Data Management</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pic>
        <p:nvPicPr>
          <p:cNvPr id="2052" name="Picture 4" descr="Use dataflows in Power BI">
            <a:extLst>
              <a:ext uri="{FF2B5EF4-FFF2-40B4-BE49-F238E27FC236}">
                <a16:creationId xmlns:a16="http://schemas.microsoft.com/office/drawing/2014/main" id="{2D766147-2576-410A-ACC7-959F8400C7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9680" y="2093811"/>
            <a:ext cx="6227859" cy="3293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337938"/>
      </p:ext>
    </p:extLst>
  </p:cSld>
  <p:clrMapOvr>
    <a:masterClrMapping/>
  </p:clrMapOvr>
  <mc:AlternateContent xmlns:mc="http://schemas.openxmlformats.org/markup-compatibility/2006" xmlns:p14="http://schemas.microsoft.com/office/powerpoint/2010/main">
    <mc:Choice Requires="p14">
      <p:transition spd="med" p14:dur="700" advTm="42251">
        <p:fade/>
      </p:transition>
    </mc:Choice>
    <mc:Fallback xmlns="">
      <p:transition spd="med" advTm="42251">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a:t>Do you currently have a Master Data Management Process?</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process</a:t>
            </a:r>
          </a:p>
        </p:txBody>
      </p:sp>
    </p:spTree>
    <p:custDataLst>
      <p:tags r:id="rId2"/>
    </p:custDataLst>
    <p:extLst>
      <p:ext uri="{BB962C8B-B14F-4D97-AF65-F5344CB8AC3E}">
        <p14:creationId xmlns:p14="http://schemas.microsoft.com/office/powerpoint/2010/main" val="2873873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1447">
        <p:fade/>
      </p:transition>
    </mc:Choice>
    <mc:Fallback xmlns="">
      <p:transition spd="med" advTm="21447">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a:picLocks noChangeAspect="1"/>
          </p:cNvPicPr>
          <p:nvPr/>
        </p:nvPicPr>
        <p:blipFill>
          <a:blip r:embed="rId3"/>
          <a:stretch>
            <a:fillRect/>
          </a:stretch>
        </p:blipFill>
        <p:spPr>
          <a:xfrm>
            <a:off x="5589460" y="2128955"/>
            <a:ext cx="4156946" cy="3606026"/>
          </a:xfrm>
          <a:prstGeom prst="rect">
            <a:avLst/>
          </a:prstGeom>
          <a:solidFill>
            <a:schemeClr val="tx2"/>
          </a:solidFill>
        </p:spPr>
      </p:pic>
      <p:pic>
        <p:nvPicPr>
          <p:cNvPr id="38" name="Picture 37"/>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9150865" y="2012259"/>
            <a:ext cx="2918044" cy="3383690"/>
          </a:xfrm>
          <a:prstGeom prst="rect">
            <a:avLst/>
          </a:prstGeom>
          <a:solidFill>
            <a:schemeClr val="tx2"/>
          </a:solidFill>
        </p:spPr>
      </p:pic>
      <p:sp>
        <p:nvSpPr>
          <p:cNvPr id="4" name="Rectangle 3"/>
          <p:cNvSpPr/>
          <p:nvPr/>
        </p:nvSpPr>
        <p:spPr>
          <a:xfrm>
            <a:off x="5699680" y="924672"/>
            <a:ext cx="562371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One stop reference directory for all Enterprise Data Assets</a:t>
            </a:r>
          </a:p>
        </p:txBody>
      </p:sp>
      <p:sp>
        <p:nvSpPr>
          <p:cNvPr id="7" name="Title 2">
            <a:extLst>
              <a:ext uri="{FF2B5EF4-FFF2-40B4-BE49-F238E27FC236}">
                <a16:creationId xmlns:a16="http://schemas.microsoft.com/office/drawing/2014/main" id="{1FC89949-7FF2-405A-8721-EE66F9DC857B}"/>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terprise Data Catalog</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2901620989"/>
      </p:ext>
    </p:extLst>
  </p:cSld>
  <p:clrMapOvr>
    <a:masterClrMapping/>
  </p:clrMapOvr>
  <mc:AlternateContent xmlns:mc="http://schemas.openxmlformats.org/markup-compatibility/2006" xmlns:p14="http://schemas.microsoft.com/office/powerpoint/2010/main">
    <mc:Choice Requires="p14">
      <p:transition spd="med" p14:dur="700" advTm="63612">
        <p:fade/>
      </p:transition>
    </mc:Choice>
    <mc:Fallback xmlns="">
      <p:transition spd="med" advTm="63612">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8" name="Group 7">
            <a:extLst>
              <a:ext uri="{FF2B5EF4-FFF2-40B4-BE49-F238E27FC236}">
                <a16:creationId xmlns:a16="http://schemas.microsoft.com/office/drawing/2014/main" id="{F621E899-7F41-4A13-8270-BFF0E49A6787}"/>
              </a:ext>
            </a:extLst>
          </p:cNvPr>
          <p:cNvGrpSpPr>
            <a:grpSpLocks noChangeAspect="1"/>
          </p:cNvGrpSpPr>
          <p:nvPr/>
        </p:nvGrpSpPr>
        <p:grpSpPr>
          <a:xfrm>
            <a:off x="4381805" y="2147522"/>
            <a:ext cx="3178551" cy="2844101"/>
            <a:chOff x="4381805" y="2147522"/>
            <a:chExt cx="3178551" cy="2844101"/>
          </a:xfrm>
        </p:grpSpPr>
        <p:sp>
          <p:nvSpPr>
            <p:cNvPr id="19" name="Oval 18">
              <a:extLst>
                <a:ext uri="{FF2B5EF4-FFF2-40B4-BE49-F238E27FC236}">
                  <a16:creationId xmlns:a16="http://schemas.microsoft.com/office/drawing/2014/main" id="{3C25ECE9-B8BE-465D-9E9E-26A3BA29D346}"/>
                </a:ext>
              </a:extLst>
            </p:cNvPr>
            <p:cNvSpPr/>
            <p:nvPr/>
          </p:nvSpPr>
          <p:spPr>
            <a:xfrm>
              <a:off x="5001623" y="3010037"/>
              <a:ext cx="1938914" cy="1981586"/>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4" name="Rectangle 23" descr="Meeting">
              <a:extLst>
                <a:ext uri="{FF2B5EF4-FFF2-40B4-BE49-F238E27FC236}">
                  <a16:creationId xmlns:a16="http://schemas.microsoft.com/office/drawing/2014/main" id="{FF6DF7ED-F33E-4160-8A0D-5A3D92AD531E}"/>
                </a:ext>
              </a:extLst>
            </p:cNvPr>
            <p:cNvSpPr/>
            <p:nvPr/>
          </p:nvSpPr>
          <p:spPr>
            <a:xfrm>
              <a:off x="5399903" y="3432342"/>
              <a:ext cx="1112492" cy="1136975"/>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BFEF24C9-ADE4-4585-8271-4F1CFCC1F4D2}"/>
                </a:ext>
              </a:extLst>
            </p:cNvPr>
            <p:cNvSpPr/>
            <p:nvPr/>
          </p:nvSpPr>
          <p:spPr>
            <a:xfrm>
              <a:off x="4381805" y="2147522"/>
              <a:ext cx="3178551"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On-board</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39B08146-C7A1-46BC-8B26-27C7A954E040}"/>
              </a:ext>
            </a:extLst>
          </p:cNvPr>
          <p:cNvGrpSpPr>
            <a:grpSpLocks noChangeAspect="1"/>
          </p:cNvGrpSpPr>
          <p:nvPr/>
        </p:nvGrpSpPr>
        <p:grpSpPr>
          <a:xfrm>
            <a:off x="7960817" y="2141894"/>
            <a:ext cx="3178550" cy="2849729"/>
            <a:chOff x="7960817" y="2141894"/>
            <a:chExt cx="3178550" cy="2849729"/>
          </a:xfrm>
        </p:grpSpPr>
        <p:sp>
          <p:nvSpPr>
            <p:cNvPr id="26" name="Oval 25">
              <a:extLst>
                <a:ext uri="{FF2B5EF4-FFF2-40B4-BE49-F238E27FC236}">
                  <a16:creationId xmlns:a16="http://schemas.microsoft.com/office/drawing/2014/main" id="{8C4EB417-115E-4375-9B47-D23CAAC1F576}"/>
                </a:ext>
              </a:extLst>
            </p:cNvPr>
            <p:cNvSpPr/>
            <p:nvPr/>
          </p:nvSpPr>
          <p:spPr>
            <a:xfrm>
              <a:off x="8580635" y="3010038"/>
              <a:ext cx="1938914" cy="1981585"/>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7" name="Rectangle 26" descr="Head with Gears">
              <a:extLst>
                <a:ext uri="{FF2B5EF4-FFF2-40B4-BE49-F238E27FC236}">
                  <a16:creationId xmlns:a16="http://schemas.microsoft.com/office/drawing/2014/main" id="{CE78AF06-07D4-4A78-BE32-E96F5DA3724D}"/>
                </a:ext>
              </a:extLst>
            </p:cNvPr>
            <p:cNvSpPr/>
            <p:nvPr/>
          </p:nvSpPr>
          <p:spPr>
            <a:xfrm>
              <a:off x="8993847" y="3432343"/>
              <a:ext cx="1112492" cy="1136975"/>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28" name="Freeform: Shape 27">
              <a:extLst>
                <a:ext uri="{FF2B5EF4-FFF2-40B4-BE49-F238E27FC236}">
                  <a16:creationId xmlns:a16="http://schemas.microsoft.com/office/drawing/2014/main" id="{E3024D33-7422-40E4-B98F-A82C397B4517}"/>
                </a:ext>
              </a:extLst>
            </p:cNvPr>
            <p:cNvSpPr/>
            <p:nvPr/>
          </p:nvSpPr>
          <p:spPr>
            <a:xfrm>
              <a:off x="7960817" y="2141894"/>
              <a:ext cx="3178550"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Drive value</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grpSp>
      <p:sp>
        <p:nvSpPr>
          <p:cNvPr id="21" name="Freeform: Shape 20">
            <a:extLst>
              <a:ext uri="{FF2B5EF4-FFF2-40B4-BE49-F238E27FC236}">
                <a16:creationId xmlns:a16="http://schemas.microsoft.com/office/drawing/2014/main" id="{30F6D522-72CA-42C1-83C5-F81F934FA548}"/>
              </a:ext>
            </a:extLst>
          </p:cNvPr>
          <p:cNvSpPr/>
          <p:nvPr/>
        </p:nvSpPr>
        <p:spPr>
          <a:xfrm>
            <a:off x="802792" y="2147521"/>
            <a:ext cx="3178552"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sp>
        <p:nvSpPr>
          <p:cNvPr id="23" name="Oval 22">
            <a:extLst>
              <a:ext uri="{FF2B5EF4-FFF2-40B4-BE49-F238E27FC236}">
                <a16:creationId xmlns:a16="http://schemas.microsoft.com/office/drawing/2014/main" id="{4CCBF6AA-7F9E-4C23-A2D3-02559FDBE7CE}"/>
              </a:ext>
            </a:extLst>
          </p:cNvPr>
          <p:cNvSpPr/>
          <p:nvPr/>
        </p:nvSpPr>
        <p:spPr>
          <a:xfrm>
            <a:off x="1422610" y="3010036"/>
            <a:ext cx="1938915" cy="1981587"/>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0" name="Rectangle 19" descr="Lightbulb">
            <a:extLst>
              <a:ext uri="{FF2B5EF4-FFF2-40B4-BE49-F238E27FC236}">
                <a16:creationId xmlns:a16="http://schemas.microsoft.com/office/drawing/2014/main" id="{C8728FB1-FA31-497A-9D11-EA3F56EDDBE8}"/>
              </a:ext>
            </a:extLst>
          </p:cNvPr>
          <p:cNvSpPr/>
          <p:nvPr/>
        </p:nvSpPr>
        <p:spPr>
          <a:xfrm>
            <a:off x="1820910" y="3432342"/>
            <a:ext cx="1112493" cy="1136976"/>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2931037438"/>
      </p:ext>
    </p:extLst>
  </p:cSld>
  <p:clrMapOvr>
    <a:masterClrMapping/>
  </p:clrMapOvr>
  <mc:AlternateContent xmlns:mc="http://schemas.openxmlformats.org/markup-compatibility/2006" xmlns:p14="http://schemas.microsoft.com/office/powerpoint/2010/main">
    <mc:Choice Requires="p14">
      <p:transition spd="med" p14:dur="700" advTm="21360">
        <p:fade/>
      </p:transition>
    </mc:Choice>
    <mc:Fallback xmlns="">
      <p:transition spd="med" advTm="21360">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currently have an Enterprise Data Catalog?</a:t>
            </a:r>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implementation</a:t>
            </a:r>
          </a:p>
        </p:txBody>
      </p:sp>
    </p:spTree>
    <p:custDataLst>
      <p:tags r:id="rId2"/>
    </p:custDataLst>
    <p:extLst>
      <p:ext uri="{BB962C8B-B14F-4D97-AF65-F5344CB8AC3E}">
        <p14:creationId xmlns:p14="http://schemas.microsoft.com/office/powerpoint/2010/main" val="493799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8997">
        <p:fade/>
      </p:transition>
    </mc:Choice>
    <mc:Fallback xmlns="">
      <p:transition spd="med" advTm="28997">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5575300" y="1889043"/>
          <a:ext cx="6478956" cy="3152394"/>
        </p:xfrm>
        <a:graphic>
          <a:graphicData uri="http://schemas.openxmlformats.org/drawingml/2006/table">
            <a:tbl>
              <a:tblPr firstRow="1" bandRow="1">
                <a:tableStyleId>{073A0DAA-6AF3-43AB-8588-CEC1D06C72B9}</a:tableStyleId>
              </a:tblPr>
              <a:tblGrid>
                <a:gridCol w="1619739">
                  <a:extLst>
                    <a:ext uri="{9D8B030D-6E8A-4147-A177-3AD203B41FA5}">
                      <a16:colId xmlns:a16="http://schemas.microsoft.com/office/drawing/2014/main" val="4009974330"/>
                    </a:ext>
                  </a:extLst>
                </a:gridCol>
                <a:gridCol w="1619739">
                  <a:extLst>
                    <a:ext uri="{9D8B030D-6E8A-4147-A177-3AD203B41FA5}">
                      <a16:colId xmlns:a16="http://schemas.microsoft.com/office/drawing/2014/main" val="2979534592"/>
                    </a:ext>
                  </a:extLst>
                </a:gridCol>
                <a:gridCol w="1619739">
                  <a:extLst>
                    <a:ext uri="{9D8B030D-6E8A-4147-A177-3AD203B41FA5}">
                      <a16:colId xmlns:a16="http://schemas.microsoft.com/office/drawing/2014/main" val="1543066847"/>
                    </a:ext>
                  </a:extLst>
                </a:gridCol>
                <a:gridCol w="1619739">
                  <a:extLst>
                    <a:ext uri="{9D8B030D-6E8A-4147-A177-3AD203B41FA5}">
                      <a16:colId xmlns:a16="http://schemas.microsoft.com/office/drawing/2014/main" val="3260035271"/>
                    </a:ext>
                  </a:extLst>
                </a:gridCol>
              </a:tblGrid>
              <a:tr h="332073">
                <a:tc>
                  <a:txBody>
                    <a:bodyPr/>
                    <a:lstStyle/>
                    <a:p>
                      <a:r>
                        <a:rPr lang="en-GB"/>
                        <a:t>Field Name</a:t>
                      </a:r>
                    </a:p>
                  </a:txBody>
                  <a:tcPr/>
                </a:tc>
                <a:tc>
                  <a:txBody>
                    <a:bodyPr/>
                    <a:lstStyle/>
                    <a:p>
                      <a:r>
                        <a:rPr lang="en-GB"/>
                        <a:t>Source</a:t>
                      </a:r>
                    </a:p>
                  </a:txBody>
                  <a:tcPr/>
                </a:tc>
                <a:tc>
                  <a:txBody>
                    <a:bodyPr/>
                    <a:lstStyle/>
                    <a:p>
                      <a:r>
                        <a:rPr lang="en-GB"/>
                        <a:t>Calculation</a:t>
                      </a:r>
                    </a:p>
                  </a:txBody>
                  <a:tcPr/>
                </a:tc>
                <a:tc>
                  <a:txBody>
                    <a:bodyPr/>
                    <a:lstStyle/>
                    <a:p>
                      <a:r>
                        <a:rPr lang="en-GB"/>
                        <a:t>Description</a:t>
                      </a:r>
                    </a:p>
                  </a:txBody>
                  <a:tcPr/>
                </a:tc>
                <a:extLst>
                  <a:ext uri="{0D108BD9-81ED-4DB2-BD59-A6C34878D82A}">
                    <a16:rowId xmlns:a16="http://schemas.microsoft.com/office/drawing/2014/main" val="146690863"/>
                  </a:ext>
                </a:extLst>
              </a:tr>
              <a:tr h="332073">
                <a:tc>
                  <a:txBody>
                    <a:bodyPr/>
                    <a:lstStyle/>
                    <a:p>
                      <a:r>
                        <a:rPr lang="en-GB"/>
                        <a:t>Gross Profit</a:t>
                      </a:r>
                    </a:p>
                  </a:txBody>
                  <a:tcPr/>
                </a:tc>
                <a:tc>
                  <a:txBody>
                    <a:bodyPr/>
                    <a:lstStyle/>
                    <a:p>
                      <a:r>
                        <a:rPr lang="en-GB"/>
                        <a:t>dbname.servername</a:t>
                      </a:r>
                    </a:p>
                  </a:txBody>
                  <a:tcPr/>
                </a:tc>
                <a:tc>
                  <a:txBody>
                    <a:bodyPr/>
                    <a:lstStyle/>
                    <a:p>
                      <a:r>
                        <a:rPr lang="en-GB"/>
                        <a:t>……..</a:t>
                      </a:r>
                    </a:p>
                  </a:txBody>
                  <a:tcPr/>
                </a:tc>
                <a:tc>
                  <a:txBody>
                    <a:bodyPr/>
                    <a:lstStyle/>
                    <a:p>
                      <a:r>
                        <a:rPr lang="en-GB"/>
                        <a:t>……..</a:t>
                      </a:r>
                    </a:p>
                  </a:txBody>
                  <a:tcPr/>
                </a:tc>
                <a:extLst>
                  <a:ext uri="{0D108BD9-81ED-4DB2-BD59-A6C34878D82A}">
                    <a16:rowId xmlns:a16="http://schemas.microsoft.com/office/drawing/2014/main" val="2569696125"/>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628434221"/>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992394429"/>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811520956"/>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161000498"/>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3721915741"/>
                  </a:ext>
                </a:extLst>
              </a:tr>
              <a:tr h="332073">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735164415"/>
                  </a:ext>
                </a:extLst>
              </a:tr>
            </a:tbl>
          </a:graphicData>
        </a:graphic>
      </p:graphicFrame>
      <p:sp>
        <p:nvSpPr>
          <p:cNvPr id="6" name="Title 2">
            <a:extLst>
              <a:ext uri="{FF2B5EF4-FFF2-40B4-BE49-F238E27FC236}">
                <a16:creationId xmlns:a16="http://schemas.microsoft.com/office/drawing/2014/main" id="{247F3D18-92EA-4168-9270-6B7E02EA215B}"/>
              </a:ext>
            </a:extLst>
          </p:cNvPr>
          <p:cNvSpPr txBox="1">
            <a:spLocks/>
          </p:cNvSpPr>
          <p:nvPr/>
        </p:nvSpPr>
        <p:spPr>
          <a:xfrm>
            <a:off x="185007" y="2093811"/>
            <a:ext cx="5047057" cy="2491262"/>
          </a:xfrm>
          <a:prstGeom prst="rect">
            <a:avLst/>
          </a:prstGeom>
        </p:spPr>
        <p:txBody>
          <a:bodyPr vert="horz" wrap="square" lIns="146304" tIns="91440" rIns="146304" bIns="91440" rtlCol="0" anchor="ctr">
            <a:noAutofit/>
          </a:bodyPr>
          <a:lstStyle>
            <a:lvl1pPr defTabSz="914367">
              <a:lnSpc>
                <a:spcPct val="90000"/>
              </a:lnSpc>
              <a:spcBef>
                <a:spcPct val="0"/>
              </a:spcBef>
              <a:buNone/>
              <a:defRPr lang="en-US" sz="5500" b="0" cap="none" spc="-100" baseline="0" dirty="0">
                <a:ln w="3175">
                  <a:noFill/>
                </a:ln>
                <a:solidFill>
                  <a:srgbClr val="EDC30D"/>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nterprise Data Dictionary</a:t>
            </a:r>
            <a:endParaRPr kumimoji="0" lang="en-US" sz="5500" b="0" i="0" u="none" strike="noStrike" kern="1200" cap="none" spc="-100" normalizeH="0" baseline="0" noProof="0">
              <a:ln w="3175">
                <a:noFill/>
              </a:ln>
              <a:solidFill>
                <a:srgbClr val="EDC30D"/>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2815429161"/>
      </p:ext>
    </p:extLst>
  </p:cSld>
  <p:clrMapOvr>
    <a:masterClrMapping/>
  </p:clrMapOvr>
  <mc:AlternateContent xmlns:mc="http://schemas.openxmlformats.org/markup-compatibility/2006" xmlns:p14="http://schemas.microsoft.com/office/powerpoint/2010/main">
    <mc:Choice Requires="p14">
      <p:transition spd="med" p14:dur="700" advTm="61697">
        <p:fade/>
      </p:transition>
    </mc:Choice>
    <mc:Fallback xmlns="">
      <p:transition spd="med" advTm="61697">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US"/>
              <a:t>Do you currently have an Enterprise Data Dictionary?</a:t>
            </a:r>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3"/>
            <a:ext cx="11587037" cy="3480144"/>
          </a:xfrm>
        </p:spPr>
        <p:txBody>
          <a:bodyPr>
            <a:normAutofit/>
          </a:bodyPr>
          <a:lstStyle/>
          <a:p>
            <a:r>
              <a:rPr lang="en-GB"/>
              <a:t>Actions</a:t>
            </a:r>
          </a:p>
          <a:p>
            <a:pPr lvl="2"/>
            <a:r>
              <a:rPr lang="en-US">
                <a:solidFill>
                  <a:srgbClr val="EDC30D"/>
                </a:solidFill>
              </a:rPr>
              <a:t>Document current implementation</a:t>
            </a:r>
          </a:p>
        </p:txBody>
      </p:sp>
    </p:spTree>
    <p:custDataLst>
      <p:tags r:id="rId2"/>
    </p:custDataLst>
    <p:extLst>
      <p:ext uri="{BB962C8B-B14F-4D97-AF65-F5344CB8AC3E}">
        <p14:creationId xmlns:p14="http://schemas.microsoft.com/office/powerpoint/2010/main" val="2876390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Tm="26478">
        <p:fade/>
      </p:transition>
    </mc:Choice>
    <mc:Fallback xmlns="">
      <p:transition spd="med" advTm="26478">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a:xfrm>
            <a:off x="302482" y="1076950"/>
            <a:ext cx="10408581" cy="1655108"/>
          </a:xfrm>
        </p:spPr>
        <p:txBody>
          <a:bodyPr/>
          <a:lstStyle/>
          <a:p>
            <a:r>
              <a:rPr lang="de-DE"/>
              <a:t>Key </a:t>
            </a:r>
            <a:r>
              <a:rPr lang="de-DE" err="1"/>
              <a:t>Roles</a:t>
            </a:r>
            <a:r>
              <a:rPr lang="de-DE"/>
              <a:t> &amp; </a:t>
            </a:r>
            <a:r>
              <a:rPr lang="de-DE" err="1"/>
              <a:t>Responsibilities</a:t>
            </a:r>
            <a:endParaRPr lang="en-US"/>
          </a:p>
        </p:txBody>
      </p:sp>
      <p:sp>
        <p:nvSpPr>
          <p:cNvPr id="4" name="Text Placeholder 1">
            <a:extLst>
              <a:ext uri="{FF2B5EF4-FFF2-40B4-BE49-F238E27FC236}">
                <a16:creationId xmlns:a16="http://schemas.microsoft.com/office/drawing/2014/main" id="{1BD0DC51-4219-46E5-9245-5EED71183F11}"/>
              </a:ext>
            </a:extLst>
          </p:cNvPr>
          <p:cNvSpPr>
            <a:spLocks noGrp="1"/>
          </p:cNvSpPr>
          <p:nvPr>
            <p:ph type="body" sz="quarter" idx="10"/>
          </p:nvPr>
        </p:nvSpPr>
        <p:spPr>
          <a:xfrm>
            <a:off x="302482" y="3178512"/>
            <a:ext cx="9909342" cy="3679487"/>
          </a:xfrm>
        </p:spPr>
        <p:txBody>
          <a:bodyPr>
            <a:normAutofit fontScale="85000" lnSpcReduction="20000"/>
          </a:bodyPr>
          <a:lstStyle/>
          <a:p>
            <a:r>
              <a:rPr kumimoji="0" lang="en-GB" sz="3200" b="0" i="0" u="none" strike="noStrike" kern="1200" cap="none" spc="-100" normalizeH="0" baseline="0" noProof="0">
                <a:ln w="3175">
                  <a:noFill/>
                </a:ln>
                <a:solidFill>
                  <a:srgbClr val="EDC30D"/>
                </a:solidFill>
                <a:effectLst/>
                <a:uLnTx/>
                <a:uFillTx/>
                <a:latin typeface="Segoe UI Light"/>
                <a:ea typeface="+mn-ea"/>
                <a:cs typeface="Segoe UI" pitchFamily="34" charset="0"/>
              </a:rPr>
              <a:t>Chief Data/Analytics Officer</a:t>
            </a:r>
          </a:p>
          <a:p>
            <a:r>
              <a:rPr lang="en-US"/>
              <a:t>Executive Sponsor</a:t>
            </a:r>
          </a:p>
          <a:p>
            <a:r>
              <a:rPr lang="en-US"/>
              <a:t>Data Governance Team</a:t>
            </a:r>
          </a:p>
          <a:p>
            <a:r>
              <a:rPr lang="en-US"/>
              <a:t>Data Architect</a:t>
            </a:r>
          </a:p>
          <a:p>
            <a:r>
              <a:rPr lang="en-US"/>
              <a:t>Data Steward</a:t>
            </a:r>
          </a:p>
          <a:p>
            <a:r>
              <a:rPr lang="en-US"/>
              <a:t>BI Developer</a:t>
            </a:r>
          </a:p>
          <a:p>
            <a:r>
              <a:rPr lang="en-US"/>
              <a:t>Power BI Champion</a:t>
            </a:r>
          </a:p>
          <a:p>
            <a:r>
              <a:rPr lang="en-US"/>
              <a:t>Power BI Administrator</a:t>
            </a:r>
          </a:p>
          <a:p>
            <a:r>
              <a:rPr kumimoji="0" lang="en-GB" sz="3200" b="0" i="0" u="none" strike="noStrike" kern="1200" cap="none" spc="-100" normalizeH="0" baseline="0" noProof="0">
                <a:ln w="3175">
                  <a:noFill/>
                </a:ln>
                <a:solidFill>
                  <a:srgbClr val="EDC30D"/>
                </a:solidFill>
                <a:effectLst/>
                <a:uLnTx/>
                <a:uFillTx/>
                <a:latin typeface="Segoe UI Light"/>
                <a:ea typeface="+mn-ea"/>
                <a:cs typeface="Segoe UI" pitchFamily="34" charset="0"/>
              </a:rPr>
              <a:t>Data/Information Security Manager</a:t>
            </a:r>
          </a:p>
        </p:txBody>
      </p:sp>
    </p:spTree>
    <p:custDataLst>
      <p:tags r:id="rId1"/>
    </p:custDataLst>
    <p:extLst>
      <p:ext uri="{BB962C8B-B14F-4D97-AF65-F5344CB8AC3E}">
        <p14:creationId xmlns:p14="http://schemas.microsoft.com/office/powerpoint/2010/main" val="301324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am responsible for the strategic direction of the organisation and am keen to enable self-service BI in order to empower each and every individual”</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Executive Sponso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motes adoption and the successful use of Power BI. </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rioritisation of business areas, ensures alignment with business objectives, principles and policies</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roject approval and sign-off</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bility to influence organisational strategy around the use of BI tools</a:t>
              </a:r>
            </a:p>
          </p:txBody>
        </p:sp>
      </p:grpSp>
      <p:pic>
        <p:nvPicPr>
          <p:cNvPr id="2" name="Picture 13">
            <a:extLst>
              <a:ext uri="{FF2B5EF4-FFF2-40B4-BE49-F238E27FC236}">
                <a16:creationId xmlns:a16="http://schemas.microsoft.com/office/drawing/2014/main" id="{546AFE57-09B1-4F81-A9BA-3CD43AD9F522}"/>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19449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am responsible for the strategic direction of the organisation and am keen to enable self-service BI in order to empower each and every individual”</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Chief Data/Analytics Offic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Defines the strategy for use of data as an enterprise asset.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Oversees enterprise-wide governance guidelines and policies.</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bility to influence and lead organisational strategy around the use of BI tools</a:t>
              </a:r>
            </a:p>
          </p:txBody>
        </p:sp>
      </p:grpSp>
      <p:pic>
        <p:nvPicPr>
          <p:cNvPr id="2" name="Picture 13">
            <a:extLst>
              <a:ext uri="{FF2B5EF4-FFF2-40B4-BE49-F238E27FC236}">
                <a16:creationId xmlns:a16="http://schemas.microsoft.com/office/drawing/2014/main" id="{80DFA080-C51D-42DA-BC6B-AC0248D856F5}"/>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69773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We oversee the organization-wide governance and continually work on optimizing it.“</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Governance Team</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Creates governance policies, standards, and processes.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vides enterprise-wide oversight and optimization of data integrity, trustworthiness, privacy, and usability.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Collaborates with the COE to provide governance education, support, and mentoring to data owners and content creators.</a:t>
              </a: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Understand governance and sees opportunities of optimization</a:t>
              </a:r>
            </a:p>
          </p:txBody>
        </p:sp>
      </p:grpSp>
      <p:pic>
        <p:nvPicPr>
          <p:cNvPr id="2" name="Picture 13">
            <a:extLst>
              <a:ext uri="{FF2B5EF4-FFF2-40B4-BE49-F238E27FC236}">
                <a16:creationId xmlns:a16="http://schemas.microsoft.com/office/drawing/2014/main" id="{8ACEC48E-08BB-4B04-A15F-5EF971629826}"/>
              </a:ext>
            </a:extLst>
          </p:cNvPr>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364831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We help the community to effectively use Power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err="1">
                <a:ln w="3175">
                  <a:noFill/>
                </a:ln>
                <a:solidFill>
                  <a:srgbClr val="EDC30D"/>
                </a:solidFill>
                <a:effectLst/>
                <a:uLnTx/>
                <a:uFillTx/>
                <a:latin typeface="Segoe UI Light"/>
                <a:ea typeface="+mn-ea"/>
                <a:cs typeface="Segoe UI" pitchFamily="34" charset="0"/>
              </a:rPr>
              <a:t>Center</a:t>
            </a: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 of Excellence (COE)</a:t>
            </a:r>
          </a:p>
        </p:txBody>
      </p:sp>
      <p:grpSp>
        <p:nvGrpSpPr>
          <p:cNvPr id="36" name="Group 35"/>
          <p:cNvGrpSpPr/>
          <p:nvPr/>
        </p:nvGrpSpPr>
        <p:grpSpPr>
          <a:xfrm>
            <a:off x="408875"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Mentors the community of creators and consumers to promote the effective use of Power BI for decision-making. </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US"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US" sz="1800" b="0" i="0" u="none" strike="noStrike" kern="1200" cap="none" spc="0" normalizeH="0" baseline="0" noProof="0">
                  <a:ln w="3175">
                    <a:noFill/>
                  </a:ln>
                  <a:solidFill>
                    <a:prstClr val="black"/>
                  </a:solidFill>
                  <a:effectLst/>
                  <a:uLnTx/>
                  <a:uFillTx/>
                  <a:latin typeface="Segoe UI Light"/>
                  <a:ea typeface="+mn-ea"/>
                  <a:cs typeface="+mn-cs"/>
                </a:rPr>
                <a:t>Provides cross-departmental coordination of Power BI activities to improve practices, increase consistency, and reduce inefficiencies. </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Understand analytics vision of organization, have desire to continually improve practices and effective usage/adoption of PBI in organiz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6386"/>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246076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design a technical architecture based on the business requirement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Architect</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tching business requirements with technical capabilitie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eveloping an architecture that meets the security and governance standards of the organisation</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on premises and cloud data technologies</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117458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create and maintain business metadata and rules, assess and enhance data quality, and share and collaborate across business and technical stakeholder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 Steward</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reate and maintain business Metadata</a:t>
              </a:r>
            </a:p>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Enhance/ensure data quality</a:t>
              </a:r>
            </a:p>
            <a:p>
              <a:pPr marL="0" marR="0" lvl="0" indent="0" algn="l" defTabSz="914367" rtl="0" eaLnBrk="1" fontAlgn="base" latinLnBrk="0" hangingPunct="1">
                <a:lnSpc>
                  <a:spcPct val="9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intain the Data Catalogue, and the Data Dictionary</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modelling, mashups and provisioning</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199" y="296386"/>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67142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a:bodyPr>
          <a:lstStyle/>
          <a:p>
            <a:pPr defTabSz="914400">
              <a:lnSpc>
                <a:spcPct val="90000"/>
              </a:lnSpc>
            </a:pPr>
            <a:r>
              <a:rPr lang="en-US" sz="4900"/>
              <a:t>Power</a:t>
            </a:r>
            <a:r>
              <a:rPr lang="en-US" sz="4400" kern="1200">
                <a:solidFill>
                  <a:schemeClr val="tx1"/>
                </a:solidFill>
                <a:latin typeface="+mj-lt"/>
                <a:ea typeface="+mj-ea"/>
                <a:cs typeface="+mj-cs"/>
              </a:rPr>
              <a:t> </a:t>
            </a:r>
            <a:r>
              <a:rPr lang="en-US" sz="4900"/>
              <a:t>BI Adoption Methodology</a:t>
            </a:r>
          </a:p>
        </p:txBody>
      </p:sp>
      <p:grpSp>
        <p:nvGrpSpPr>
          <p:cNvPr id="2" name="Group 1">
            <a:extLst>
              <a:ext uri="{FF2B5EF4-FFF2-40B4-BE49-F238E27FC236}">
                <a16:creationId xmlns:a16="http://schemas.microsoft.com/office/drawing/2014/main" id="{E641963F-66FF-46A6-AF16-9AA0F588A8D1}"/>
              </a:ext>
            </a:extLst>
          </p:cNvPr>
          <p:cNvGrpSpPr>
            <a:grpSpLocks noChangeAspect="1"/>
          </p:cNvGrpSpPr>
          <p:nvPr/>
        </p:nvGrpSpPr>
        <p:grpSpPr>
          <a:xfrm>
            <a:off x="802792" y="2147521"/>
            <a:ext cx="3178552" cy="2844102"/>
            <a:chOff x="802792" y="2147521"/>
            <a:chExt cx="3178552" cy="2844102"/>
          </a:xfrm>
        </p:grpSpPr>
        <p:sp>
          <p:nvSpPr>
            <p:cNvPr id="21" name="Freeform: Shape 20">
              <a:extLst>
                <a:ext uri="{FF2B5EF4-FFF2-40B4-BE49-F238E27FC236}">
                  <a16:creationId xmlns:a16="http://schemas.microsoft.com/office/drawing/2014/main" id="{30F6D522-72CA-42C1-83C5-F81F934FA548}"/>
                </a:ext>
              </a:extLst>
            </p:cNvPr>
            <p:cNvSpPr/>
            <p:nvPr/>
          </p:nvSpPr>
          <p:spPr>
            <a:xfrm>
              <a:off x="802792" y="2147521"/>
              <a:ext cx="3178552" cy="756015"/>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cap="all"/>
              </a:pPr>
              <a:r>
                <a:rPr kumimoji="0" lang="en-GB"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rPr>
                <a:t>Envision</a:t>
              </a:r>
              <a:endParaRPr kumimoji="0" lang="en-US" sz="3200" b="0" i="0" u="none" strike="noStrike" kern="1200" cap="all" spc="0" normalizeH="0" baseline="0" noProof="0">
                <a:ln>
                  <a:noFill/>
                </a:ln>
                <a:solidFill>
                  <a:prstClr val="black">
                    <a:hueOff val="0"/>
                    <a:satOff val="0"/>
                    <a:lumOff val="0"/>
                    <a:alphaOff val="0"/>
                  </a:prstClr>
                </a:solidFill>
                <a:effectLst/>
                <a:uLnTx/>
                <a:uFillTx/>
                <a:latin typeface="Segoe UI"/>
                <a:ea typeface="+mn-ea"/>
                <a:cs typeface="+mn-cs"/>
              </a:endParaRPr>
            </a:p>
          </p:txBody>
        </p:sp>
        <p:sp>
          <p:nvSpPr>
            <p:cNvPr id="23" name="Oval 22">
              <a:extLst>
                <a:ext uri="{FF2B5EF4-FFF2-40B4-BE49-F238E27FC236}">
                  <a16:creationId xmlns:a16="http://schemas.microsoft.com/office/drawing/2014/main" id="{4CCBF6AA-7F9E-4C23-A2D3-02559FDBE7CE}"/>
                </a:ext>
              </a:extLst>
            </p:cNvPr>
            <p:cNvSpPr/>
            <p:nvPr/>
          </p:nvSpPr>
          <p:spPr>
            <a:xfrm>
              <a:off x="1422610" y="3010036"/>
              <a:ext cx="1938915" cy="1981587"/>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20" name="Rectangle 19" descr="Lightbulb">
              <a:extLst>
                <a:ext uri="{FF2B5EF4-FFF2-40B4-BE49-F238E27FC236}">
                  <a16:creationId xmlns:a16="http://schemas.microsoft.com/office/drawing/2014/main" id="{C8728FB1-FA31-497A-9D11-EA3F56EDDBE8}"/>
                </a:ext>
              </a:extLst>
            </p:cNvPr>
            <p:cNvSpPr/>
            <p:nvPr/>
          </p:nvSpPr>
          <p:spPr>
            <a:xfrm>
              <a:off x="1820910" y="3432342"/>
              <a:ext cx="1112493" cy="1136976"/>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pSp>
        <p:nvGrpSpPr>
          <p:cNvPr id="17" name="Group 16">
            <a:extLst>
              <a:ext uri="{FF2B5EF4-FFF2-40B4-BE49-F238E27FC236}">
                <a16:creationId xmlns:a16="http://schemas.microsoft.com/office/drawing/2014/main" id="{A5F3546F-BD90-47E9-9198-4F6EDEE63505}"/>
              </a:ext>
            </a:extLst>
          </p:cNvPr>
          <p:cNvGrpSpPr/>
          <p:nvPr/>
        </p:nvGrpSpPr>
        <p:grpSpPr>
          <a:xfrm>
            <a:off x="6213840" y="1253813"/>
            <a:ext cx="2835584" cy="1366418"/>
            <a:chOff x="6213840" y="1253813"/>
            <a:chExt cx="2835584" cy="1366418"/>
          </a:xfrm>
        </p:grpSpPr>
        <p:pic>
          <p:nvPicPr>
            <p:cNvPr id="6" name="Graphic 5" descr="User">
              <a:extLst>
                <a:ext uri="{FF2B5EF4-FFF2-40B4-BE49-F238E27FC236}">
                  <a16:creationId xmlns:a16="http://schemas.microsoft.com/office/drawing/2014/main" id="{BF322857-47C6-4D7A-997E-4A50865F50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4432" y="1253813"/>
              <a:ext cx="914400" cy="914400"/>
            </a:xfrm>
            <a:prstGeom prst="rect">
              <a:avLst/>
            </a:prstGeom>
          </p:spPr>
        </p:pic>
        <p:sp>
          <p:nvSpPr>
            <p:cNvPr id="7" name="TextBox 6">
              <a:extLst>
                <a:ext uri="{FF2B5EF4-FFF2-40B4-BE49-F238E27FC236}">
                  <a16:creationId xmlns:a16="http://schemas.microsoft.com/office/drawing/2014/main" id="{587D5FA2-71B0-4E0D-89C6-CFF15F4F08C9}"/>
                </a:ext>
              </a:extLst>
            </p:cNvPr>
            <p:cNvSpPr txBox="1"/>
            <p:nvPr/>
          </p:nvSpPr>
          <p:spPr>
            <a:xfrm>
              <a:off x="6213840" y="2047767"/>
              <a:ext cx="283558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Educate Exec Sponsor</a:t>
              </a:r>
            </a:p>
          </p:txBody>
        </p:sp>
      </p:grpSp>
      <p:grpSp>
        <p:nvGrpSpPr>
          <p:cNvPr id="33" name="Group 32">
            <a:extLst>
              <a:ext uri="{FF2B5EF4-FFF2-40B4-BE49-F238E27FC236}">
                <a16:creationId xmlns:a16="http://schemas.microsoft.com/office/drawing/2014/main" id="{2ED6913C-9D39-4DA0-A7AA-21EDC8910553}"/>
              </a:ext>
            </a:extLst>
          </p:cNvPr>
          <p:cNvGrpSpPr/>
          <p:nvPr/>
        </p:nvGrpSpPr>
        <p:grpSpPr>
          <a:xfrm>
            <a:off x="4928263" y="2910577"/>
            <a:ext cx="2571153" cy="1370917"/>
            <a:chOff x="4928263" y="2910577"/>
            <a:chExt cx="2571153" cy="1370917"/>
          </a:xfrm>
        </p:grpSpPr>
        <p:pic>
          <p:nvPicPr>
            <p:cNvPr id="9" name="Graphic 8" descr="Teacher">
              <a:extLst>
                <a:ext uri="{FF2B5EF4-FFF2-40B4-BE49-F238E27FC236}">
                  <a16:creationId xmlns:a16="http://schemas.microsoft.com/office/drawing/2014/main" id="{144E6E09-4320-4198-B90D-1FD459B19C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6897" y="2910577"/>
              <a:ext cx="914400" cy="914400"/>
            </a:xfrm>
            <a:prstGeom prst="rect">
              <a:avLst/>
            </a:prstGeom>
          </p:spPr>
        </p:pic>
        <p:sp>
          <p:nvSpPr>
            <p:cNvPr id="29" name="TextBox 28">
              <a:extLst>
                <a:ext uri="{FF2B5EF4-FFF2-40B4-BE49-F238E27FC236}">
                  <a16:creationId xmlns:a16="http://schemas.microsoft.com/office/drawing/2014/main" id="{3DE0ACB9-AFDF-4030-B1E1-3165E06EE515}"/>
                </a:ext>
              </a:extLst>
            </p:cNvPr>
            <p:cNvSpPr txBox="1"/>
            <p:nvPr/>
          </p:nvSpPr>
          <p:spPr>
            <a:xfrm>
              <a:off x="4928263" y="3709030"/>
              <a:ext cx="257115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dentify Champions</a:t>
              </a:r>
            </a:p>
          </p:txBody>
        </p:sp>
      </p:grpSp>
      <p:grpSp>
        <p:nvGrpSpPr>
          <p:cNvPr id="18" name="Group 17">
            <a:extLst>
              <a:ext uri="{FF2B5EF4-FFF2-40B4-BE49-F238E27FC236}">
                <a16:creationId xmlns:a16="http://schemas.microsoft.com/office/drawing/2014/main" id="{44BE0B66-A7EB-410E-B039-DDD47AB6CC5F}"/>
              </a:ext>
            </a:extLst>
          </p:cNvPr>
          <p:cNvGrpSpPr/>
          <p:nvPr/>
        </p:nvGrpSpPr>
        <p:grpSpPr>
          <a:xfrm>
            <a:off x="8278949" y="2938615"/>
            <a:ext cx="2151230" cy="1349704"/>
            <a:chOff x="8278949" y="2938615"/>
            <a:chExt cx="2151230" cy="1349704"/>
          </a:xfrm>
        </p:grpSpPr>
        <p:pic>
          <p:nvPicPr>
            <p:cNvPr id="11" name="Graphic 10" descr="Classroom">
              <a:extLst>
                <a:ext uri="{FF2B5EF4-FFF2-40B4-BE49-F238E27FC236}">
                  <a16:creationId xmlns:a16="http://schemas.microsoft.com/office/drawing/2014/main" id="{220ADBE8-D2DF-4E24-87D3-9D7337E654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34802" y="2938615"/>
              <a:ext cx="914400" cy="914400"/>
            </a:xfrm>
            <a:prstGeom prst="rect">
              <a:avLst/>
            </a:prstGeom>
          </p:spPr>
        </p:pic>
        <p:sp>
          <p:nvSpPr>
            <p:cNvPr id="30" name="TextBox 29">
              <a:extLst>
                <a:ext uri="{FF2B5EF4-FFF2-40B4-BE49-F238E27FC236}">
                  <a16:creationId xmlns:a16="http://schemas.microsoft.com/office/drawing/2014/main" id="{BA521C82-74BB-4791-A2EC-9AF376B95966}"/>
                </a:ext>
              </a:extLst>
            </p:cNvPr>
            <p:cNvSpPr txBox="1"/>
            <p:nvPr/>
          </p:nvSpPr>
          <p:spPr>
            <a:xfrm>
              <a:off x="8278949" y="3715855"/>
              <a:ext cx="215123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rain Pilot Team</a:t>
              </a:r>
            </a:p>
          </p:txBody>
        </p:sp>
      </p:grpSp>
      <p:grpSp>
        <p:nvGrpSpPr>
          <p:cNvPr id="34" name="Group 33">
            <a:extLst>
              <a:ext uri="{FF2B5EF4-FFF2-40B4-BE49-F238E27FC236}">
                <a16:creationId xmlns:a16="http://schemas.microsoft.com/office/drawing/2014/main" id="{F12CFD7C-39A0-4A88-BD71-33A32A8C8780}"/>
              </a:ext>
            </a:extLst>
          </p:cNvPr>
          <p:cNvGrpSpPr/>
          <p:nvPr/>
        </p:nvGrpSpPr>
        <p:grpSpPr>
          <a:xfrm>
            <a:off x="5368352" y="4585934"/>
            <a:ext cx="1690976" cy="1486864"/>
            <a:chOff x="5368352" y="4585934"/>
            <a:chExt cx="1690976" cy="1486864"/>
          </a:xfrm>
        </p:grpSpPr>
        <p:pic>
          <p:nvPicPr>
            <p:cNvPr id="13" name="Graphic 12" descr="Piggy Bank">
              <a:extLst>
                <a:ext uri="{FF2B5EF4-FFF2-40B4-BE49-F238E27FC236}">
                  <a16:creationId xmlns:a16="http://schemas.microsoft.com/office/drawing/2014/main" id="{45D38E26-3B8C-4BAC-9E34-E28C897035C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9636" y="4585934"/>
              <a:ext cx="914400" cy="914400"/>
            </a:xfrm>
            <a:prstGeom prst="rect">
              <a:avLst/>
            </a:prstGeom>
          </p:spPr>
        </p:pic>
        <p:sp>
          <p:nvSpPr>
            <p:cNvPr id="31" name="TextBox 30">
              <a:extLst>
                <a:ext uri="{FF2B5EF4-FFF2-40B4-BE49-F238E27FC236}">
                  <a16:creationId xmlns:a16="http://schemas.microsoft.com/office/drawing/2014/main" id="{3F16A3EE-C117-4DC5-B85F-6206AFE4D547}"/>
                </a:ext>
              </a:extLst>
            </p:cNvPr>
            <p:cNvSpPr txBox="1"/>
            <p:nvPr/>
          </p:nvSpPr>
          <p:spPr>
            <a:xfrm>
              <a:off x="5368352" y="5500334"/>
              <a:ext cx="1690976"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rove Value</a:t>
              </a:r>
            </a:p>
          </p:txBody>
        </p:sp>
      </p:grpSp>
      <p:grpSp>
        <p:nvGrpSpPr>
          <p:cNvPr id="22" name="Group 21">
            <a:extLst>
              <a:ext uri="{FF2B5EF4-FFF2-40B4-BE49-F238E27FC236}">
                <a16:creationId xmlns:a16="http://schemas.microsoft.com/office/drawing/2014/main" id="{FE7F2EA5-5A1E-4B3C-AAFA-F2891EC9395E}"/>
              </a:ext>
            </a:extLst>
          </p:cNvPr>
          <p:cNvGrpSpPr/>
          <p:nvPr/>
        </p:nvGrpSpPr>
        <p:grpSpPr>
          <a:xfrm>
            <a:off x="7922152" y="4588943"/>
            <a:ext cx="2864823" cy="1483855"/>
            <a:chOff x="7922152" y="4588943"/>
            <a:chExt cx="2864823" cy="1483855"/>
          </a:xfrm>
        </p:grpSpPr>
        <p:pic>
          <p:nvPicPr>
            <p:cNvPr id="16" name="Graphic 15" descr="Disconnected">
              <a:extLst>
                <a:ext uri="{FF2B5EF4-FFF2-40B4-BE49-F238E27FC236}">
                  <a16:creationId xmlns:a16="http://schemas.microsoft.com/office/drawing/2014/main" id="{36719ADD-ECD6-4BF1-9618-B1A515A05A0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34802" y="4588943"/>
              <a:ext cx="914400" cy="914400"/>
            </a:xfrm>
            <a:prstGeom prst="rect">
              <a:avLst/>
            </a:prstGeom>
          </p:spPr>
        </p:pic>
        <p:sp>
          <p:nvSpPr>
            <p:cNvPr id="32" name="TextBox 31">
              <a:extLst>
                <a:ext uri="{FF2B5EF4-FFF2-40B4-BE49-F238E27FC236}">
                  <a16:creationId xmlns:a16="http://schemas.microsoft.com/office/drawing/2014/main" id="{C1F1808C-F1A9-4228-A714-3389B8AF35CD}"/>
                </a:ext>
              </a:extLst>
            </p:cNvPr>
            <p:cNvSpPr txBox="1"/>
            <p:nvPr/>
          </p:nvSpPr>
          <p:spPr>
            <a:xfrm>
              <a:off x="7922152" y="5500334"/>
              <a:ext cx="286482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ddress Product Gaps</a:t>
              </a:r>
            </a:p>
          </p:txBody>
        </p:sp>
      </p:grpSp>
    </p:spTree>
    <p:custDataLst>
      <p:tags r:id="rId1"/>
    </p:custDataLst>
    <p:extLst>
      <p:ext uri="{BB962C8B-B14F-4D97-AF65-F5344CB8AC3E}">
        <p14:creationId xmlns:p14="http://schemas.microsoft.com/office/powerpoint/2010/main" val="3581269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01588">
        <p159:morph option="byObject"/>
      </p:transition>
    </mc:Choice>
    <mc:Fallback xmlns="">
      <p:transition spd="slow" advTm="30158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make sure that the services configured correctly and ensure that the services are appropriately monitored”</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Power BI Administrato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nitial set up</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oordination with the O365/Azure admins </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License assignment</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t up for monitoring of the servi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ateway management</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IT Service management, authentic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8057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help teams in adopting self-service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Power BI Champion</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Help evangelize the vision of a data driven culture</a:t>
              </a:r>
            </a:p>
            <a:p>
              <a:pPr marL="0" marR="0" lvl="0" indent="0" algn="l" defTabSz="914367" rtl="0" eaLnBrk="1" fontAlgn="base" latinLnBrk="0" hangingPunct="1">
                <a:lnSpc>
                  <a:spcPct val="100000"/>
                </a:lnSpc>
                <a:spcBef>
                  <a:spcPct val="20000"/>
                </a:spcBef>
                <a:spcAft>
                  <a:spcPct val="0"/>
                </a:spcAft>
                <a:buClrTx/>
                <a:buSzPct val="90000"/>
                <a:buFontTx/>
                <a:buNone/>
                <a:tabLst/>
                <a:defRPr/>
              </a:pPr>
              <a:endParaRPr kumimoji="0" lang="en-GB" sz="1800" b="0" i="0" u="none" strike="noStrike" kern="1200" cap="none" spc="0" normalizeH="0" baseline="0" noProof="0">
                <a:ln w="3175">
                  <a:noFill/>
                </a:ln>
                <a:solidFill>
                  <a:prstClr val="black"/>
                </a:solidFill>
                <a:effectLst/>
                <a:uLnTx/>
                <a:uFillTx/>
                <a:latin typeface="Segoe UI Light"/>
                <a:ea typeface="+mn-ea"/>
                <a:cs typeface="+mn-cs"/>
              </a:endParaRPr>
            </a:p>
            <a:p>
              <a:pPr marL="0" marR="0" lvl="0" indent="0" algn="l" defTabSz="914367" rtl="0" eaLnBrk="1" fontAlgn="base" latinLnBrk="0" hangingPunct="1">
                <a:lnSpc>
                  <a:spcPct val="10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trategically deploy Power BI across the organization or team</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ubject matter experts (SMEs) who are also Excel/BI savvy and develop full understanding of the capabilities of Power BI </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392362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develop BI solutions and enable data sources for self-service BI”</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BI Develop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ake new data sources available for self-servi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evelop new IT delivered solution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Enhance existing solution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Release management proces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Full understanding of the capabilities of the Microsoft BI platform </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344768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ensure that we follow all security compliance policies, our data is always stored securely and accessible”</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Data/Information Security Manag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Residence</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Auditing</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Policy enforcement</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Knowledge of IT Service management, auditing, security</a:t>
              </a:r>
            </a:p>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Data Classification</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91965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ensure smooth running of all Power BI solution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Service Delivery Manager</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rvice status monitoring and issue resolution </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rant access to Power BI app workspace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Gateway support</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Minor enhancement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Release management of code change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ervice and gateway monitoring and configuration, Power BI Development, release management</a:t>
              </a:r>
            </a:p>
          </p:txBody>
        </p:sp>
      </p:gr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a:xfrm>
            <a:off x="408876" y="291088"/>
            <a:ext cx="542925" cy="771525"/>
          </a:xfrm>
          <a:prstGeom prst="rect">
            <a:avLst/>
          </a:prstGeom>
          <a:ln>
            <a:solidFill>
              <a:schemeClr val="tx1"/>
            </a:solidFill>
          </a:ln>
        </p:spPr>
      </p:pic>
    </p:spTree>
    <p:custDataLst>
      <p:tags r:id="rId1"/>
    </p:custDataLst>
    <p:extLst>
      <p:ext uri="{BB962C8B-B14F-4D97-AF65-F5344CB8AC3E}">
        <p14:creationId xmlns:p14="http://schemas.microsoft.com/office/powerpoint/2010/main" val="3120271428"/>
      </p:ext>
    </p:extLst>
  </p:cSld>
  <p:clrMapOvr>
    <a:masterClrMapping/>
  </p:clrMapOvr>
  <mc:AlternateContent xmlns:mc="http://schemas.openxmlformats.org/markup-compatibility/2006" xmlns:p14="http://schemas.microsoft.com/office/powerpoint/2010/main">
    <mc:Choice Requires="p14">
      <p:transition spd="med" p14:dur="700" advTm="34856">
        <p:fade/>
      </p:transition>
    </mc:Choice>
    <mc:Fallback xmlns="">
      <p:transition spd="med" advTm="34856">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08876" y="1325304"/>
            <a:ext cx="10223845" cy="1048442"/>
            <a:chOff x="408876" y="1325303"/>
            <a:chExt cx="10223845" cy="1593388"/>
          </a:xfrm>
        </p:grpSpPr>
        <p:sp>
          <p:nvSpPr>
            <p:cNvPr id="15" name="Rectangle 14"/>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Persona quote</a:t>
              </a:r>
            </a:p>
          </p:txBody>
        </p:sp>
        <p:sp>
          <p:nvSpPr>
            <p:cNvPr id="16" name="Rectangle 15"/>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I help business users in developing Power BI solutions”</a:t>
              </a:r>
            </a:p>
          </p:txBody>
        </p:sp>
      </p:grpSp>
      <p:sp>
        <p:nvSpPr>
          <p:cNvPr id="24" name="Title 2"/>
          <p:cNvSpPr txBox="1">
            <a:spLocks/>
          </p:cNvSpPr>
          <p:nvPr/>
        </p:nvSpPr>
        <p:spPr>
          <a:xfrm>
            <a:off x="951799" y="291088"/>
            <a:ext cx="9680921" cy="775698"/>
          </a:xfrm>
          <a:prstGeom prst="rect">
            <a:avLst/>
          </a:prstGeom>
          <a:solidFill>
            <a:schemeClr val="tx1"/>
          </a:solidFill>
        </p:spPr>
        <p:txBody>
          <a:bodyPr vert="horz" wrap="square" lIns="146304" tIns="91440" rIns="146304" bIns="91440" rtlCol="0" anchor="t">
            <a:noAutofit/>
          </a:bodyPr>
          <a:lstStyle>
            <a:lvl1pPr algn="l" defTabSz="914554"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554" rtl="0" eaLnBrk="1" fontAlgn="auto" latinLnBrk="0" hangingPunct="1">
              <a:lnSpc>
                <a:spcPct val="90000"/>
              </a:lnSpc>
              <a:spcBef>
                <a:spcPct val="0"/>
              </a:spcBef>
              <a:spcAft>
                <a:spcPts val="0"/>
              </a:spcAft>
              <a:buClrTx/>
              <a:buSzTx/>
              <a:buFontTx/>
              <a:buNone/>
              <a:tabLst/>
              <a:defRPr/>
            </a:pPr>
            <a:r>
              <a:rPr kumimoji="0" lang="en-GB" sz="4000" b="0" i="0" u="none" strike="noStrike" kern="1200" cap="none" spc="-100" normalizeH="0" baseline="0" noProof="0">
                <a:ln w="3175">
                  <a:noFill/>
                </a:ln>
                <a:solidFill>
                  <a:srgbClr val="EDC30D"/>
                </a:solidFill>
                <a:effectLst/>
                <a:uLnTx/>
                <a:uFillTx/>
                <a:latin typeface="Segoe UI Light"/>
                <a:ea typeface="+mn-ea"/>
                <a:cs typeface="Segoe UI" pitchFamily="34" charset="0"/>
              </a:rPr>
              <a:t>Business Support Specialist</a:t>
            </a:r>
          </a:p>
        </p:txBody>
      </p:sp>
      <p:grpSp>
        <p:nvGrpSpPr>
          <p:cNvPr id="36" name="Group 35"/>
          <p:cNvGrpSpPr/>
          <p:nvPr/>
        </p:nvGrpSpPr>
        <p:grpSpPr>
          <a:xfrm>
            <a:off x="408876" y="3722259"/>
            <a:ext cx="10223845" cy="2687782"/>
            <a:chOff x="408876" y="1325303"/>
            <a:chExt cx="10223845" cy="1593388"/>
          </a:xfrm>
        </p:grpSpPr>
        <p:sp>
          <p:nvSpPr>
            <p:cNvPr id="37" name="Rectangle 36"/>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esponsibilities</a:t>
              </a:r>
            </a:p>
          </p:txBody>
        </p:sp>
        <p:sp>
          <p:nvSpPr>
            <p:cNvPr id="38" name="Rectangle 37"/>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Support business users with complex modelling scenario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Help with data visualisations including custom visuals and R visuals</a:t>
              </a:r>
            </a:p>
            <a:p>
              <a:pPr marL="0" marR="0" lvl="0" indent="0" algn="l" defTabSz="914367" rtl="0" eaLnBrk="1" fontAlgn="base" latinLnBrk="0" hangingPunct="1">
                <a:lnSpc>
                  <a:spcPct val="15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Create reusable templates for business users</a:t>
              </a:r>
            </a:p>
          </p:txBody>
        </p:sp>
      </p:grpSp>
      <p:grpSp>
        <p:nvGrpSpPr>
          <p:cNvPr id="39" name="Group 38"/>
          <p:cNvGrpSpPr/>
          <p:nvPr/>
        </p:nvGrpSpPr>
        <p:grpSpPr>
          <a:xfrm>
            <a:off x="408876" y="2521414"/>
            <a:ext cx="10223845" cy="1048442"/>
            <a:chOff x="408876" y="1325303"/>
            <a:chExt cx="10223845" cy="1593388"/>
          </a:xfrm>
        </p:grpSpPr>
        <p:sp>
          <p:nvSpPr>
            <p:cNvPr id="40" name="Rectangle 39"/>
            <p:cNvSpPr/>
            <p:nvPr/>
          </p:nvSpPr>
          <p:spPr bwMode="auto">
            <a:xfrm>
              <a:off x="408876" y="1325303"/>
              <a:ext cx="4252253" cy="1593388"/>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EDC30D"/>
                  </a:solidFill>
                  <a:effectLst/>
                  <a:uLnTx/>
                  <a:uFillTx/>
                  <a:latin typeface="Segoe UI Light"/>
                  <a:ea typeface="Segoe UI" pitchFamily="34" charset="0"/>
                  <a:cs typeface="Segoe UI" pitchFamily="34" charset="0"/>
                </a:rPr>
                <a:t>Role requirements/skills</a:t>
              </a:r>
            </a:p>
          </p:txBody>
        </p:sp>
        <p:sp>
          <p:nvSpPr>
            <p:cNvPr id="41" name="Rectangle 40"/>
            <p:cNvSpPr/>
            <p:nvPr/>
          </p:nvSpPr>
          <p:spPr bwMode="auto">
            <a:xfrm>
              <a:off x="4661129" y="1325303"/>
              <a:ext cx="5971592" cy="1593388"/>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base" latinLnBrk="0" hangingPunct="1">
                <a:lnSpc>
                  <a:spcPct val="90000"/>
                </a:lnSpc>
                <a:spcBef>
                  <a:spcPct val="20000"/>
                </a:spcBef>
                <a:spcAft>
                  <a:spcPct val="0"/>
                </a:spcAft>
                <a:buClrTx/>
                <a:buSzPct val="90000"/>
                <a:buFontTx/>
                <a:buNone/>
                <a:tabLst/>
                <a:defRPr/>
              </a:pPr>
              <a:r>
                <a:rPr kumimoji="0" lang="en-GB" sz="1800" b="0" i="0" u="none" strike="noStrike" kern="1200" cap="none" spc="0" normalizeH="0" baseline="0" noProof="0">
                  <a:ln w="3175">
                    <a:noFill/>
                  </a:ln>
                  <a:solidFill>
                    <a:prstClr val="black"/>
                  </a:solidFill>
                  <a:effectLst/>
                  <a:uLnTx/>
                  <a:uFillTx/>
                  <a:latin typeface="Segoe UI Light"/>
                  <a:ea typeface="+mn-ea"/>
                  <a:cs typeface="+mn-cs"/>
                </a:rPr>
                <a:t>Power BI Development</a:t>
              </a:r>
            </a:p>
          </p:txBody>
        </p:sp>
      </p:grpSp>
      <p:pic>
        <p:nvPicPr>
          <p:cNvPr id="13" name="Picture 12"/>
          <p:cNvPicPr/>
          <p:nvPr/>
        </p:nvPicPr>
        <p:blipFill>
          <a:blip r:embed="rId4">
            <a:extLst>
              <a:ext uri="{28A0092B-C50C-407E-A947-70E740481C1C}">
                <a14:useLocalDpi xmlns:a14="http://schemas.microsoft.com/office/drawing/2010/main" val="0"/>
              </a:ext>
            </a:extLst>
          </a:blip>
          <a:stretch>
            <a:fillRect/>
          </a:stretch>
        </p:blipFill>
        <p:spPr>
          <a:xfrm>
            <a:off x="408876" y="291088"/>
            <a:ext cx="543600" cy="770400"/>
          </a:xfrm>
          <a:prstGeom prst="rect">
            <a:avLst/>
          </a:prstGeom>
          <a:ln>
            <a:solidFill>
              <a:schemeClr val="tx1"/>
            </a:solidFill>
          </a:ln>
        </p:spPr>
      </p:pic>
    </p:spTree>
    <p:custDataLst>
      <p:tags r:id="rId1"/>
    </p:custDataLst>
    <p:extLst>
      <p:ext uri="{BB962C8B-B14F-4D97-AF65-F5344CB8AC3E}">
        <p14:creationId xmlns:p14="http://schemas.microsoft.com/office/powerpoint/2010/main" val="2863874696"/>
      </p:ext>
    </p:extLst>
  </p:cSld>
  <p:clrMapOvr>
    <a:masterClrMapping/>
  </p:clrMapOvr>
  <mc:AlternateContent xmlns:mc="http://schemas.openxmlformats.org/markup-compatibility/2006" xmlns:p14="http://schemas.microsoft.com/office/powerpoint/2010/main">
    <mc:Choice Requires="p14">
      <p:transition spd="med" p14:dur="700" advTm="25260">
        <p:fade/>
      </p:transition>
    </mc:Choice>
    <mc:Fallback xmlns="">
      <p:transition spd="med" advTm="25260">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D3A22B-96B4-4B09-8E17-1B112B3566F9}"/>
              </a:ext>
            </a:extLst>
          </p:cNvPr>
          <p:cNvSpPr>
            <a:spLocks noGrp="1"/>
          </p:cNvSpPr>
          <p:nvPr>
            <p:ph type="title"/>
          </p:nvPr>
        </p:nvSpPr>
        <p:spPr/>
        <p:txBody>
          <a:bodyPr/>
          <a:lstStyle/>
          <a:p>
            <a:r>
              <a:rPr lang="de-DE"/>
              <a:t>More </a:t>
            </a:r>
            <a:r>
              <a:rPr lang="de-DE" err="1"/>
              <a:t>Roles</a:t>
            </a:r>
            <a:endParaRPr lang="en-US"/>
          </a:p>
        </p:txBody>
      </p:sp>
      <p:graphicFrame>
        <p:nvGraphicFramePr>
          <p:cNvPr id="4" name="Tabelle 3">
            <a:extLst>
              <a:ext uri="{FF2B5EF4-FFF2-40B4-BE49-F238E27FC236}">
                <a16:creationId xmlns:a16="http://schemas.microsoft.com/office/drawing/2014/main" id="{862428BB-EBC3-4325-BAF7-CC3D6D7C7688}"/>
              </a:ext>
            </a:extLst>
          </p:cNvPr>
          <p:cNvGraphicFramePr/>
          <p:nvPr/>
        </p:nvGraphicFramePr>
        <p:xfrm>
          <a:off x="1161585" y="1430338"/>
          <a:ext cx="9868830" cy="5304570"/>
        </p:xfrm>
        <a:graphic>
          <a:graphicData uri="http://schemas.openxmlformats.org/drawingml/2006/table">
            <a:tbl>
              <a:tblPr>
                <a:tableStyleId>{5C22544A-7EE6-4342-B048-85BDC9FD1C3A}</a:tableStyleId>
              </a:tblPr>
              <a:tblGrid>
                <a:gridCol w="3267309">
                  <a:extLst>
                    <a:ext uri="{9D8B030D-6E8A-4147-A177-3AD203B41FA5}">
                      <a16:colId xmlns:a16="http://schemas.microsoft.com/office/drawing/2014/main" val="2192820885"/>
                    </a:ext>
                  </a:extLst>
                </a:gridCol>
                <a:gridCol w="6601521">
                  <a:extLst>
                    <a:ext uri="{9D8B030D-6E8A-4147-A177-3AD203B41FA5}">
                      <a16:colId xmlns:a16="http://schemas.microsoft.com/office/drawing/2014/main" val="297202006"/>
                    </a:ext>
                  </a:extLst>
                </a:gridCol>
              </a:tblGrid>
              <a:tr h="628917">
                <a:tc>
                  <a:txBody>
                    <a:bodyPr/>
                    <a:lstStyle/>
                    <a:p>
                      <a:pPr algn="l" fontAlgn="t">
                        <a:spcBef>
                          <a:spcPts val="0"/>
                        </a:spcBef>
                        <a:spcAft>
                          <a:spcPts val="0"/>
                        </a:spcAft>
                      </a:pPr>
                      <a:r>
                        <a:rPr lang="en-US" sz="1800" b="1" u="none" strike="noStrike">
                          <a:effectLst/>
                        </a:rPr>
                        <a:t>Change management board</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Coordinates the requirements, processes, approvals, and scheduling for release management processes with the objective of reducing risk and minimizing the impact of changes to critical application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846759294"/>
                  </a:ext>
                </a:extLst>
              </a:tr>
              <a:tr h="240468">
                <a:tc>
                  <a:txBody>
                    <a:bodyPr/>
                    <a:lstStyle/>
                    <a:p>
                      <a:pPr algn="l" fontAlgn="t">
                        <a:spcBef>
                          <a:spcPts val="0"/>
                        </a:spcBef>
                        <a:spcAft>
                          <a:spcPts val="0"/>
                        </a:spcAft>
                      </a:pPr>
                      <a:r>
                        <a:rPr lang="en-US" sz="1800" b="1" u="none" strike="noStrike">
                          <a:effectLst/>
                        </a:rPr>
                        <a:t>Project management office</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Manages individual governance projects and the ongoing data governance program.</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970067115"/>
                  </a:ext>
                </a:extLst>
              </a:tr>
              <a:tr h="573425">
                <a:tc>
                  <a:txBody>
                    <a:bodyPr/>
                    <a:lstStyle/>
                    <a:p>
                      <a:pPr algn="l" fontAlgn="t">
                        <a:spcBef>
                          <a:spcPts val="0"/>
                        </a:spcBef>
                        <a:spcAft>
                          <a:spcPts val="0"/>
                        </a:spcAft>
                      </a:pPr>
                      <a:r>
                        <a:rPr lang="en-US" sz="1800" b="1" u="none" strike="noStrike">
                          <a:effectLst/>
                        </a:rPr>
                        <a:t>Information technology</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Provides occasional assistance to Power BI administrators for services related to Power BI, such as Azure Active Directory, Microsoft 365, Teams, SharePoint, or OneDrive.</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2854617044"/>
                  </a:ext>
                </a:extLst>
              </a:tr>
              <a:tr h="462439">
                <a:tc>
                  <a:txBody>
                    <a:bodyPr/>
                    <a:lstStyle/>
                    <a:p>
                      <a:pPr algn="l" fontAlgn="t">
                        <a:spcBef>
                          <a:spcPts val="0"/>
                        </a:spcBef>
                        <a:spcAft>
                          <a:spcPts val="0"/>
                        </a:spcAft>
                      </a:pPr>
                      <a:r>
                        <a:rPr lang="en-US" sz="1800" b="1" u="none" strike="noStrike">
                          <a:effectLst/>
                        </a:rPr>
                        <a:t>Risk management</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Reviews and assesses data sharing and security risks. Defines ethical data policies and standards. Communicates regulatory and legal requirement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887944977"/>
                  </a:ext>
                </a:extLst>
              </a:tr>
              <a:tr h="295961">
                <a:tc>
                  <a:txBody>
                    <a:bodyPr/>
                    <a:lstStyle/>
                    <a:p>
                      <a:pPr algn="l" fontAlgn="t">
                        <a:spcBef>
                          <a:spcPts val="0"/>
                        </a:spcBef>
                        <a:spcAft>
                          <a:spcPts val="0"/>
                        </a:spcAft>
                      </a:pPr>
                      <a:r>
                        <a:rPr lang="en-US" sz="1800" b="1" u="none" strike="noStrike">
                          <a:effectLst/>
                        </a:rPr>
                        <a:t>Internal audit</a:t>
                      </a:r>
                      <a:endParaRPr lang="en-US" sz="1800" b="1" i="0" u="none" strike="noStrike">
                        <a:effectLst/>
                        <a:latin typeface="Arial" panose="020B0604020202020204" pitchFamily="34" charset="0"/>
                      </a:endParaRPr>
                    </a:p>
                  </a:txBody>
                  <a:tcPr marL="18498" marR="18498" marT="9249" marB="9249"/>
                </a:tc>
                <a:tc>
                  <a:txBody>
                    <a:bodyPr/>
                    <a:lstStyle/>
                    <a:p>
                      <a:pPr algn="l" fontAlgn="t">
                        <a:spcBef>
                          <a:spcPts val="0"/>
                        </a:spcBef>
                        <a:spcAft>
                          <a:spcPts val="0"/>
                        </a:spcAft>
                      </a:pPr>
                      <a:r>
                        <a:rPr lang="en-US" sz="1800" u="none" strike="noStrike">
                          <a:effectLst/>
                        </a:rPr>
                        <a:t>Auditing of compliance with regulatory and internal requirements.</a:t>
                      </a:r>
                    </a:p>
                    <a:p>
                      <a:pPr algn="l" fontAlgn="t">
                        <a:spcBef>
                          <a:spcPts val="0"/>
                        </a:spcBef>
                        <a:spcAft>
                          <a:spcPts val="0"/>
                        </a:spcAft>
                      </a:pPr>
                      <a:endParaRPr lang="en-US" sz="1800" b="0" i="0" u="none" strike="noStrike">
                        <a:effectLst/>
                        <a:latin typeface="Arial" panose="020B0604020202020204" pitchFamily="34" charset="0"/>
                      </a:endParaRPr>
                    </a:p>
                  </a:txBody>
                  <a:tcPr marL="18498" marR="18498" marT="9249" marB="9249"/>
                </a:tc>
                <a:extLst>
                  <a:ext uri="{0D108BD9-81ED-4DB2-BD59-A6C34878D82A}">
                    <a16:rowId xmlns:a16="http://schemas.microsoft.com/office/drawing/2014/main" val="3338315396"/>
                  </a:ext>
                </a:extLst>
              </a:tr>
            </a:tbl>
          </a:graphicData>
        </a:graphic>
      </p:graphicFrame>
    </p:spTree>
    <p:extLst>
      <p:ext uri="{BB962C8B-B14F-4D97-AF65-F5344CB8AC3E}">
        <p14:creationId xmlns:p14="http://schemas.microsoft.com/office/powerpoint/2010/main" val="42737749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Graphic 26">
            <a:extLst>
              <a:ext uri="{FF2B5EF4-FFF2-40B4-BE49-F238E27FC236}">
                <a16:creationId xmlns:a16="http://schemas.microsoft.com/office/drawing/2014/main" id="{36A4ABED-EE53-472E-B7AC-5F8B74C34F07}"/>
              </a:ext>
            </a:extLst>
          </p:cNvPr>
          <p:cNvSpPr/>
          <p:nvPr/>
        </p:nvSpPr>
        <p:spPr>
          <a:xfrm>
            <a:off x="5926789" y="859794"/>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raphic 33">
            <a:extLst>
              <a:ext uri="{FF2B5EF4-FFF2-40B4-BE49-F238E27FC236}">
                <a16:creationId xmlns:a16="http://schemas.microsoft.com/office/drawing/2014/main" id="{121AC3BD-A8CB-4875-80C7-6F608191AAB0}"/>
              </a:ext>
            </a:extLst>
          </p:cNvPr>
          <p:cNvSpPr/>
          <p:nvPr/>
        </p:nvSpPr>
        <p:spPr>
          <a:xfrm>
            <a:off x="6238077" y="19631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raphic 26">
            <a:extLst>
              <a:ext uri="{FF2B5EF4-FFF2-40B4-BE49-F238E27FC236}">
                <a16:creationId xmlns:a16="http://schemas.microsoft.com/office/drawing/2014/main" id="{36F9DBF0-4B14-4BF0-99B0-CB4A64C07B21}"/>
              </a:ext>
            </a:extLst>
          </p:cNvPr>
          <p:cNvSpPr/>
          <p:nvPr/>
        </p:nvSpPr>
        <p:spPr>
          <a:xfrm>
            <a:off x="6639359" y="1758078"/>
            <a:ext cx="415869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phic 33">
            <a:extLst>
              <a:ext uri="{FF2B5EF4-FFF2-40B4-BE49-F238E27FC236}">
                <a16:creationId xmlns:a16="http://schemas.microsoft.com/office/drawing/2014/main" id="{4B413B63-7E27-4E5C-B0F5-E944E2DF49BB}"/>
              </a:ext>
            </a:extLst>
          </p:cNvPr>
          <p:cNvSpPr/>
          <p:nvPr/>
        </p:nvSpPr>
        <p:spPr>
          <a:xfrm>
            <a:off x="6926990" y="10929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Graphic 26">
            <a:extLst>
              <a:ext uri="{FF2B5EF4-FFF2-40B4-BE49-F238E27FC236}">
                <a16:creationId xmlns:a16="http://schemas.microsoft.com/office/drawing/2014/main" id="{F94633A3-678E-4529-B4C2-6EA0D8E77316}"/>
              </a:ext>
            </a:extLst>
          </p:cNvPr>
          <p:cNvSpPr/>
          <p:nvPr/>
        </p:nvSpPr>
        <p:spPr>
          <a:xfrm>
            <a:off x="7016146" y="2846785"/>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phic 33">
            <a:extLst>
              <a:ext uri="{FF2B5EF4-FFF2-40B4-BE49-F238E27FC236}">
                <a16:creationId xmlns:a16="http://schemas.microsoft.com/office/drawing/2014/main" id="{A1ED1292-8A44-46EC-AF47-0C5C8FF0E5CF}"/>
              </a:ext>
            </a:extLst>
          </p:cNvPr>
          <p:cNvSpPr/>
          <p:nvPr/>
        </p:nvSpPr>
        <p:spPr>
          <a:xfrm>
            <a:off x="7316388" y="218210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Graphic 26">
            <a:extLst>
              <a:ext uri="{FF2B5EF4-FFF2-40B4-BE49-F238E27FC236}">
                <a16:creationId xmlns:a16="http://schemas.microsoft.com/office/drawing/2014/main" id="{6A97835B-66F5-48B0-B9B3-87721FCA1C83}"/>
              </a:ext>
            </a:extLst>
          </p:cNvPr>
          <p:cNvSpPr/>
          <p:nvPr/>
        </p:nvSpPr>
        <p:spPr>
          <a:xfrm>
            <a:off x="7013772" y="3862731"/>
            <a:ext cx="4077507"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raphic 33">
            <a:extLst>
              <a:ext uri="{FF2B5EF4-FFF2-40B4-BE49-F238E27FC236}">
                <a16:creationId xmlns:a16="http://schemas.microsoft.com/office/drawing/2014/main" id="{BD243043-2EA0-4C5B-8E7D-AA60D78A9E79}"/>
              </a:ext>
            </a:extLst>
          </p:cNvPr>
          <p:cNvSpPr/>
          <p:nvPr/>
        </p:nvSpPr>
        <p:spPr>
          <a:xfrm>
            <a:off x="7307366" y="319683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Graphic 26">
            <a:extLst>
              <a:ext uri="{FF2B5EF4-FFF2-40B4-BE49-F238E27FC236}">
                <a16:creationId xmlns:a16="http://schemas.microsoft.com/office/drawing/2014/main" id="{DEB6C4C8-43CE-4C0A-8B90-D8892F9ADD5E}"/>
              </a:ext>
            </a:extLst>
          </p:cNvPr>
          <p:cNvSpPr/>
          <p:nvPr/>
        </p:nvSpPr>
        <p:spPr>
          <a:xfrm>
            <a:off x="6993129" y="4895301"/>
            <a:ext cx="4041423"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Graphic 33">
            <a:extLst>
              <a:ext uri="{FF2B5EF4-FFF2-40B4-BE49-F238E27FC236}">
                <a16:creationId xmlns:a16="http://schemas.microsoft.com/office/drawing/2014/main" id="{72C881EA-6BBD-4111-B16D-B83E3FF910B7}"/>
              </a:ext>
            </a:extLst>
          </p:cNvPr>
          <p:cNvSpPr/>
          <p:nvPr/>
        </p:nvSpPr>
        <p:spPr>
          <a:xfrm>
            <a:off x="7291019" y="4222542"/>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AB7F32-B8BB-49CD-9488-4A5AFBAA7956}"/>
              </a:ext>
            </a:extLst>
          </p:cNvPr>
          <p:cNvSpPr txBox="1"/>
          <p:nvPr/>
        </p:nvSpPr>
        <p:spPr>
          <a:xfrm>
            <a:off x="6179378" y="20691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1</a:t>
            </a:r>
          </a:p>
        </p:txBody>
      </p:sp>
      <p:pic>
        <p:nvPicPr>
          <p:cNvPr id="33" name="Graphic 32">
            <a:extLst>
              <a:ext uri="{FF2B5EF4-FFF2-40B4-BE49-F238E27FC236}">
                <a16:creationId xmlns:a16="http://schemas.microsoft.com/office/drawing/2014/main" id="{E2AF1A28-EE2E-4343-9D5A-B09310352C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328" y="104734"/>
            <a:ext cx="636591" cy="753041"/>
          </a:xfrm>
          <a:prstGeom prst="rect">
            <a:avLst/>
          </a:prstGeom>
        </p:spPr>
      </p:pic>
      <p:sp>
        <p:nvSpPr>
          <p:cNvPr id="79" name="Freeform: Shape 78">
            <a:extLst>
              <a:ext uri="{FF2B5EF4-FFF2-40B4-BE49-F238E27FC236}">
                <a16:creationId xmlns:a16="http://schemas.microsoft.com/office/drawing/2014/main" id="{2A4DECEB-4EE3-4B1C-989A-A04973C2A5C1}"/>
              </a:ext>
            </a:extLst>
          </p:cNvPr>
          <p:cNvSpPr/>
          <p:nvPr/>
        </p:nvSpPr>
        <p:spPr>
          <a:xfrm>
            <a:off x="-1" y="1500685"/>
            <a:ext cx="6399239" cy="3424214"/>
          </a:xfrm>
          <a:custGeom>
            <a:avLst/>
            <a:gdLst>
              <a:gd name="connsiteX0" fmla="*/ 4696842 w 6399239"/>
              <a:gd name="connsiteY0" fmla="*/ 0 h 3424214"/>
              <a:gd name="connsiteX1" fmla="*/ 4743915 w 6399239"/>
              <a:gd name="connsiteY1" fmla="*/ 2635 h 3424214"/>
              <a:gd name="connsiteX2" fmla="*/ 4796973 w 6399239"/>
              <a:gd name="connsiteY2" fmla="*/ 2635 h 3424214"/>
              <a:gd name="connsiteX3" fmla="*/ 4796973 w 6399239"/>
              <a:gd name="connsiteY3" fmla="*/ 5605 h 3424214"/>
              <a:gd name="connsiteX4" fmla="*/ 4870089 w 6399239"/>
              <a:gd name="connsiteY4" fmla="*/ 9697 h 3424214"/>
              <a:gd name="connsiteX5" fmla="*/ 6399239 w 6399239"/>
              <a:gd name="connsiteY5" fmla="*/ 1710734 h 3424214"/>
              <a:gd name="connsiteX6" fmla="*/ 4862372 w 6399239"/>
              <a:gd name="connsiteY6" fmla="*/ 3412566 h 3424214"/>
              <a:gd name="connsiteX7" fmla="*/ 4796973 w 6399239"/>
              <a:gd name="connsiteY7" fmla="*/ 3415914 h 3424214"/>
              <a:gd name="connsiteX8" fmla="*/ 4796973 w 6399239"/>
              <a:gd name="connsiteY8" fmla="*/ 3424123 h 3424214"/>
              <a:gd name="connsiteX9" fmla="*/ 904875 w 6399239"/>
              <a:gd name="connsiteY9" fmla="*/ 3424123 h 3424214"/>
              <a:gd name="connsiteX10" fmla="*/ 904875 w 6399239"/>
              <a:gd name="connsiteY10" fmla="*/ 3424214 h 3424214"/>
              <a:gd name="connsiteX11" fmla="*/ 0 w 6399239"/>
              <a:gd name="connsiteY11" fmla="*/ 3424214 h 3424214"/>
              <a:gd name="connsiteX12" fmla="*/ 0 w 6399239"/>
              <a:gd name="connsiteY12" fmla="*/ 2359 h 3424214"/>
              <a:gd name="connsiteX13" fmla="*/ 904875 w 6399239"/>
              <a:gd name="connsiteY13" fmla="*/ 2359 h 3424214"/>
              <a:gd name="connsiteX14" fmla="*/ 904875 w 6399239"/>
              <a:gd name="connsiteY14" fmla="*/ 2635 h 3424214"/>
              <a:gd name="connsiteX15" fmla="*/ 4696829 w 6399239"/>
              <a:gd name="connsiteY15" fmla="*/ 2635 h 34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9239" h="3424214">
                <a:moveTo>
                  <a:pt x="4696842" y="0"/>
                </a:moveTo>
                <a:lnTo>
                  <a:pt x="4743915" y="2635"/>
                </a:lnTo>
                <a:lnTo>
                  <a:pt x="4796973" y="2635"/>
                </a:lnTo>
                <a:lnTo>
                  <a:pt x="4796973" y="5605"/>
                </a:lnTo>
                <a:lnTo>
                  <a:pt x="4870089" y="9697"/>
                </a:lnTo>
                <a:cubicBezTo>
                  <a:pt x="5725009" y="101611"/>
                  <a:pt x="6399239" y="833916"/>
                  <a:pt x="6399239" y="1710734"/>
                </a:cubicBezTo>
                <a:cubicBezTo>
                  <a:pt x="6399239" y="2590545"/>
                  <a:pt x="5720488" y="3324285"/>
                  <a:pt x="4862372" y="3412566"/>
                </a:cubicBezTo>
                <a:lnTo>
                  <a:pt x="4796973" y="3415914"/>
                </a:lnTo>
                <a:lnTo>
                  <a:pt x="4796973" y="3424123"/>
                </a:lnTo>
                <a:lnTo>
                  <a:pt x="904875" y="3424123"/>
                </a:lnTo>
                <a:lnTo>
                  <a:pt x="904875" y="3424214"/>
                </a:lnTo>
                <a:lnTo>
                  <a:pt x="0" y="3424214"/>
                </a:lnTo>
                <a:lnTo>
                  <a:pt x="0" y="2359"/>
                </a:lnTo>
                <a:lnTo>
                  <a:pt x="904875" y="2359"/>
                </a:lnTo>
                <a:lnTo>
                  <a:pt x="904875" y="2635"/>
                </a:lnTo>
                <a:lnTo>
                  <a:pt x="4696829" y="2635"/>
                </a:lnTo>
                <a:close/>
              </a:path>
            </a:pathLst>
          </a:custGeom>
          <a:solidFill>
            <a:srgbClr val="FD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F7BDDD6-C476-45E3-B113-2F752DC25B32}"/>
              </a:ext>
            </a:extLst>
          </p:cNvPr>
          <p:cNvSpPr txBox="1"/>
          <p:nvPr/>
        </p:nvSpPr>
        <p:spPr>
          <a:xfrm>
            <a:off x="7250693" y="2194649"/>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3</a:t>
            </a:r>
          </a:p>
        </p:txBody>
      </p:sp>
      <p:sp>
        <p:nvSpPr>
          <p:cNvPr id="45" name="TextBox 44">
            <a:extLst>
              <a:ext uri="{FF2B5EF4-FFF2-40B4-BE49-F238E27FC236}">
                <a16:creationId xmlns:a16="http://schemas.microsoft.com/office/drawing/2014/main" id="{259DB6E0-0C31-4523-AA7C-30BFE30DE343}"/>
              </a:ext>
            </a:extLst>
          </p:cNvPr>
          <p:cNvSpPr txBox="1"/>
          <p:nvPr/>
        </p:nvSpPr>
        <p:spPr>
          <a:xfrm>
            <a:off x="7247548" y="3207171"/>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4</a:t>
            </a:r>
          </a:p>
        </p:txBody>
      </p:sp>
      <p:sp>
        <p:nvSpPr>
          <p:cNvPr id="46" name="TextBox 45">
            <a:extLst>
              <a:ext uri="{FF2B5EF4-FFF2-40B4-BE49-F238E27FC236}">
                <a16:creationId xmlns:a16="http://schemas.microsoft.com/office/drawing/2014/main" id="{CCC03D83-CCE4-49DC-A216-9F043D2AABFA}"/>
              </a:ext>
            </a:extLst>
          </p:cNvPr>
          <p:cNvSpPr txBox="1"/>
          <p:nvPr/>
        </p:nvSpPr>
        <p:spPr>
          <a:xfrm>
            <a:off x="7222072" y="4236532"/>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5</a:t>
            </a:r>
          </a:p>
        </p:txBody>
      </p:sp>
      <p:sp>
        <p:nvSpPr>
          <p:cNvPr id="34" name="TextBox 33">
            <a:extLst>
              <a:ext uri="{FF2B5EF4-FFF2-40B4-BE49-F238E27FC236}">
                <a16:creationId xmlns:a16="http://schemas.microsoft.com/office/drawing/2014/main" id="{C12830ED-DF3C-4A1A-8CF6-2B896E62EBE5}"/>
              </a:ext>
            </a:extLst>
          </p:cNvPr>
          <p:cNvSpPr txBox="1"/>
          <p:nvPr/>
        </p:nvSpPr>
        <p:spPr>
          <a:xfrm>
            <a:off x="6864885" y="1106473"/>
            <a:ext cx="587843" cy="612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2</a:t>
            </a:r>
          </a:p>
        </p:txBody>
      </p:sp>
      <p:pic>
        <p:nvPicPr>
          <p:cNvPr id="36" name="Graphic 35">
            <a:extLst>
              <a:ext uri="{FF2B5EF4-FFF2-40B4-BE49-F238E27FC236}">
                <a16:creationId xmlns:a16="http://schemas.microsoft.com/office/drawing/2014/main" id="{D6445779-B9C1-4850-A511-5B98E7EC92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5529" y="1001214"/>
            <a:ext cx="636591" cy="753041"/>
          </a:xfrm>
          <a:prstGeom prst="rect">
            <a:avLst/>
          </a:prstGeom>
        </p:spPr>
      </p:pic>
      <p:pic>
        <p:nvPicPr>
          <p:cNvPr id="37" name="Graphic 36">
            <a:extLst>
              <a:ext uri="{FF2B5EF4-FFF2-40B4-BE49-F238E27FC236}">
                <a16:creationId xmlns:a16="http://schemas.microsoft.com/office/drawing/2014/main" id="{2B21529E-04E9-40C5-9D59-D55E26B4C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1705" y="2091273"/>
            <a:ext cx="636591" cy="753041"/>
          </a:xfrm>
          <a:prstGeom prst="rect">
            <a:avLst/>
          </a:prstGeom>
        </p:spPr>
      </p:pic>
      <p:pic>
        <p:nvPicPr>
          <p:cNvPr id="38" name="Graphic 37">
            <a:extLst>
              <a:ext uri="{FF2B5EF4-FFF2-40B4-BE49-F238E27FC236}">
                <a16:creationId xmlns:a16="http://schemas.microsoft.com/office/drawing/2014/main" id="{59A1922F-4659-4ACB-B43B-125FA3BB1C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3865" y="3105682"/>
            <a:ext cx="636591" cy="753041"/>
          </a:xfrm>
          <a:prstGeom prst="rect">
            <a:avLst/>
          </a:prstGeom>
        </p:spPr>
      </p:pic>
      <p:pic>
        <p:nvPicPr>
          <p:cNvPr id="39" name="Graphic 38">
            <a:extLst>
              <a:ext uri="{FF2B5EF4-FFF2-40B4-BE49-F238E27FC236}">
                <a16:creationId xmlns:a16="http://schemas.microsoft.com/office/drawing/2014/main" id="{01807980-CA51-4DFD-B968-3B96EE73AE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9666" y="4135043"/>
            <a:ext cx="636591" cy="753041"/>
          </a:xfrm>
          <a:prstGeom prst="rect">
            <a:avLst/>
          </a:prstGeom>
        </p:spPr>
      </p:pic>
      <p:sp>
        <p:nvSpPr>
          <p:cNvPr id="16" name="Rectangle 15">
            <a:extLst>
              <a:ext uri="{FF2B5EF4-FFF2-40B4-BE49-F238E27FC236}">
                <a16:creationId xmlns:a16="http://schemas.microsoft.com/office/drawing/2014/main" id="{ED9713B2-8C12-46D5-9EC2-6D4627C09EFE}"/>
              </a:ext>
            </a:extLst>
          </p:cNvPr>
          <p:cNvSpPr/>
          <p:nvPr/>
        </p:nvSpPr>
        <p:spPr>
          <a:xfrm>
            <a:off x="6729437" y="393277"/>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ocument &amp; communicate goals and guiding principles of data culture goals</a:t>
            </a:r>
          </a:p>
        </p:txBody>
      </p:sp>
      <p:sp>
        <p:nvSpPr>
          <p:cNvPr id="60" name="Rectangle 59">
            <a:extLst>
              <a:ext uri="{FF2B5EF4-FFF2-40B4-BE49-F238E27FC236}">
                <a16:creationId xmlns:a16="http://schemas.microsoft.com/office/drawing/2014/main" id="{3DC610B7-C75B-43B0-AF8C-0F70CD5C5230}"/>
              </a:ext>
            </a:extLst>
          </p:cNvPr>
          <p:cNvSpPr/>
          <p:nvPr/>
        </p:nvSpPr>
        <p:spPr>
          <a:xfrm>
            <a:off x="7433739" y="1273364"/>
            <a:ext cx="294322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sure understanding of how Power BI is currently used</a:t>
            </a:r>
          </a:p>
        </p:txBody>
      </p:sp>
      <p:sp>
        <p:nvSpPr>
          <p:cNvPr id="61" name="Rectangle 60">
            <a:extLst>
              <a:ext uri="{FF2B5EF4-FFF2-40B4-BE49-F238E27FC236}">
                <a16:creationId xmlns:a16="http://schemas.microsoft.com/office/drawing/2014/main" id="{D13E5C68-6674-440A-9119-05FBF1A6D5E8}"/>
              </a:ext>
            </a:extLst>
          </p:cNvPr>
          <p:cNvSpPr/>
          <p:nvPr/>
        </p:nvSpPr>
        <p:spPr>
          <a:xfrm>
            <a:off x="7888276" y="2378163"/>
            <a:ext cx="3417322"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lect an important pain point, high priority need, or known risk for a data domain for prioritizing which new guidelines or policies to create,</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5E8B4A8E-542F-45BC-A4AD-C7425B15F3F6}"/>
              </a:ext>
            </a:extLst>
          </p:cNvPr>
          <p:cNvSpPr/>
          <p:nvPr/>
        </p:nvSpPr>
        <p:spPr>
          <a:xfrm>
            <a:off x="7888276" y="3389729"/>
            <a:ext cx="3494223"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termine if there is an inventory of all critical data assets or create one if necessary.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54554985-06EC-4FD4-A0B8-07550E8EC221}"/>
              </a:ext>
            </a:extLst>
          </p:cNvPr>
          <p:cNvSpPr/>
          <p:nvPr/>
        </p:nvSpPr>
        <p:spPr>
          <a:xfrm>
            <a:off x="7888275" y="4444522"/>
            <a:ext cx="3494223"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firm that you have support and sufficient attention from your executive sponsor, as well as from business unit leaders.</a:t>
            </a:r>
          </a:p>
        </p:txBody>
      </p:sp>
      <p:pic>
        <p:nvPicPr>
          <p:cNvPr id="18" name="Graphic 17">
            <a:extLst>
              <a:ext uri="{FF2B5EF4-FFF2-40B4-BE49-F238E27FC236}">
                <a16:creationId xmlns:a16="http://schemas.microsoft.com/office/drawing/2014/main" id="{7E279224-C164-4C5D-B82B-53F5B3D6F6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41860" y="240161"/>
            <a:ext cx="351558" cy="351558"/>
          </a:xfrm>
          <a:prstGeom prst="rect">
            <a:avLst/>
          </a:prstGeom>
        </p:spPr>
      </p:pic>
      <p:pic>
        <p:nvPicPr>
          <p:cNvPr id="21" name="Graphic 20">
            <a:extLst>
              <a:ext uri="{FF2B5EF4-FFF2-40B4-BE49-F238E27FC236}">
                <a16:creationId xmlns:a16="http://schemas.microsoft.com/office/drawing/2014/main" id="{3A680121-668B-402E-A0AD-F41C445E12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87007" y="1215914"/>
            <a:ext cx="277196" cy="277194"/>
          </a:xfrm>
          <a:prstGeom prst="rect">
            <a:avLst/>
          </a:prstGeom>
        </p:spPr>
      </p:pic>
      <p:pic>
        <p:nvPicPr>
          <p:cNvPr id="27" name="Graphic 26">
            <a:extLst>
              <a:ext uri="{FF2B5EF4-FFF2-40B4-BE49-F238E27FC236}">
                <a16:creationId xmlns:a16="http://schemas.microsoft.com/office/drawing/2014/main" id="{E1319DD9-EE2F-4E60-B095-AF82378BB0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8748" y="2262393"/>
            <a:ext cx="350520" cy="350520"/>
          </a:xfrm>
          <a:prstGeom prst="rect">
            <a:avLst/>
          </a:prstGeom>
        </p:spPr>
      </p:pic>
      <p:pic>
        <p:nvPicPr>
          <p:cNvPr id="65" name="Graphic 64">
            <a:extLst>
              <a:ext uri="{FF2B5EF4-FFF2-40B4-BE49-F238E27FC236}">
                <a16:creationId xmlns:a16="http://schemas.microsoft.com/office/drawing/2014/main" id="{1B747B8A-889C-4C1D-BFEB-D850C219F2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40420" y="3292953"/>
            <a:ext cx="329261" cy="329261"/>
          </a:xfrm>
          <a:prstGeom prst="rect">
            <a:avLst/>
          </a:prstGeom>
        </p:spPr>
      </p:pic>
      <p:sp>
        <p:nvSpPr>
          <p:cNvPr id="71" name="Freeform: Shape 70">
            <a:extLst>
              <a:ext uri="{FF2B5EF4-FFF2-40B4-BE49-F238E27FC236}">
                <a16:creationId xmlns:a16="http://schemas.microsoft.com/office/drawing/2014/main" id="{5F2A8B7B-7D62-4750-8662-D2160FE3FCC0}"/>
              </a:ext>
            </a:extLst>
          </p:cNvPr>
          <p:cNvSpPr/>
          <p:nvPr/>
        </p:nvSpPr>
        <p:spPr>
          <a:xfrm>
            <a:off x="7108169" y="4243747"/>
            <a:ext cx="253473" cy="330297"/>
          </a:xfrm>
          <a:custGeom>
            <a:avLst/>
            <a:gdLst>
              <a:gd name="connsiteX0" fmla="*/ 165745 w 178310"/>
              <a:gd name="connsiteY0" fmla="*/ 97278 h 232353"/>
              <a:gd name="connsiteX1" fmla="*/ 137992 w 178310"/>
              <a:gd name="connsiteY1" fmla="*/ 100577 h 232353"/>
              <a:gd name="connsiteX2" fmla="*/ 137992 w 178310"/>
              <a:gd name="connsiteY2" fmla="*/ 41664 h 232353"/>
              <a:gd name="connsiteX3" fmla="*/ 131576 w 178310"/>
              <a:gd name="connsiteY3" fmla="*/ 26182 h 232353"/>
              <a:gd name="connsiteX4" fmla="*/ 116103 w 178310"/>
              <a:gd name="connsiteY4" fmla="*/ 19766 h 232353"/>
              <a:gd name="connsiteX5" fmla="*/ 106596 w 178310"/>
              <a:gd name="connsiteY5" fmla="*/ 21939 h 232353"/>
              <a:gd name="connsiteX6" fmla="*/ 106596 w 178310"/>
              <a:gd name="connsiteY6" fmla="*/ 21897 h 232353"/>
              <a:gd name="connsiteX7" fmla="*/ 100186 w 178310"/>
              <a:gd name="connsiteY7" fmla="*/ 6421 h 232353"/>
              <a:gd name="connsiteX8" fmla="*/ 84698 w 178310"/>
              <a:gd name="connsiteY8" fmla="*/ 0 h 232353"/>
              <a:gd name="connsiteX9" fmla="*/ 62800 w 178310"/>
              <a:gd name="connsiteY9" fmla="*/ 21897 h 232353"/>
              <a:gd name="connsiteX10" fmla="*/ 62800 w 178310"/>
              <a:gd name="connsiteY10" fmla="*/ 26638 h 232353"/>
              <a:gd name="connsiteX11" fmla="*/ 53293 w 178310"/>
              <a:gd name="connsiteY11" fmla="*/ 24483 h 232353"/>
              <a:gd name="connsiteX12" fmla="*/ 31404 w 178310"/>
              <a:gd name="connsiteY12" fmla="*/ 46380 h 232353"/>
              <a:gd name="connsiteX13" fmla="*/ 31404 w 178310"/>
              <a:gd name="connsiteY13" fmla="*/ 58436 h 232353"/>
              <a:gd name="connsiteX14" fmla="*/ 21897 w 178310"/>
              <a:gd name="connsiteY14" fmla="*/ 56275 h 232353"/>
              <a:gd name="connsiteX15" fmla="*/ 0 w 178310"/>
              <a:gd name="connsiteY15" fmla="*/ 78172 h 232353"/>
              <a:gd name="connsiteX16" fmla="*/ 0 w 178310"/>
              <a:gd name="connsiteY16" fmla="*/ 103886 h 232353"/>
              <a:gd name="connsiteX17" fmla="*/ 6195 w 178310"/>
              <a:gd name="connsiteY17" fmla="*/ 110081 h 232353"/>
              <a:gd name="connsiteX18" fmla="*/ 12390 w 178310"/>
              <a:gd name="connsiteY18" fmla="*/ 103886 h 232353"/>
              <a:gd name="connsiteX19" fmla="*/ 12390 w 178310"/>
              <a:gd name="connsiteY19" fmla="*/ 78172 h 232353"/>
              <a:gd name="connsiteX20" fmla="*/ 21897 w 178310"/>
              <a:gd name="connsiteY20" fmla="*/ 68665 h 232353"/>
              <a:gd name="connsiteX21" fmla="*/ 28612 w 178310"/>
              <a:gd name="connsiteY21" fmla="*/ 71445 h 232353"/>
              <a:gd name="connsiteX22" fmla="*/ 31403 w 178310"/>
              <a:gd name="connsiteY22" fmla="*/ 78138 h 232353"/>
              <a:gd name="connsiteX23" fmla="*/ 31401 w 178310"/>
              <a:gd name="connsiteY23" fmla="*/ 78170 h 232353"/>
              <a:gd name="connsiteX24" fmla="*/ 31401 w 178310"/>
              <a:gd name="connsiteY24" fmla="*/ 122161 h 232353"/>
              <a:gd name="connsiteX25" fmla="*/ 37596 w 178310"/>
              <a:gd name="connsiteY25" fmla="*/ 128356 h 232353"/>
              <a:gd name="connsiteX26" fmla="*/ 43791 w 178310"/>
              <a:gd name="connsiteY26" fmla="*/ 122161 h 232353"/>
              <a:gd name="connsiteX27" fmla="*/ 43794 w 178310"/>
              <a:gd name="connsiteY27" fmla="*/ 46379 h 232353"/>
              <a:gd name="connsiteX28" fmla="*/ 53293 w 178310"/>
              <a:gd name="connsiteY28" fmla="*/ 36872 h 232353"/>
              <a:gd name="connsiteX29" fmla="*/ 60016 w 178310"/>
              <a:gd name="connsiteY29" fmla="*/ 39643 h 232353"/>
              <a:gd name="connsiteX30" fmla="*/ 62800 w 178310"/>
              <a:gd name="connsiteY30" fmla="*/ 46379 h 232353"/>
              <a:gd name="connsiteX31" fmla="*/ 62802 w 178310"/>
              <a:gd name="connsiteY31" fmla="*/ 46411 h 232353"/>
              <a:gd name="connsiteX32" fmla="*/ 62802 w 178310"/>
              <a:gd name="connsiteY32" fmla="*/ 121035 h 232353"/>
              <a:gd name="connsiteX33" fmla="*/ 68997 w 178310"/>
              <a:gd name="connsiteY33" fmla="*/ 127230 h 232353"/>
              <a:gd name="connsiteX34" fmla="*/ 75192 w 178310"/>
              <a:gd name="connsiteY34" fmla="*/ 121035 h 232353"/>
              <a:gd name="connsiteX35" fmla="*/ 75190 w 178310"/>
              <a:gd name="connsiteY35" fmla="*/ 21897 h 232353"/>
              <a:gd name="connsiteX36" fmla="*/ 84698 w 178310"/>
              <a:gd name="connsiteY36" fmla="*/ 12390 h 232353"/>
              <a:gd name="connsiteX37" fmla="*/ 91420 w 178310"/>
              <a:gd name="connsiteY37" fmla="*/ 15177 h 232353"/>
              <a:gd name="connsiteX38" fmla="*/ 94206 w 178310"/>
              <a:gd name="connsiteY38" fmla="*/ 21897 h 232353"/>
              <a:gd name="connsiteX39" fmla="*/ 94203 w 178310"/>
              <a:gd name="connsiteY39" fmla="*/ 117450 h 232353"/>
              <a:gd name="connsiteX40" fmla="*/ 100398 w 178310"/>
              <a:gd name="connsiteY40" fmla="*/ 123645 h 232353"/>
              <a:gd name="connsiteX41" fmla="*/ 106593 w 178310"/>
              <a:gd name="connsiteY41" fmla="*/ 117450 h 232353"/>
              <a:gd name="connsiteX42" fmla="*/ 106593 w 178310"/>
              <a:gd name="connsiteY42" fmla="*/ 41712 h 232353"/>
              <a:gd name="connsiteX43" fmla="*/ 106596 w 178310"/>
              <a:gd name="connsiteY43" fmla="*/ 41664 h 232353"/>
              <a:gd name="connsiteX44" fmla="*/ 116103 w 178310"/>
              <a:gd name="connsiteY44" fmla="*/ 32157 h 232353"/>
              <a:gd name="connsiteX45" fmla="*/ 122822 w 178310"/>
              <a:gd name="connsiteY45" fmla="*/ 34950 h 232353"/>
              <a:gd name="connsiteX46" fmla="*/ 125602 w 178310"/>
              <a:gd name="connsiteY46" fmla="*/ 41664 h 232353"/>
              <a:gd name="connsiteX47" fmla="*/ 125602 w 178310"/>
              <a:gd name="connsiteY47" fmla="*/ 124826 h 232353"/>
              <a:gd name="connsiteX48" fmla="*/ 122487 w 178310"/>
              <a:gd name="connsiteY48" fmla="*/ 142297 h 232353"/>
              <a:gd name="connsiteX49" fmla="*/ 81665 w 178310"/>
              <a:gd name="connsiteY49" fmla="*/ 183065 h 232353"/>
              <a:gd name="connsiteX50" fmla="*/ 86982 w 178310"/>
              <a:gd name="connsiteY50" fmla="*/ 190026 h 232353"/>
              <a:gd name="connsiteX51" fmla="*/ 87812 w 178310"/>
              <a:gd name="connsiteY51" fmla="*/ 190082 h 232353"/>
              <a:gd name="connsiteX52" fmla="*/ 93945 w 178310"/>
              <a:gd name="connsiteY52" fmla="*/ 184708 h 232353"/>
              <a:gd name="connsiteX53" fmla="*/ 128788 w 178310"/>
              <a:gd name="connsiteY53" fmla="*/ 154266 h 232353"/>
              <a:gd name="connsiteX54" fmla="*/ 130749 w 178310"/>
              <a:gd name="connsiteY54" fmla="*/ 153948 h 232353"/>
              <a:gd name="connsiteX55" fmla="*/ 134957 w 178310"/>
              <a:gd name="connsiteY55" fmla="*/ 147480 h 232353"/>
              <a:gd name="connsiteX56" fmla="*/ 137601 w 178310"/>
              <a:gd name="connsiteY56" fmla="*/ 128066 h 232353"/>
              <a:gd name="connsiteX57" fmla="*/ 143941 w 178310"/>
              <a:gd name="connsiteY57" fmla="*/ 112759 h 232353"/>
              <a:gd name="connsiteX58" fmla="*/ 159866 w 178310"/>
              <a:gd name="connsiteY58" fmla="*/ 108184 h 232353"/>
              <a:gd name="connsiteX59" fmla="*/ 159951 w 178310"/>
              <a:gd name="connsiteY59" fmla="*/ 108230 h 232353"/>
              <a:gd name="connsiteX60" fmla="*/ 164450 w 178310"/>
              <a:gd name="connsiteY60" fmla="*/ 124141 h 232353"/>
              <a:gd name="connsiteX61" fmla="*/ 159064 w 178310"/>
              <a:gd name="connsiteY61" fmla="*/ 154194 h 232353"/>
              <a:gd name="connsiteX62" fmla="*/ 152676 w 178310"/>
              <a:gd name="connsiteY62" fmla="*/ 188330 h 232353"/>
              <a:gd name="connsiteX63" fmla="*/ 112957 w 178310"/>
              <a:gd name="connsiteY63" fmla="*/ 219963 h 232353"/>
              <a:gd name="connsiteX64" fmla="*/ 66198 w 178310"/>
              <a:gd name="connsiteY64" fmla="*/ 219963 h 232353"/>
              <a:gd name="connsiteX65" fmla="*/ 26828 w 178310"/>
              <a:gd name="connsiteY65" fmla="*/ 198675 h 232353"/>
              <a:gd name="connsiteX66" fmla="*/ 12392 w 178310"/>
              <a:gd name="connsiteY66" fmla="*/ 153157 h 232353"/>
              <a:gd name="connsiteX67" fmla="*/ 12392 w 178310"/>
              <a:gd name="connsiteY67" fmla="*/ 128666 h 232353"/>
              <a:gd name="connsiteX68" fmla="*/ 6197 w 178310"/>
              <a:gd name="connsiteY68" fmla="*/ 122471 h 232353"/>
              <a:gd name="connsiteX69" fmla="*/ 2 w 178310"/>
              <a:gd name="connsiteY69" fmla="*/ 128666 h 232353"/>
              <a:gd name="connsiteX70" fmla="*/ 2 w 178310"/>
              <a:gd name="connsiteY70" fmla="*/ 153157 h 232353"/>
              <a:gd name="connsiteX71" fmla="*/ 16810 w 178310"/>
              <a:gd name="connsiteY71" fmla="*/ 205965 h 232353"/>
              <a:gd name="connsiteX72" fmla="*/ 66198 w 178310"/>
              <a:gd name="connsiteY72" fmla="*/ 232354 h 232353"/>
              <a:gd name="connsiteX73" fmla="*/ 112957 w 178310"/>
              <a:gd name="connsiteY73" fmla="*/ 232354 h 232353"/>
              <a:gd name="connsiteX74" fmla="*/ 164409 w 178310"/>
              <a:gd name="connsiteY74" fmla="*/ 192324 h 232353"/>
              <a:gd name="connsiteX75" fmla="*/ 171454 w 178310"/>
              <a:gd name="connsiteY75" fmla="*/ 154231 h 232353"/>
              <a:gd name="connsiteX76" fmla="*/ 175284 w 178310"/>
              <a:gd name="connsiteY76" fmla="*/ 130155 h 232353"/>
              <a:gd name="connsiteX77" fmla="*/ 165948 w 178310"/>
              <a:gd name="connsiteY77" fmla="*/ 97389 h 232353"/>
              <a:gd name="connsiteX78" fmla="*/ 165745 w 178310"/>
              <a:gd name="connsiteY78" fmla="*/ 97278 h 23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8310" h="232353">
                <a:moveTo>
                  <a:pt x="165745" y="97278"/>
                </a:moveTo>
                <a:cubicBezTo>
                  <a:pt x="156516" y="92239"/>
                  <a:pt x="145388" y="93879"/>
                  <a:pt x="137992" y="100577"/>
                </a:cubicBezTo>
                <a:lnTo>
                  <a:pt x="137992" y="41664"/>
                </a:lnTo>
                <a:cubicBezTo>
                  <a:pt x="137992" y="35805"/>
                  <a:pt x="135711" y="30305"/>
                  <a:pt x="131576" y="26182"/>
                </a:cubicBezTo>
                <a:cubicBezTo>
                  <a:pt x="127440" y="22045"/>
                  <a:pt x="121944" y="19766"/>
                  <a:pt x="116103" y="19766"/>
                </a:cubicBezTo>
                <a:cubicBezTo>
                  <a:pt x="112698" y="19766"/>
                  <a:pt x="109473" y="20547"/>
                  <a:pt x="106596" y="21939"/>
                </a:cubicBezTo>
                <a:lnTo>
                  <a:pt x="106596" y="21897"/>
                </a:lnTo>
                <a:cubicBezTo>
                  <a:pt x="106596" y="16050"/>
                  <a:pt x="104317" y="10552"/>
                  <a:pt x="100186" y="6421"/>
                </a:cubicBezTo>
                <a:cubicBezTo>
                  <a:pt x="96056" y="2281"/>
                  <a:pt x="90556" y="0"/>
                  <a:pt x="84698" y="0"/>
                </a:cubicBezTo>
                <a:cubicBezTo>
                  <a:pt x="72623" y="0"/>
                  <a:pt x="62800" y="9823"/>
                  <a:pt x="62800" y="21897"/>
                </a:cubicBezTo>
                <a:lnTo>
                  <a:pt x="62800" y="26638"/>
                </a:lnTo>
                <a:cubicBezTo>
                  <a:pt x="59872" y="25228"/>
                  <a:pt x="56639" y="24483"/>
                  <a:pt x="53293" y="24483"/>
                </a:cubicBezTo>
                <a:cubicBezTo>
                  <a:pt x="41224" y="24483"/>
                  <a:pt x="31404" y="34305"/>
                  <a:pt x="31404" y="46380"/>
                </a:cubicBezTo>
                <a:lnTo>
                  <a:pt x="31404" y="58436"/>
                </a:lnTo>
                <a:cubicBezTo>
                  <a:pt x="28476" y="57022"/>
                  <a:pt x="25244" y="56275"/>
                  <a:pt x="21897" y="56275"/>
                </a:cubicBezTo>
                <a:cubicBezTo>
                  <a:pt x="9823" y="56275"/>
                  <a:pt x="0" y="66099"/>
                  <a:pt x="0" y="78172"/>
                </a:cubicBezTo>
                <a:lnTo>
                  <a:pt x="0" y="103886"/>
                </a:lnTo>
                <a:cubicBezTo>
                  <a:pt x="0" y="107307"/>
                  <a:pt x="2774" y="110081"/>
                  <a:pt x="6195" y="110081"/>
                </a:cubicBezTo>
                <a:cubicBezTo>
                  <a:pt x="9616" y="110081"/>
                  <a:pt x="12390" y="107307"/>
                  <a:pt x="12390" y="103886"/>
                </a:cubicBezTo>
                <a:lnTo>
                  <a:pt x="12390" y="78172"/>
                </a:lnTo>
                <a:cubicBezTo>
                  <a:pt x="12390" y="72930"/>
                  <a:pt x="16655" y="68665"/>
                  <a:pt x="21897" y="68665"/>
                </a:cubicBezTo>
                <a:cubicBezTo>
                  <a:pt x="24435" y="68665"/>
                  <a:pt x="26821" y="69655"/>
                  <a:pt x="28612" y="71445"/>
                </a:cubicBezTo>
                <a:cubicBezTo>
                  <a:pt x="30405" y="73243"/>
                  <a:pt x="31394" y="75619"/>
                  <a:pt x="31403" y="78138"/>
                </a:cubicBezTo>
                <a:cubicBezTo>
                  <a:pt x="31403" y="78149"/>
                  <a:pt x="31401" y="78159"/>
                  <a:pt x="31401" y="78170"/>
                </a:cubicBezTo>
                <a:lnTo>
                  <a:pt x="31401" y="122161"/>
                </a:lnTo>
                <a:cubicBezTo>
                  <a:pt x="31401" y="125582"/>
                  <a:pt x="34175" y="128356"/>
                  <a:pt x="37596" y="128356"/>
                </a:cubicBezTo>
                <a:cubicBezTo>
                  <a:pt x="41017" y="128356"/>
                  <a:pt x="43791" y="125582"/>
                  <a:pt x="43791" y="122161"/>
                </a:cubicBezTo>
                <a:lnTo>
                  <a:pt x="43794" y="46379"/>
                </a:lnTo>
                <a:cubicBezTo>
                  <a:pt x="43794" y="41136"/>
                  <a:pt x="48056" y="36872"/>
                  <a:pt x="53293" y="36872"/>
                </a:cubicBezTo>
                <a:cubicBezTo>
                  <a:pt x="55837" y="36872"/>
                  <a:pt x="58228" y="37860"/>
                  <a:pt x="60016" y="39643"/>
                </a:cubicBezTo>
                <a:cubicBezTo>
                  <a:pt x="61812" y="41444"/>
                  <a:pt x="62800" y="43836"/>
                  <a:pt x="62800" y="46379"/>
                </a:cubicBezTo>
                <a:cubicBezTo>
                  <a:pt x="62800" y="46390"/>
                  <a:pt x="62802" y="46400"/>
                  <a:pt x="62802" y="46411"/>
                </a:cubicBezTo>
                <a:lnTo>
                  <a:pt x="62802" y="121035"/>
                </a:lnTo>
                <a:cubicBezTo>
                  <a:pt x="62802" y="124456"/>
                  <a:pt x="65576" y="127230"/>
                  <a:pt x="68997" y="127230"/>
                </a:cubicBezTo>
                <a:cubicBezTo>
                  <a:pt x="72418" y="127230"/>
                  <a:pt x="75192" y="124456"/>
                  <a:pt x="75192" y="121035"/>
                </a:cubicBezTo>
                <a:lnTo>
                  <a:pt x="75190" y="21897"/>
                </a:lnTo>
                <a:cubicBezTo>
                  <a:pt x="75190" y="16655"/>
                  <a:pt x="79455" y="12390"/>
                  <a:pt x="84698" y="12390"/>
                </a:cubicBezTo>
                <a:cubicBezTo>
                  <a:pt x="87240" y="12390"/>
                  <a:pt x="89625" y="13377"/>
                  <a:pt x="91420" y="15177"/>
                </a:cubicBezTo>
                <a:cubicBezTo>
                  <a:pt x="93216" y="16973"/>
                  <a:pt x="94206" y="19360"/>
                  <a:pt x="94206" y="21897"/>
                </a:cubicBezTo>
                <a:lnTo>
                  <a:pt x="94203" y="117450"/>
                </a:lnTo>
                <a:cubicBezTo>
                  <a:pt x="94203" y="120871"/>
                  <a:pt x="96976" y="123645"/>
                  <a:pt x="100398" y="123645"/>
                </a:cubicBezTo>
                <a:cubicBezTo>
                  <a:pt x="103820" y="123645"/>
                  <a:pt x="106593" y="120871"/>
                  <a:pt x="106593" y="117450"/>
                </a:cubicBezTo>
                <a:lnTo>
                  <a:pt x="106593" y="41712"/>
                </a:lnTo>
                <a:cubicBezTo>
                  <a:pt x="106593" y="41695"/>
                  <a:pt x="106596" y="41680"/>
                  <a:pt x="106596" y="41664"/>
                </a:cubicBezTo>
                <a:cubicBezTo>
                  <a:pt x="106596" y="36421"/>
                  <a:pt x="110860" y="32157"/>
                  <a:pt x="116103" y="32157"/>
                </a:cubicBezTo>
                <a:cubicBezTo>
                  <a:pt x="118635" y="32157"/>
                  <a:pt x="121018" y="33146"/>
                  <a:pt x="122822" y="34950"/>
                </a:cubicBezTo>
                <a:cubicBezTo>
                  <a:pt x="124615" y="36737"/>
                  <a:pt x="125602" y="39122"/>
                  <a:pt x="125602" y="41664"/>
                </a:cubicBezTo>
                <a:lnTo>
                  <a:pt x="125602" y="124826"/>
                </a:lnTo>
                <a:cubicBezTo>
                  <a:pt x="123329" y="131367"/>
                  <a:pt x="122637" y="137763"/>
                  <a:pt x="122487" y="142297"/>
                </a:cubicBezTo>
                <a:cubicBezTo>
                  <a:pt x="101563" y="145104"/>
                  <a:pt x="84524" y="161693"/>
                  <a:pt x="81665" y="183065"/>
                </a:cubicBezTo>
                <a:cubicBezTo>
                  <a:pt x="81211" y="186455"/>
                  <a:pt x="83592" y="189573"/>
                  <a:pt x="86982" y="190026"/>
                </a:cubicBezTo>
                <a:cubicBezTo>
                  <a:pt x="87262" y="190063"/>
                  <a:pt x="87538" y="190082"/>
                  <a:pt x="87812" y="190082"/>
                </a:cubicBezTo>
                <a:cubicBezTo>
                  <a:pt x="90868" y="190082"/>
                  <a:pt x="93528" y="187820"/>
                  <a:pt x="93945" y="184708"/>
                </a:cubicBezTo>
                <a:cubicBezTo>
                  <a:pt x="96267" y="167353"/>
                  <a:pt x="111246" y="154266"/>
                  <a:pt x="128788" y="154266"/>
                </a:cubicBezTo>
                <a:cubicBezTo>
                  <a:pt x="129453" y="154266"/>
                  <a:pt x="130118" y="154158"/>
                  <a:pt x="130749" y="153948"/>
                </a:cubicBezTo>
                <a:cubicBezTo>
                  <a:pt x="133484" y="153036"/>
                  <a:pt x="135227" y="150349"/>
                  <a:pt x="134957" y="147480"/>
                </a:cubicBezTo>
                <a:cubicBezTo>
                  <a:pt x="134947" y="147381"/>
                  <a:pt x="134067" y="137504"/>
                  <a:pt x="137601" y="128066"/>
                </a:cubicBezTo>
                <a:cubicBezTo>
                  <a:pt x="137636" y="127974"/>
                  <a:pt x="141872" y="116484"/>
                  <a:pt x="143941" y="112759"/>
                </a:cubicBezTo>
                <a:cubicBezTo>
                  <a:pt x="147066" y="107110"/>
                  <a:pt x="154209" y="105057"/>
                  <a:pt x="159866" y="108184"/>
                </a:cubicBezTo>
                <a:cubicBezTo>
                  <a:pt x="159894" y="108200"/>
                  <a:pt x="159922" y="108215"/>
                  <a:pt x="159951" y="108230"/>
                </a:cubicBezTo>
                <a:cubicBezTo>
                  <a:pt x="165556" y="111392"/>
                  <a:pt x="167576" y="118511"/>
                  <a:pt x="164450" y="124141"/>
                </a:cubicBezTo>
                <a:cubicBezTo>
                  <a:pt x="159214" y="133578"/>
                  <a:pt x="159064" y="152144"/>
                  <a:pt x="159064" y="154194"/>
                </a:cubicBezTo>
                <a:cubicBezTo>
                  <a:pt x="159063" y="154366"/>
                  <a:pt x="158876" y="171563"/>
                  <a:pt x="152676" y="188330"/>
                </a:cubicBezTo>
                <a:cubicBezTo>
                  <a:pt x="144914" y="209320"/>
                  <a:pt x="131551" y="219963"/>
                  <a:pt x="112957" y="219963"/>
                </a:cubicBezTo>
                <a:lnTo>
                  <a:pt x="66198" y="219963"/>
                </a:lnTo>
                <a:cubicBezTo>
                  <a:pt x="46460" y="219963"/>
                  <a:pt x="33894" y="208386"/>
                  <a:pt x="26828" y="198675"/>
                </a:cubicBezTo>
                <a:cubicBezTo>
                  <a:pt x="17789" y="186251"/>
                  <a:pt x="12392" y="169234"/>
                  <a:pt x="12392" y="153157"/>
                </a:cubicBezTo>
                <a:lnTo>
                  <a:pt x="12392" y="128666"/>
                </a:lnTo>
                <a:cubicBezTo>
                  <a:pt x="12392" y="125245"/>
                  <a:pt x="9619" y="122471"/>
                  <a:pt x="6197" y="122471"/>
                </a:cubicBezTo>
                <a:cubicBezTo>
                  <a:pt x="2776" y="122471"/>
                  <a:pt x="2" y="125245"/>
                  <a:pt x="2" y="128666"/>
                </a:cubicBezTo>
                <a:lnTo>
                  <a:pt x="2" y="153157"/>
                </a:lnTo>
                <a:cubicBezTo>
                  <a:pt x="2" y="172036"/>
                  <a:pt x="6129" y="191284"/>
                  <a:pt x="16810" y="205965"/>
                </a:cubicBezTo>
                <a:cubicBezTo>
                  <a:pt x="29191" y="222982"/>
                  <a:pt x="46731" y="232354"/>
                  <a:pt x="66198" y="232354"/>
                </a:cubicBezTo>
                <a:lnTo>
                  <a:pt x="112957" y="232354"/>
                </a:lnTo>
                <a:cubicBezTo>
                  <a:pt x="137032" y="232354"/>
                  <a:pt x="154825" y="218511"/>
                  <a:pt x="164409" y="192324"/>
                </a:cubicBezTo>
                <a:cubicBezTo>
                  <a:pt x="171283" y="173542"/>
                  <a:pt x="171450" y="155039"/>
                  <a:pt x="171454" y="154231"/>
                </a:cubicBezTo>
                <a:cubicBezTo>
                  <a:pt x="171454" y="147591"/>
                  <a:pt x="172494" y="135183"/>
                  <a:pt x="175284" y="130155"/>
                </a:cubicBezTo>
                <a:cubicBezTo>
                  <a:pt x="181729" y="118550"/>
                  <a:pt x="177540" y="103862"/>
                  <a:pt x="165948" y="97389"/>
                </a:cubicBezTo>
                <a:cubicBezTo>
                  <a:pt x="165881" y="97350"/>
                  <a:pt x="165814" y="97313"/>
                  <a:pt x="165745" y="97278"/>
                </a:cubicBezTo>
                <a:close/>
              </a:path>
            </a:pathLst>
          </a:custGeom>
          <a:solidFill>
            <a:srgbClr val="000000"/>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el 2">
            <a:extLst>
              <a:ext uri="{FF2B5EF4-FFF2-40B4-BE49-F238E27FC236}">
                <a16:creationId xmlns:a16="http://schemas.microsoft.com/office/drawing/2014/main" id="{61F8635A-B9FA-451D-95E0-C967A6B498C3}"/>
              </a:ext>
            </a:extLst>
          </p:cNvPr>
          <p:cNvSpPr>
            <a:spLocks noGrp="1"/>
          </p:cNvSpPr>
          <p:nvPr>
            <p:ph type="title"/>
          </p:nvPr>
        </p:nvSpPr>
        <p:spPr>
          <a:xfrm>
            <a:off x="361548" y="2616040"/>
            <a:ext cx="5602467" cy="1325563"/>
          </a:xfrm>
        </p:spPr>
        <p:txBody>
          <a:bodyPr/>
          <a:lstStyle/>
          <a:p>
            <a:r>
              <a:rPr lang="de-DE" b="1">
                <a:latin typeface="Segoe"/>
              </a:rPr>
              <a:t>Key Actions</a:t>
            </a:r>
            <a:endParaRPr lang="en-US" b="1">
              <a:latin typeface="Segoe"/>
            </a:endParaRPr>
          </a:p>
        </p:txBody>
      </p:sp>
      <p:sp>
        <p:nvSpPr>
          <p:cNvPr id="2" name="Graphic 26">
            <a:extLst>
              <a:ext uri="{FF2B5EF4-FFF2-40B4-BE49-F238E27FC236}">
                <a16:creationId xmlns:a16="http://schemas.microsoft.com/office/drawing/2014/main" id="{DF55FD30-4DA4-44C0-B10B-EA3BA36F5465}"/>
              </a:ext>
            </a:extLst>
          </p:cNvPr>
          <p:cNvSpPr/>
          <p:nvPr/>
        </p:nvSpPr>
        <p:spPr>
          <a:xfrm>
            <a:off x="6687913" y="5842506"/>
            <a:ext cx="4266949" cy="348843"/>
          </a:xfrm>
          <a:custGeom>
            <a:avLst/>
            <a:gdLst>
              <a:gd name="connsiteX0" fmla="*/ 235306 w 3230755"/>
              <a:gd name="connsiteY0" fmla="*/ 0 h 368331"/>
              <a:gd name="connsiteX1" fmla="*/ 3230756 w 3230755"/>
              <a:gd name="connsiteY1" fmla="*/ 0 h 368331"/>
              <a:gd name="connsiteX2" fmla="*/ 3103088 w 3230755"/>
              <a:gd name="connsiteY2" fmla="*/ 368332 h 368331"/>
              <a:gd name="connsiteX3" fmla="*/ 0 w 3230755"/>
              <a:gd name="connsiteY3" fmla="*/ 368332 h 368331"/>
            </a:gdLst>
            <a:ahLst/>
            <a:cxnLst>
              <a:cxn ang="0">
                <a:pos x="connsiteX0" y="connsiteY0"/>
              </a:cxn>
              <a:cxn ang="0">
                <a:pos x="connsiteX1" y="connsiteY1"/>
              </a:cxn>
              <a:cxn ang="0">
                <a:pos x="connsiteX2" y="connsiteY2"/>
              </a:cxn>
              <a:cxn ang="0">
                <a:pos x="connsiteX3" y="connsiteY3"/>
              </a:cxn>
            </a:cxnLst>
            <a:rect l="l" t="t" r="r" b="b"/>
            <a:pathLst>
              <a:path w="3230755" h="368331">
                <a:moveTo>
                  <a:pt x="235306" y="0"/>
                </a:moveTo>
                <a:lnTo>
                  <a:pt x="3230756" y="0"/>
                </a:lnTo>
                <a:lnTo>
                  <a:pt x="3103088" y="368332"/>
                </a:lnTo>
                <a:lnTo>
                  <a:pt x="0" y="368332"/>
                </a:lnTo>
                <a:close/>
              </a:path>
            </a:pathLst>
          </a:custGeom>
          <a:gradFill flip="none" rotWithShape="1">
            <a:gsLst>
              <a:gs pos="100000">
                <a:srgbClr val="EAEAEA"/>
              </a:gs>
              <a:gs pos="0">
                <a:srgbClr val="FFFFFF">
                  <a:alpha val="0"/>
                </a:srgbClr>
              </a:gs>
            </a:gsLst>
            <a:lin ang="16200000" scaled="1"/>
            <a:tileRect/>
          </a:gradFill>
          <a:ln w="76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Graphic 33">
            <a:extLst>
              <a:ext uri="{FF2B5EF4-FFF2-40B4-BE49-F238E27FC236}">
                <a16:creationId xmlns:a16="http://schemas.microsoft.com/office/drawing/2014/main" id="{53176C1B-C545-45F6-921D-FB339CD899E6}"/>
              </a:ext>
            </a:extLst>
          </p:cNvPr>
          <p:cNvSpPr/>
          <p:nvPr/>
        </p:nvSpPr>
        <p:spPr>
          <a:xfrm>
            <a:off x="6985269" y="516902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Graphic 33">
            <a:extLst>
              <a:ext uri="{FF2B5EF4-FFF2-40B4-BE49-F238E27FC236}">
                <a16:creationId xmlns:a16="http://schemas.microsoft.com/office/drawing/2014/main" id="{85A6EF6E-8B5D-4F94-B761-265A27BFFDAE}"/>
              </a:ext>
            </a:extLst>
          </p:cNvPr>
          <p:cNvSpPr/>
          <p:nvPr/>
        </p:nvSpPr>
        <p:spPr>
          <a:xfrm>
            <a:off x="6299257" y="6077105"/>
            <a:ext cx="440577" cy="665690"/>
          </a:xfrm>
          <a:custGeom>
            <a:avLst/>
            <a:gdLst>
              <a:gd name="connsiteX0" fmla="*/ 267760 w 465190"/>
              <a:gd name="connsiteY0" fmla="*/ 0 h 702879"/>
              <a:gd name="connsiteX1" fmla="*/ 465191 w 465190"/>
              <a:gd name="connsiteY1" fmla="*/ 210823 h 702879"/>
              <a:gd name="connsiteX2" fmla="*/ 267760 w 465190"/>
              <a:gd name="connsiteY2" fmla="*/ 702880 h 702879"/>
              <a:gd name="connsiteX3" fmla="*/ 0 w 465190"/>
              <a:gd name="connsiteY3" fmla="*/ 702880 h 702879"/>
            </a:gdLst>
            <a:ahLst/>
            <a:cxnLst>
              <a:cxn ang="0">
                <a:pos x="connsiteX0" y="connsiteY0"/>
              </a:cxn>
              <a:cxn ang="0">
                <a:pos x="connsiteX1" y="connsiteY1"/>
              </a:cxn>
              <a:cxn ang="0">
                <a:pos x="connsiteX2" y="connsiteY2"/>
              </a:cxn>
              <a:cxn ang="0">
                <a:pos x="connsiteX3" y="connsiteY3"/>
              </a:cxn>
            </a:cxnLst>
            <a:rect l="l" t="t" r="r" b="b"/>
            <a:pathLst>
              <a:path w="465190" h="702879">
                <a:moveTo>
                  <a:pt x="267760" y="0"/>
                </a:moveTo>
                <a:lnTo>
                  <a:pt x="465191" y="210823"/>
                </a:lnTo>
                <a:lnTo>
                  <a:pt x="267760" y="702880"/>
                </a:lnTo>
                <a:lnTo>
                  <a:pt x="0" y="702880"/>
                </a:lnTo>
                <a:close/>
              </a:path>
            </a:pathLst>
          </a:custGeom>
          <a:gradFill flip="none" rotWithShape="1">
            <a:gsLst>
              <a:gs pos="100000">
                <a:schemeClr val="bg1">
                  <a:lumMod val="75000"/>
                </a:schemeClr>
              </a:gs>
              <a:gs pos="0">
                <a:srgbClr val="FFFFFF">
                  <a:alpha val="0"/>
                </a:srgbClr>
              </a:gs>
            </a:gsLst>
            <a:lin ang="12000000" scaled="0"/>
            <a:tileRect/>
          </a:gradFill>
          <a:ln w="8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8">
            <a:extLst>
              <a:ext uri="{FF2B5EF4-FFF2-40B4-BE49-F238E27FC236}">
                <a16:creationId xmlns:a16="http://schemas.microsoft.com/office/drawing/2014/main" id="{3B32F911-C6D8-4A05-B57E-264150998ED8}"/>
              </a:ext>
            </a:extLst>
          </p:cNvPr>
          <p:cNvSpPr txBox="1"/>
          <p:nvPr/>
        </p:nvSpPr>
        <p:spPr>
          <a:xfrm>
            <a:off x="6926570" y="5179621"/>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6</a:t>
            </a:r>
          </a:p>
        </p:txBody>
      </p:sp>
      <p:pic>
        <p:nvPicPr>
          <p:cNvPr id="8" name="Graphic 32">
            <a:extLst>
              <a:ext uri="{FF2B5EF4-FFF2-40B4-BE49-F238E27FC236}">
                <a16:creationId xmlns:a16="http://schemas.microsoft.com/office/drawing/2014/main" id="{222B0B2E-7E73-4D96-B0EB-E9C4AFE2E9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2520" y="5077444"/>
            <a:ext cx="636591" cy="753041"/>
          </a:xfrm>
          <a:prstGeom prst="rect">
            <a:avLst/>
          </a:prstGeom>
        </p:spPr>
      </p:pic>
      <p:sp>
        <p:nvSpPr>
          <p:cNvPr id="11" name="TextBox 33">
            <a:extLst>
              <a:ext uri="{FF2B5EF4-FFF2-40B4-BE49-F238E27FC236}">
                <a16:creationId xmlns:a16="http://schemas.microsoft.com/office/drawing/2014/main" id="{AB82E4E2-510A-48DB-A138-58A6D7AFCB85}"/>
              </a:ext>
            </a:extLst>
          </p:cNvPr>
          <p:cNvSpPr txBox="1"/>
          <p:nvPr/>
        </p:nvSpPr>
        <p:spPr>
          <a:xfrm>
            <a:off x="6237152" y="6090676"/>
            <a:ext cx="62068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300" normalizeH="0" baseline="0" noProof="0">
                <a:ln>
                  <a:solidFill>
                    <a:prstClr val="black">
                      <a:lumMod val="75000"/>
                      <a:lumOff val="25000"/>
                    </a:prstClr>
                  </a:solidFill>
                </a:ln>
                <a:noFill/>
                <a:effectLst/>
                <a:uLnTx/>
                <a:uFillTx/>
                <a:latin typeface="Arial" panose="020B0604020202020204" pitchFamily="34" charset="0"/>
                <a:ea typeface="+mn-ea"/>
                <a:cs typeface="Arial" panose="020B0604020202020204" pitchFamily="34" charset="0"/>
              </a:rPr>
              <a:t>07</a:t>
            </a:r>
          </a:p>
        </p:txBody>
      </p:sp>
      <p:pic>
        <p:nvPicPr>
          <p:cNvPr id="12" name="Graphic 35">
            <a:extLst>
              <a:ext uri="{FF2B5EF4-FFF2-40B4-BE49-F238E27FC236}">
                <a16:creationId xmlns:a16="http://schemas.microsoft.com/office/drawing/2014/main" id="{1F50829A-D32F-49BC-AECF-838A87EB7C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17796" y="5985417"/>
            <a:ext cx="636591" cy="753041"/>
          </a:xfrm>
          <a:prstGeom prst="rect">
            <a:avLst/>
          </a:prstGeom>
        </p:spPr>
      </p:pic>
      <p:sp>
        <p:nvSpPr>
          <p:cNvPr id="15" name="Rectangle 15">
            <a:extLst>
              <a:ext uri="{FF2B5EF4-FFF2-40B4-BE49-F238E27FC236}">
                <a16:creationId xmlns:a16="http://schemas.microsoft.com/office/drawing/2014/main" id="{C262CAE3-3354-4E4D-BF41-88B46E9BF0E1}"/>
              </a:ext>
            </a:extLst>
          </p:cNvPr>
          <p:cNvSpPr/>
          <p:nvPr/>
        </p:nvSpPr>
        <p:spPr>
          <a:xfrm>
            <a:off x="7580912" y="5386168"/>
            <a:ext cx="3698000"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valuate the existing processes and policies you can immediately adopt for Power BI for consistency. </a:t>
            </a:r>
            <a:endParaRPr kumimoji="0" lang="en-IN"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7" name="Rectangle 59">
            <a:extLst>
              <a:ext uri="{FF2B5EF4-FFF2-40B4-BE49-F238E27FC236}">
                <a16:creationId xmlns:a16="http://schemas.microsoft.com/office/drawing/2014/main" id="{9AD59481-9135-42A8-80D2-CD499194476E}"/>
              </a:ext>
            </a:extLst>
          </p:cNvPr>
          <p:cNvSpPr/>
          <p:nvPr/>
        </p:nvSpPr>
        <p:spPr>
          <a:xfrm>
            <a:off x="6873743" y="6279145"/>
            <a:ext cx="4081119"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termine how conflicts, issues, and requests for exceptions to documented policies will be handled.</a:t>
            </a:r>
          </a:p>
        </p:txBody>
      </p:sp>
      <p:pic>
        <p:nvPicPr>
          <p:cNvPr id="19" name="Graphic 17">
            <a:extLst>
              <a:ext uri="{FF2B5EF4-FFF2-40B4-BE49-F238E27FC236}">
                <a16:creationId xmlns:a16="http://schemas.microsoft.com/office/drawing/2014/main" id="{462DBC3D-B6FF-4E49-82C0-686B3DBB61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89052" y="5212871"/>
            <a:ext cx="351558" cy="351558"/>
          </a:xfrm>
          <a:prstGeom prst="rect">
            <a:avLst/>
          </a:prstGeom>
        </p:spPr>
      </p:pic>
      <p:pic>
        <p:nvPicPr>
          <p:cNvPr id="20" name="Graphic 20">
            <a:extLst>
              <a:ext uri="{FF2B5EF4-FFF2-40B4-BE49-F238E27FC236}">
                <a16:creationId xmlns:a16="http://schemas.microsoft.com/office/drawing/2014/main" id="{0B84C9C9-7CE9-4BA5-8F20-D6E588E4E2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59274" y="6200117"/>
            <a:ext cx="277196" cy="277194"/>
          </a:xfrm>
          <a:prstGeom prst="rect">
            <a:avLst/>
          </a:prstGeom>
        </p:spPr>
      </p:pic>
    </p:spTree>
    <p:extLst>
      <p:ext uri="{BB962C8B-B14F-4D97-AF65-F5344CB8AC3E}">
        <p14:creationId xmlns:p14="http://schemas.microsoft.com/office/powerpoint/2010/main" val="19706298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AA89E-F3F1-40F7-AF7C-CA8848C9684E}"/>
              </a:ext>
            </a:extLst>
          </p:cNvPr>
          <p:cNvSpPr>
            <a:spLocks noGrp="1"/>
          </p:cNvSpPr>
          <p:nvPr>
            <p:ph type="title"/>
          </p:nvPr>
        </p:nvSpPr>
        <p:spPr/>
        <p:txBody>
          <a:bodyPr/>
          <a:lstStyle/>
          <a:p>
            <a:r>
              <a:rPr lang="de-DE" err="1"/>
              <a:t>Considerations</a:t>
            </a:r>
            <a:r>
              <a:rPr lang="de-DE"/>
              <a:t> &amp; Key Actions</a:t>
            </a:r>
            <a:endParaRPr lang="en-US"/>
          </a:p>
        </p:txBody>
      </p:sp>
      <p:sp>
        <p:nvSpPr>
          <p:cNvPr id="3" name="Textplatzhalter 2">
            <a:extLst>
              <a:ext uri="{FF2B5EF4-FFF2-40B4-BE49-F238E27FC236}">
                <a16:creationId xmlns:a16="http://schemas.microsoft.com/office/drawing/2014/main" id="{BE7A0B2E-C900-4579-B2CF-ECE492479E6D}"/>
              </a:ext>
            </a:extLst>
          </p:cNvPr>
          <p:cNvSpPr>
            <a:spLocks noGrp="1"/>
          </p:cNvSpPr>
          <p:nvPr>
            <p:ph type="body" sz="quarter" idx="10"/>
          </p:nvPr>
        </p:nvSpPr>
        <p:spPr>
          <a:xfrm>
            <a:off x="5552316" y="477520"/>
            <a:ext cx="6400800" cy="6097054"/>
          </a:xfrm>
        </p:spPr>
        <p:txBody>
          <a:bodyPr/>
          <a:lstStyle/>
          <a:p>
            <a:pPr marL="285750" indent="-285750">
              <a:buFont typeface="Arial" panose="020B0604020202020204" pitchFamily="34" charset="0"/>
              <a:buChar char="•"/>
            </a:pPr>
            <a:r>
              <a:rPr lang="en-US" sz="1600"/>
              <a:t>Document and communicate goals and guiding principles of data culture goal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Ensure understanding of how Power BI is currently used</a:t>
            </a:r>
          </a:p>
          <a:p>
            <a:endParaRPr lang="en-US" sz="1600"/>
          </a:p>
          <a:p>
            <a:pPr marL="285750" indent="-285750">
              <a:buFont typeface="Arial" panose="020B0604020202020204" pitchFamily="34" charset="0"/>
              <a:buChar char="•"/>
            </a:pPr>
            <a:r>
              <a:rPr lang="en-US" sz="1600"/>
              <a:t>Select an important pain point, high priority need, or known risk for a data domain for prioritizing which new guidelines or policies to create</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Determine if there is an inventory of all critical data assets or create one if necessary</a:t>
            </a:r>
          </a:p>
          <a:p>
            <a:endParaRPr lang="en-US" sz="1600"/>
          </a:p>
          <a:p>
            <a:pPr marL="285750" indent="-285750">
              <a:buFont typeface="Arial" panose="020B0604020202020204" pitchFamily="34" charset="0"/>
              <a:buChar char="•"/>
            </a:pPr>
            <a:r>
              <a:rPr lang="en-US" sz="1600"/>
              <a:t>Confirm that you have support and sufficient attention from your executive sponsor, as well as from business unit leaders</a:t>
            </a:r>
          </a:p>
          <a:p>
            <a:endParaRPr lang="en-US" sz="1600"/>
          </a:p>
          <a:p>
            <a:pPr marL="285750" indent="-285750">
              <a:buFont typeface="Arial" panose="020B0604020202020204" pitchFamily="34" charset="0"/>
              <a:buChar char="•"/>
            </a:pPr>
            <a:r>
              <a:rPr lang="en-US" sz="1600"/>
              <a:t>Evaluate the existing processes and policies you can immediately adopt for Power BI for consistency</a:t>
            </a:r>
          </a:p>
          <a:p>
            <a:endParaRPr lang="en-US" sz="1600"/>
          </a:p>
          <a:p>
            <a:pPr marL="285750" indent="-285750">
              <a:buFont typeface="Arial" panose="020B0604020202020204" pitchFamily="34" charset="0"/>
              <a:buChar char="•"/>
            </a:pPr>
            <a:r>
              <a:rPr lang="en-US" sz="1600"/>
              <a:t>Determine the cadence for how often data policies are reevaluated</a:t>
            </a:r>
          </a:p>
          <a:p>
            <a:endParaRPr lang="en-US" sz="1600"/>
          </a:p>
          <a:p>
            <a:pPr marL="285750" indent="-285750">
              <a:buFont typeface="Arial" panose="020B0604020202020204" pitchFamily="34" charset="0"/>
              <a:buChar char="•"/>
            </a:pPr>
            <a:r>
              <a:rPr lang="en-US" sz="1600"/>
              <a:t>Determine how conflicts, issues, and requests for exceptions to documented policies will be handled</a:t>
            </a:r>
          </a:p>
          <a:p>
            <a:endParaRPr lang="en-US" sz="1400"/>
          </a:p>
        </p:txBody>
      </p:sp>
    </p:spTree>
    <p:extLst>
      <p:ext uri="{BB962C8B-B14F-4D97-AF65-F5344CB8AC3E}">
        <p14:creationId xmlns:p14="http://schemas.microsoft.com/office/powerpoint/2010/main" val="3381501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C84EA5-4A8B-457E-9D0D-88E3AAC4D753}"/>
              </a:ext>
            </a:extLst>
          </p:cNvPr>
          <p:cNvSpPr>
            <a:spLocks noGrp="1"/>
          </p:cNvSpPr>
          <p:nvPr>
            <p:ph type="title"/>
          </p:nvPr>
        </p:nvSpPr>
        <p:spPr>
          <a:xfrm>
            <a:off x="165100" y="2249714"/>
            <a:ext cx="3888740" cy="2358572"/>
          </a:xfrm>
        </p:spPr>
        <p:txBody>
          <a:bodyPr/>
          <a:lstStyle/>
          <a:p>
            <a:r>
              <a:rPr lang="de-DE"/>
              <a:t>Action Plan</a:t>
            </a:r>
            <a:endParaRPr lang="en-US"/>
          </a:p>
        </p:txBody>
      </p:sp>
      <p:sp>
        <p:nvSpPr>
          <p:cNvPr id="3" name="Textplatzhalter 2">
            <a:extLst>
              <a:ext uri="{FF2B5EF4-FFF2-40B4-BE49-F238E27FC236}">
                <a16:creationId xmlns:a16="http://schemas.microsoft.com/office/drawing/2014/main" id="{9D9B07FD-D35E-4649-8E36-7E0D5ACD9DEF}"/>
              </a:ext>
            </a:extLst>
          </p:cNvPr>
          <p:cNvSpPr>
            <a:spLocks noGrp="1"/>
          </p:cNvSpPr>
          <p:nvPr>
            <p:ph type="body" sz="quarter" idx="10"/>
          </p:nvPr>
        </p:nvSpPr>
        <p:spPr>
          <a:xfrm>
            <a:off x="4655996" y="1272495"/>
            <a:ext cx="7292164" cy="4573560"/>
          </a:xfrm>
        </p:spPr>
        <p:txBody>
          <a:bodyPr/>
          <a:lstStyle/>
          <a:p>
            <a:r>
              <a:rPr lang="en-US" sz="2000" b="1"/>
              <a:t>Initial priorities: </a:t>
            </a:r>
          </a:p>
          <a:p>
            <a:r>
              <a:rPr lang="en-US" sz="2000"/>
              <a:t>Select one data domain or business unit at a time.</a:t>
            </a:r>
          </a:p>
          <a:p>
            <a:endParaRPr lang="en-US" sz="2000"/>
          </a:p>
          <a:p>
            <a:r>
              <a:rPr lang="en-US" sz="2000" b="1"/>
              <a:t>Timeline: </a:t>
            </a:r>
          </a:p>
          <a:p>
            <a:r>
              <a:rPr lang="en-US" sz="2000"/>
              <a:t>Work in iterations long enough to accomplish meaningful progress, yet short enough to periodically adjust.</a:t>
            </a:r>
          </a:p>
          <a:p>
            <a:endParaRPr lang="en-US" sz="2000"/>
          </a:p>
          <a:p>
            <a:r>
              <a:rPr lang="en-US" sz="2000" b="1"/>
              <a:t>Quick wins: </a:t>
            </a:r>
          </a:p>
          <a:p>
            <a:r>
              <a:rPr lang="en-US" sz="2000"/>
              <a:t>Focus on tangible, tactical, and incremental progress.</a:t>
            </a:r>
          </a:p>
          <a:p>
            <a:endParaRPr lang="en-US" sz="2000"/>
          </a:p>
          <a:p>
            <a:r>
              <a:rPr lang="en-US" sz="2000" b="1"/>
              <a:t>Success metrics: </a:t>
            </a:r>
          </a:p>
          <a:p>
            <a:r>
              <a:rPr lang="en-US" sz="2000"/>
              <a:t>Create measurable metrics to evaluate progress.</a:t>
            </a:r>
          </a:p>
          <a:p>
            <a:endParaRPr lang="en-US" sz="2000"/>
          </a:p>
        </p:txBody>
      </p:sp>
    </p:spTree>
    <p:extLst>
      <p:ext uri="{BB962C8B-B14F-4D97-AF65-F5344CB8AC3E}">
        <p14:creationId xmlns:p14="http://schemas.microsoft.com/office/powerpoint/2010/main" val="40625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0.xml><?xml version="1.0" encoding="utf-8"?>
<p:tagLst xmlns:a="http://schemas.openxmlformats.org/drawingml/2006/main" xmlns:r="http://schemas.openxmlformats.org/officeDocument/2006/relationships" xmlns:p="http://schemas.openxmlformats.org/presentationml/2006/main">
  <p:tag name="TIMING" val="|1.4|120.9"/>
</p:tagLst>
</file>

<file path=ppt/tags/tag101.xml><?xml version="1.0" encoding="utf-8"?>
<p:tagLst xmlns:a="http://schemas.openxmlformats.org/drawingml/2006/main" xmlns:r="http://schemas.openxmlformats.org/officeDocument/2006/relationships" xmlns:p="http://schemas.openxmlformats.org/presentationml/2006/main">
  <p:tag name="TIMING" val="|1.4|120.9"/>
</p:tagLst>
</file>

<file path=ppt/tags/tag102.xml><?xml version="1.0" encoding="utf-8"?>
<p:tagLst xmlns:a="http://schemas.openxmlformats.org/drawingml/2006/main" xmlns:r="http://schemas.openxmlformats.org/officeDocument/2006/relationships" xmlns:p="http://schemas.openxmlformats.org/presentationml/2006/main">
  <p:tag name="TIMING" val="|1.4|120.9"/>
</p:tagLst>
</file>

<file path=ppt/tags/tag103.xml><?xml version="1.0" encoding="utf-8"?>
<p:tagLst xmlns:a="http://schemas.openxmlformats.org/drawingml/2006/main" xmlns:r="http://schemas.openxmlformats.org/officeDocument/2006/relationships" xmlns:p="http://schemas.openxmlformats.org/presentationml/2006/main">
  <p:tag name="TIMING" val="|1.4|120.9"/>
</p:tagLst>
</file>

<file path=ppt/tags/tag104.xml><?xml version="1.0" encoding="utf-8"?>
<p:tagLst xmlns:a="http://schemas.openxmlformats.org/drawingml/2006/main" xmlns:r="http://schemas.openxmlformats.org/officeDocument/2006/relationships" xmlns:p="http://schemas.openxmlformats.org/presentationml/2006/main">
  <p:tag name="TIMING" val="|1.4|120.9"/>
</p:tagLst>
</file>

<file path=ppt/tags/tag105.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6.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107.xml><?xml version="1.0" encoding="utf-8"?>
<p:tagLst xmlns:a="http://schemas.openxmlformats.org/drawingml/2006/main" xmlns:r="http://schemas.openxmlformats.org/officeDocument/2006/relationships" xmlns:p="http://schemas.openxmlformats.org/presentationml/2006/main">
  <p:tag name="TIMING" val="|11.3"/>
</p:tagLst>
</file>

<file path=ppt/tags/tag108.xml><?xml version="1.0" encoding="utf-8"?>
<p:tagLst xmlns:a="http://schemas.openxmlformats.org/drawingml/2006/main" xmlns:r="http://schemas.openxmlformats.org/officeDocument/2006/relationships" xmlns:p="http://schemas.openxmlformats.org/presentationml/2006/main">
  <p:tag name="TIMING" val="|195.4|54"/>
</p:tagLst>
</file>

<file path=ppt/tags/tag109.xml><?xml version="1.0" encoding="utf-8"?>
<p:tagLst xmlns:a="http://schemas.openxmlformats.org/drawingml/2006/main" xmlns:r="http://schemas.openxmlformats.org/officeDocument/2006/relationships" xmlns:p="http://schemas.openxmlformats.org/presentationml/2006/main">
  <p:tag name="TIMING" val="|129.9"/>
</p:tagLst>
</file>

<file path=ppt/tags/tag11.xml><?xml version="1.0" encoding="utf-8"?>
<p:tagLst xmlns:a="http://schemas.openxmlformats.org/drawingml/2006/main" xmlns:r="http://schemas.openxmlformats.org/officeDocument/2006/relationships" xmlns:p="http://schemas.openxmlformats.org/presentationml/2006/main">
  <p:tag name="TIMING" val="|1.3|21.7|34.2"/>
</p:tagLst>
</file>

<file path=ppt/tags/tag110.xml><?xml version="1.0" encoding="utf-8"?>
<p:tagLst xmlns:a="http://schemas.openxmlformats.org/drawingml/2006/main" xmlns:r="http://schemas.openxmlformats.org/officeDocument/2006/relationships" xmlns:p="http://schemas.openxmlformats.org/presentationml/2006/main">
  <p:tag name="TIMING" val="|1.4|8.1|58.2"/>
</p:tagLst>
</file>

<file path=ppt/tags/tag111.xml><?xml version="1.0" encoding="utf-8"?>
<p:tagLst xmlns:a="http://schemas.openxmlformats.org/drawingml/2006/main" xmlns:r="http://schemas.openxmlformats.org/officeDocument/2006/relationships" xmlns:p="http://schemas.openxmlformats.org/presentationml/2006/main">
  <p:tag name="TIMING" val="|20.7|13.5|14.3"/>
</p:tagLst>
</file>

<file path=ppt/tags/tag112.xml><?xml version="1.0" encoding="utf-8"?>
<p:tagLst xmlns:a="http://schemas.openxmlformats.org/drawingml/2006/main" xmlns:r="http://schemas.openxmlformats.org/officeDocument/2006/relationships" xmlns:p="http://schemas.openxmlformats.org/presentationml/2006/main">
  <p:tag name="TIMING" val="|39.2|15.5|6.7|17|6.1|10.3|24.2|5.9|22.2"/>
</p:tagLst>
</file>

<file path=ppt/tags/tag113.xml><?xml version="1.0" encoding="utf-8"?>
<p:tagLst xmlns:a="http://schemas.openxmlformats.org/drawingml/2006/main" xmlns:r="http://schemas.openxmlformats.org/officeDocument/2006/relationships" xmlns:p="http://schemas.openxmlformats.org/presentationml/2006/main">
  <p:tag name="TIMING" val="|8.8|8|7.1|6.2"/>
</p:tagLst>
</file>

<file path=ppt/tags/tag114.xml><?xml version="1.0" encoding="utf-8"?>
<p:tagLst xmlns:a="http://schemas.openxmlformats.org/drawingml/2006/main" xmlns:r="http://schemas.openxmlformats.org/officeDocument/2006/relationships" xmlns:p="http://schemas.openxmlformats.org/presentationml/2006/main">
  <p:tag name="TIMING" val="|2.8"/>
</p:tagLst>
</file>

<file path=ppt/tags/tag115.xml><?xml version="1.0" encoding="utf-8"?>
<p:tagLst xmlns:a="http://schemas.openxmlformats.org/drawingml/2006/main" xmlns:r="http://schemas.openxmlformats.org/officeDocument/2006/relationships" xmlns:p="http://schemas.openxmlformats.org/presentationml/2006/main">
  <p:tag name="TIMING" val="|8.7|33.1"/>
</p:tagLst>
</file>

<file path=ppt/tags/tag116.xml><?xml version="1.0" encoding="utf-8"?>
<p:tagLst xmlns:a="http://schemas.openxmlformats.org/drawingml/2006/main" xmlns:r="http://schemas.openxmlformats.org/officeDocument/2006/relationships" xmlns:p="http://schemas.openxmlformats.org/presentationml/2006/main">
  <p:tag name="TIMING" val="|6|17.5|16.6|25|41.2"/>
</p:tagLst>
</file>

<file path=ppt/tags/tag117.xml><?xml version="1.0" encoding="utf-8"?>
<p:tagLst xmlns:a="http://schemas.openxmlformats.org/drawingml/2006/main" xmlns:r="http://schemas.openxmlformats.org/officeDocument/2006/relationships" xmlns:p="http://schemas.openxmlformats.org/presentationml/2006/main">
  <p:tag name="TIMING" val="|6.1|13.6|14.6"/>
</p:tagLst>
</file>

<file path=ppt/tags/tag118.xml><?xml version="1.0" encoding="utf-8"?>
<p:tagLst xmlns:a="http://schemas.openxmlformats.org/drawingml/2006/main" xmlns:r="http://schemas.openxmlformats.org/officeDocument/2006/relationships" xmlns:p="http://schemas.openxmlformats.org/presentationml/2006/main">
  <p:tag name="TIMING" val="|9.4|40.9|19.5"/>
</p:tagLst>
</file>

<file path=ppt/tags/tag119.xml><?xml version="1.0" encoding="utf-8"?>
<p:tagLst xmlns:a="http://schemas.openxmlformats.org/drawingml/2006/main" xmlns:r="http://schemas.openxmlformats.org/officeDocument/2006/relationships" xmlns:p="http://schemas.openxmlformats.org/presentationml/2006/main">
  <p:tag name="TIMING" val="|17.4|20.5|22.1"/>
</p:tagLst>
</file>

<file path=ppt/tags/tag12.xml><?xml version="1.0" encoding="utf-8"?>
<p:tagLst xmlns:a="http://schemas.openxmlformats.org/drawingml/2006/main" xmlns:r="http://schemas.openxmlformats.org/officeDocument/2006/relationships" xmlns:p="http://schemas.openxmlformats.org/presentationml/2006/main">
  <p:tag name="TIMING" val="|7.7|9.4|25.6|16.2"/>
</p:tagLst>
</file>

<file path=ppt/tags/tag120.xml><?xml version="1.0" encoding="utf-8"?>
<p:tagLst xmlns:a="http://schemas.openxmlformats.org/drawingml/2006/main" xmlns:r="http://schemas.openxmlformats.org/officeDocument/2006/relationships" xmlns:p="http://schemas.openxmlformats.org/presentationml/2006/main">
  <p:tag name="TIMING" val="|9|58.6|20.4|33.7|7.2"/>
</p:tagLst>
</file>

<file path=ppt/tags/tag121.xml><?xml version="1.0" encoding="utf-8"?>
<p:tagLst xmlns:a="http://schemas.openxmlformats.org/drawingml/2006/main" xmlns:r="http://schemas.openxmlformats.org/officeDocument/2006/relationships" xmlns:p="http://schemas.openxmlformats.org/presentationml/2006/main">
  <p:tag name="TIMING" val="|16.6"/>
</p:tagLst>
</file>

<file path=ppt/tags/tag122.xml><?xml version="1.0" encoding="utf-8"?>
<p:tagLst xmlns:a="http://schemas.openxmlformats.org/drawingml/2006/main" xmlns:r="http://schemas.openxmlformats.org/officeDocument/2006/relationships" xmlns:p="http://schemas.openxmlformats.org/presentationml/2006/main">
  <p:tag name="TIMING" val="|0|4.9|5.6|10.6"/>
</p:tagLst>
</file>

<file path=ppt/tags/tag123.xml><?xml version="1.0" encoding="utf-8"?>
<p:tagLst xmlns:a="http://schemas.openxmlformats.org/drawingml/2006/main" xmlns:r="http://schemas.openxmlformats.org/officeDocument/2006/relationships" xmlns:p="http://schemas.openxmlformats.org/presentationml/2006/main">
  <p:tag name="TIMING" val="|0|45.1|7.6|13.7|15.8"/>
</p:tagLst>
</file>

<file path=ppt/tags/tag124.xml><?xml version="1.0" encoding="utf-8"?>
<p:tagLst xmlns:a="http://schemas.openxmlformats.org/drawingml/2006/main" xmlns:r="http://schemas.openxmlformats.org/officeDocument/2006/relationships" xmlns:p="http://schemas.openxmlformats.org/presentationml/2006/main">
  <p:tag name="TIMING" val="|9.2|4.1|10.6|12.6|17.6|13.8"/>
</p:tagLst>
</file>

<file path=ppt/tags/tag125.xml><?xml version="1.0" encoding="utf-8"?>
<p:tagLst xmlns:a="http://schemas.openxmlformats.org/drawingml/2006/main" xmlns:r="http://schemas.openxmlformats.org/officeDocument/2006/relationships" xmlns:p="http://schemas.openxmlformats.org/presentationml/2006/main">
  <p:tag name="TIMING" val="|51.2"/>
</p:tagLst>
</file>

<file path=ppt/tags/tag126.xml><?xml version="1.0" encoding="utf-8"?>
<p:tagLst xmlns:a="http://schemas.openxmlformats.org/drawingml/2006/main" xmlns:r="http://schemas.openxmlformats.org/officeDocument/2006/relationships" xmlns:p="http://schemas.openxmlformats.org/presentationml/2006/main">
  <p:tag name="TIMING" val="|0.6|13.9|43.7|44.3"/>
</p:tagLst>
</file>

<file path=ppt/tags/tag127.xml><?xml version="1.0" encoding="utf-8"?>
<p:tagLst xmlns:a="http://schemas.openxmlformats.org/drawingml/2006/main" xmlns:r="http://schemas.openxmlformats.org/officeDocument/2006/relationships" xmlns:p="http://schemas.openxmlformats.org/presentationml/2006/main">
  <p:tag name="TIMING" val="|0.8|40.4|8|35.3"/>
</p:tagLst>
</file>

<file path=ppt/tags/tag128.xml><?xml version="1.0" encoding="utf-8"?>
<p:tagLst xmlns:a="http://schemas.openxmlformats.org/drawingml/2006/main" xmlns:r="http://schemas.openxmlformats.org/officeDocument/2006/relationships" xmlns:p="http://schemas.openxmlformats.org/presentationml/2006/main">
  <p:tag name="TIMING" val="|1.5|7.5|29.8"/>
</p:tagLst>
</file>

<file path=ppt/tags/tag129.xml><?xml version="1.0" encoding="utf-8"?>
<p:tagLst xmlns:a="http://schemas.openxmlformats.org/drawingml/2006/main" xmlns:r="http://schemas.openxmlformats.org/officeDocument/2006/relationships" xmlns:p="http://schemas.openxmlformats.org/presentationml/2006/main">
  <p:tag name="TIMING" val="|1.5|8.2|10.5"/>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2.4|35.1|22.6"/>
</p:tagLst>
</file>

<file path=ppt/tags/tag130.xml><?xml version="1.0" encoding="utf-8"?>
<p:tagLst xmlns:a="http://schemas.openxmlformats.org/drawingml/2006/main" xmlns:r="http://schemas.openxmlformats.org/officeDocument/2006/relationships" xmlns:p="http://schemas.openxmlformats.org/presentationml/2006/main">
  <p:tag name="TIMING" val="|7.4|5.2|6.4|9.6"/>
</p:tagLst>
</file>

<file path=ppt/tags/tag131.xml><?xml version="1.0" encoding="utf-8"?>
<p:tagLst xmlns:a="http://schemas.openxmlformats.org/drawingml/2006/main" xmlns:r="http://schemas.openxmlformats.org/officeDocument/2006/relationships" xmlns:p="http://schemas.openxmlformats.org/presentationml/2006/main">
  <p:tag name="TIMING" val="|3.3"/>
</p:tagLst>
</file>

<file path=ppt/tags/tag132.xml><?xml version="1.0" encoding="utf-8"?>
<p:tagLst xmlns:a="http://schemas.openxmlformats.org/drawingml/2006/main" xmlns:r="http://schemas.openxmlformats.org/officeDocument/2006/relationships" xmlns:p="http://schemas.openxmlformats.org/presentationml/2006/main">
  <p:tag name="TIMING" val="|3.6"/>
</p:tagLst>
</file>

<file path=ppt/tags/tag133.xml><?xml version="1.0" encoding="utf-8"?>
<p:tagLst xmlns:a="http://schemas.openxmlformats.org/drawingml/2006/main" xmlns:r="http://schemas.openxmlformats.org/officeDocument/2006/relationships" xmlns:p="http://schemas.openxmlformats.org/presentationml/2006/main">
  <p:tag name="TIMING" val="|25.6"/>
</p:tagLst>
</file>

<file path=ppt/tags/tag134.xml><?xml version="1.0" encoding="utf-8"?>
<p:tagLst xmlns:a="http://schemas.openxmlformats.org/drawingml/2006/main" xmlns:r="http://schemas.openxmlformats.org/officeDocument/2006/relationships" xmlns:p="http://schemas.openxmlformats.org/presentationml/2006/main">
  <p:tag name="TIMING" val="|25.6"/>
</p:tagLst>
</file>

<file path=ppt/tags/tag135.xml><?xml version="1.0" encoding="utf-8"?>
<p:tagLst xmlns:a="http://schemas.openxmlformats.org/drawingml/2006/main" xmlns:r="http://schemas.openxmlformats.org/officeDocument/2006/relationships" xmlns:p="http://schemas.openxmlformats.org/presentationml/2006/main">
  <p:tag name="TIMING" val="|4.1|4.9|11.8|24.8|10.5|1.9|13|23.4"/>
</p:tagLst>
</file>

<file path=ppt/tags/tag136.xml><?xml version="1.0" encoding="utf-8"?>
<p:tagLst xmlns:a="http://schemas.openxmlformats.org/drawingml/2006/main" xmlns:r="http://schemas.openxmlformats.org/officeDocument/2006/relationships" xmlns:p="http://schemas.openxmlformats.org/presentationml/2006/main">
  <p:tag name="TIMING" val="|12.5|74.3"/>
</p:tagLst>
</file>

<file path=ppt/tags/tag137.xml><?xml version="1.0" encoding="utf-8"?>
<p:tagLst xmlns:a="http://schemas.openxmlformats.org/drawingml/2006/main" xmlns:r="http://schemas.openxmlformats.org/officeDocument/2006/relationships" xmlns:p="http://schemas.openxmlformats.org/presentationml/2006/main">
  <p:tag name="TIMING" val="|21|13.5|32.5|27.7|20.3"/>
</p:tagLst>
</file>

<file path=ppt/tags/tag138.xml><?xml version="1.0" encoding="utf-8"?>
<p:tagLst xmlns:a="http://schemas.openxmlformats.org/drawingml/2006/main" xmlns:r="http://schemas.openxmlformats.org/officeDocument/2006/relationships" xmlns:p="http://schemas.openxmlformats.org/presentationml/2006/main">
  <p:tag name="TIMING" val="|24.7|4.4|19.5|25.3|28.9|25.3"/>
</p:tagLst>
</file>

<file path=ppt/tags/tag139.xml><?xml version="1.0" encoding="utf-8"?>
<p:tagLst xmlns:a="http://schemas.openxmlformats.org/drawingml/2006/main" xmlns:r="http://schemas.openxmlformats.org/officeDocument/2006/relationships" xmlns:p="http://schemas.openxmlformats.org/presentationml/2006/main">
  <p:tag name="TIMING" val="|0.6"/>
</p:tagLst>
</file>

<file path=ppt/tags/tag14.xml><?xml version="1.0" encoding="utf-8"?>
<p:tagLst xmlns:a="http://schemas.openxmlformats.org/drawingml/2006/main" xmlns:r="http://schemas.openxmlformats.org/officeDocument/2006/relationships" xmlns:p="http://schemas.openxmlformats.org/presentationml/2006/main">
  <p:tag name="TIMING" val="|5.7|3.7|5.3"/>
</p:tagLst>
</file>

<file path=ppt/tags/tag140.xml><?xml version="1.0" encoding="utf-8"?>
<p:tagLst xmlns:a="http://schemas.openxmlformats.org/drawingml/2006/main" xmlns:r="http://schemas.openxmlformats.org/officeDocument/2006/relationships" xmlns:p="http://schemas.openxmlformats.org/presentationml/2006/main">
  <p:tag name="TIMING" val="|34.3|12.9|21.1|16.7"/>
</p:tagLst>
</file>

<file path=ppt/tags/tag141.xml><?xml version="1.0" encoding="utf-8"?>
<p:tagLst xmlns:a="http://schemas.openxmlformats.org/drawingml/2006/main" xmlns:r="http://schemas.openxmlformats.org/officeDocument/2006/relationships" xmlns:p="http://schemas.openxmlformats.org/presentationml/2006/main">
  <p:tag name="TIMING" val="|31.6|7.2|7.2|9.6"/>
</p:tagLst>
</file>

<file path=ppt/tags/tag142.xml><?xml version="1.0" encoding="utf-8"?>
<p:tagLst xmlns:a="http://schemas.openxmlformats.org/drawingml/2006/main" xmlns:r="http://schemas.openxmlformats.org/officeDocument/2006/relationships" xmlns:p="http://schemas.openxmlformats.org/presentationml/2006/main">
  <p:tag name="TIMING" val="|17.6|20.8|7.5|8.6"/>
</p:tagLst>
</file>

<file path=ppt/tags/tag143.xml><?xml version="1.0" encoding="utf-8"?>
<p:tagLst xmlns:a="http://schemas.openxmlformats.org/drawingml/2006/main" xmlns:r="http://schemas.openxmlformats.org/officeDocument/2006/relationships" xmlns:p="http://schemas.openxmlformats.org/presentationml/2006/main">
  <p:tag name="TIMING" val="|27.6|11.2|9.3|7.6"/>
</p:tagLst>
</file>

<file path=ppt/tags/tag144.xml><?xml version="1.0" encoding="utf-8"?>
<p:tagLst xmlns:a="http://schemas.openxmlformats.org/drawingml/2006/main" xmlns:r="http://schemas.openxmlformats.org/officeDocument/2006/relationships" xmlns:p="http://schemas.openxmlformats.org/presentationml/2006/main">
  <p:tag name="TIMING" val="|10.4"/>
</p:tagLst>
</file>

<file path=ppt/tags/tag145.xml><?xml version="1.0" encoding="utf-8"?>
<p:tagLst xmlns:a="http://schemas.openxmlformats.org/drawingml/2006/main" xmlns:r="http://schemas.openxmlformats.org/officeDocument/2006/relationships" xmlns:p="http://schemas.openxmlformats.org/presentationml/2006/main">
  <p:tag name="TIMING" val="|22.9|40.4"/>
</p:tagLst>
</file>

<file path=ppt/tags/tag146.xml><?xml version="1.0" encoding="utf-8"?>
<p:tagLst xmlns:a="http://schemas.openxmlformats.org/drawingml/2006/main" xmlns:r="http://schemas.openxmlformats.org/officeDocument/2006/relationships" xmlns:p="http://schemas.openxmlformats.org/presentationml/2006/main">
  <p:tag name="TIMING" val="|13.6|10.5|15.9|67"/>
</p:tagLst>
</file>

<file path=ppt/tags/tag147.xml><?xml version="1.0" encoding="utf-8"?>
<p:tagLst xmlns:a="http://schemas.openxmlformats.org/drawingml/2006/main" xmlns:r="http://schemas.openxmlformats.org/officeDocument/2006/relationships" xmlns:p="http://schemas.openxmlformats.org/presentationml/2006/main">
  <p:tag name="TIMING" val="|17.9|19.6|15.4|9.2|28.5"/>
</p:tagLst>
</file>

<file path=ppt/tags/tag148.xml><?xml version="1.0" encoding="utf-8"?>
<p:tagLst xmlns:a="http://schemas.openxmlformats.org/drawingml/2006/main" xmlns:r="http://schemas.openxmlformats.org/officeDocument/2006/relationships" xmlns:p="http://schemas.openxmlformats.org/presentationml/2006/main">
  <p:tag name="TIMING" val="|9.7"/>
</p:tagLst>
</file>

<file path=ppt/tags/tag149.xml><?xml version="1.0" encoding="utf-8"?>
<p:tagLst xmlns:a="http://schemas.openxmlformats.org/drawingml/2006/main" xmlns:r="http://schemas.openxmlformats.org/officeDocument/2006/relationships" xmlns:p="http://schemas.openxmlformats.org/presentationml/2006/main">
  <p:tag name="TIMING" val="|26.1"/>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17.7|35.899|45.501|24.9|11.10001"/>
</p:tagLst>
</file>

<file path=ppt/tags/tag150.xml><?xml version="1.0" encoding="utf-8"?>
<p:tagLst xmlns:a="http://schemas.openxmlformats.org/drawingml/2006/main" xmlns:r="http://schemas.openxmlformats.org/officeDocument/2006/relationships" xmlns:p="http://schemas.openxmlformats.org/presentationml/2006/main">
  <p:tag name="TIMING" val="|13.2"/>
</p:tagLst>
</file>

<file path=ppt/tags/tag151.xml><?xml version="1.0" encoding="utf-8"?>
<p:tagLst xmlns:a="http://schemas.openxmlformats.org/drawingml/2006/main" xmlns:r="http://schemas.openxmlformats.org/officeDocument/2006/relationships" xmlns:p="http://schemas.openxmlformats.org/presentationml/2006/main">
  <p:tag name="TIMING" val="|6.9|6.1|25.6|46.5|12.4|13|15.2|17.3"/>
</p:tagLst>
</file>

<file path=ppt/tags/tag15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3.4|45.9|102|36.9|18.8"/>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2.4|3.1|4.5|5.5"/>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7f7d60-f55b-44ea-8ede-a403e3c8b6ad&quot;,&quot;TimeStamp&quot;:&quot;2019-04-15T09:10:03.5861038-07:0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03427c60-ee99-455b-a44c-a9cda6291dc8&quot;,&quot;TimeStamp&quot;:&quot;2019-04-15T09:10:03.5906226-07:00&quot;}"/>
  <p:tag name="TIMING" val="|22.2|16.2|1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21.xml><?xml version="1.0" encoding="utf-8"?>
<p:tagLst xmlns:a="http://schemas.openxmlformats.org/drawingml/2006/main" xmlns:r="http://schemas.openxmlformats.org/officeDocument/2006/relationships" xmlns:p="http://schemas.openxmlformats.org/presentationml/2006/main">
  <p:tag name="TIMING" val="|5.3|28.1|60.5|32.2"/>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6|14|12.1|15"/>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3.1|17.7|16.5|27.4"/>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6353fe2a-8fb5-4e98-b81c-b4b9c9beb156&quot;,&quot;TimeStamp&quot;:&quot;2019-04-15T09:10:03.5896591-07:00&quot;}"/>
  <p:tag name="TIMING" val="|5|6.2|8.7|11.6"/>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Lst>
</file>

<file path=ppt/tags/tag26.xml><?xml version="1.0" encoding="utf-8"?>
<p:tagLst xmlns:a="http://schemas.openxmlformats.org/drawingml/2006/main" xmlns:r="http://schemas.openxmlformats.org/officeDocument/2006/relationships" xmlns:p="http://schemas.openxmlformats.org/presentationml/2006/main">
  <p:tag name="TIMING" val="|7.5|16|8.7|11.2"/>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da2adfd3-6c85-445c-8a04-961772a752c0&quot;,&quot;TimeStamp&quot;:&quot;2019-04-15T09:10:03.5869785-07:0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c327785d-45fd-4c3a-a802-64f4a4200f80&quot;,&quot;TimeStamp&quot;:&quot;2019-04-15T09:10:03.6066053-07:00&quot;}"/>
</p:tagLst>
</file>

<file path=ppt/tags/tag29.xml><?xml version="1.0" encoding="utf-8"?>
<p:tagLst xmlns:a="http://schemas.openxmlformats.org/drawingml/2006/main" xmlns:r="http://schemas.openxmlformats.org/officeDocument/2006/relationships" xmlns:p="http://schemas.openxmlformats.org/presentationml/2006/main">
  <p:tag name="TIMING" val="|8.5|9.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8.8"/>
</p:tagLst>
</file>

<file path=ppt/tags/tag31.xml><?xml version="1.0" encoding="utf-8"?>
<p:tagLst xmlns:a="http://schemas.openxmlformats.org/drawingml/2006/main" xmlns:r="http://schemas.openxmlformats.org/officeDocument/2006/relationships" xmlns:p="http://schemas.openxmlformats.org/presentationml/2006/main">
  <p:tag name="TIMING" val="|14.7|11.8"/>
</p:tagLst>
</file>

<file path=ppt/tags/tag32.xml><?xml version="1.0" encoding="utf-8"?>
<p:tagLst xmlns:a="http://schemas.openxmlformats.org/drawingml/2006/main" xmlns:r="http://schemas.openxmlformats.org/officeDocument/2006/relationships" xmlns:p="http://schemas.openxmlformats.org/presentationml/2006/main">
  <p:tag name="TIMING" val="|16.9|22.5|10.9"/>
</p:tagLst>
</file>

<file path=ppt/tags/tag33.xml><?xml version="1.0" encoding="utf-8"?>
<p:tagLst xmlns:a="http://schemas.openxmlformats.org/drawingml/2006/main" xmlns:r="http://schemas.openxmlformats.org/officeDocument/2006/relationships" xmlns:p="http://schemas.openxmlformats.org/presentationml/2006/main">
  <p:tag name="TIMING" val="|21.9"/>
</p:tagLst>
</file>

<file path=ppt/tags/tag34.xml><?xml version="1.0" encoding="utf-8"?>
<p:tagLst xmlns:a="http://schemas.openxmlformats.org/drawingml/2006/main" xmlns:r="http://schemas.openxmlformats.org/officeDocument/2006/relationships" xmlns:p="http://schemas.openxmlformats.org/presentationml/2006/main">
  <p:tag name="__MICROSOFT_TRANSLATOR_CLM_SLIDEINFO" val="{&quot;Guid&quot;:&quot;36767db7-869c-462e-88cf-542e5581b00c&quot;,&quot;TimeStamp&quot;:&quot;2019-04-15T09:10:03.6136014-07:00&quot;}"/>
  <p:tag name="TIMING" val="|8"/>
</p:tagLst>
</file>

<file path=ppt/tags/tag35.xml><?xml version="1.0" encoding="utf-8"?>
<p:tagLst xmlns:a="http://schemas.openxmlformats.org/drawingml/2006/main" xmlns:r="http://schemas.openxmlformats.org/officeDocument/2006/relationships" xmlns:p="http://schemas.openxmlformats.org/presentationml/2006/main">
  <p:tag name="TIMING" val="|11.6|22.2|40.2|11.7"/>
</p:tagLst>
</file>

<file path=ppt/tags/tag36.xml><?xml version="1.0" encoding="utf-8"?>
<p:tagLst xmlns:a="http://schemas.openxmlformats.org/drawingml/2006/main" xmlns:r="http://schemas.openxmlformats.org/officeDocument/2006/relationships" xmlns:p="http://schemas.openxmlformats.org/presentationml/2006/main">
  <p:tag name="TIMING" val="|10.8|3.9|3.4|20.5|5.6"/>
</p:tagLst>
</file>

<file path=ppt/tags/tag37.xml><?xml version="1.0" encoding="utf-8"?>
<p:tagLst xmlns:a="http://schemas.openxmlformats.org/drawingml/2006/main" xmlns:r="http://schemas.openxmlformats.org/officeDocument/2006/relationships" xmlns:p="http://schemas.openxmlformats.org/presentationml/2006/main">
  <p:tag name="TIMING" val="|13.5"/>
</p:tagLst>
</file>

<file path=ppt/tags/tag38.xml><?xml version="1.0" encoding="utf-8"?>
<p:tagLst xmlns:a="http://schemas.openxmlformats.org/drawingml/2006/main" xmlns:r="http://schemas.openxmlformats.org/officeDocument/2006/relationships" xmlns:p="http://schemas.openxmlformats.org/presentationml/2006/main">
  <p:tag name="TIMING" val="|1|10.2|8.8|21.3"/>
</p:tagLst>
</file>

<file path=ppt/tags/tag39.xml><?xml version="1.0" encoding="utf-8"?>
<p:tagLst xmlns:a="http://schemas.openxmlformats.org/drawingml/2006/main" xmlns:r="http://schemas.openxmlformats.org/officeDocument/2006/relationships" xmlns:p="http://schemas.openxmlformats.org/presentationml/2006/main">
  <p:tag name="TIMING" val="|11|3.8|5.5|16.9|10.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IMING" val="|11.7|45.3|27.5|11.1"/>
</p:tagLst>
</file>

<file path=ppt/tags/tag41.xml><?xml version="1.0" encoding="utf-8"?>
<p:tagLst xmlns:a="http://schemas.openxmlformats.org/drawingml/2006/main" xmlns:r="http://schemas.openxmlformats.org/officeDocument/2006/relationships" xmlns:p="http://schemas.openxmlformats.org/presentationml/2006/main">
  <p:tag name="TIMING" val="|0|45.1|7.6|13.7|15.8"/>
</p:tagLst>
</file>

<file path=ppt/tags/tag42.xml><?xml version="1.0" encoding="utf-8"?>
<p:tagLst xmlns:a="http://schemas.openxmlformats.org/drawingml/2006/main" xmlns:r="http://schemas.openxmlformats.org/officeDocument/2006/relationships" xmlns:p="http://schemas.openxmlformats.org/presentationml/2006/main">
  <p:tag name="TIMING" val="|6.2|14.3|4.8|24.4"/>
</p:tagLst>
</file>

<file path=ppt/tags/tag43.xml><?xml version="1.0" encoding="utf-8"?>
<p:tagLst xmlns:a="http://schemas.openxmlformats.org/drawingml/2006/main" xmlns:r="http://schemas.openxmlformats.org/officeDocument/2006/relationships" xmlns:p="http://schemas.openxmlformats.org/presentationml/2006/main">
  <p:tag name="TIMING" val="|17.1|15.7|11.9|27.5"/>
</p:tagLst>
</file>

<file path=ppt/tags/tag44.xml><?xml version="1.0" encoding="utf-8"?>
<p:tagLst xmlns:a="http://schemas.openxmlformats.org/drawingml/2006/main" xmlns:r="http://schemas.openxmlformats.org/officeDocument/2006/relationships" xmlns:p="http://schemas.openxmlformats.org/presentationml/2006/main">
  <p:tag name="TIMING" val="|9.3"/>
</p:tagLst>
</file>

<file path=ppt/tags/tag45.xml><?xml version="1.0" encoding="utf-8"?>
<p:tagLst xmlns:a="http://schemas.openxmlformats.org/drawingml/2006/main" xmlns:r="http://schemas.openxmlformats.org/officeDocument/2006/relationships" xmlns:p="http://schemas.openxmlformats.org/presentationml/2006/main">
  <p:tag name="TIMING" val="|4.9"/>
</p:tagLst>
</file>

<file path=ppt/tags/tag46.xml><?xml version="1.0" encoding="utf-8"?>
<p:tagLst xmlns:a="http://schemas.openxmlformats.org/drawingml/2006/main" xmlns:r="http://schemas.openxmlformats.org/officeDocument/2006/relationships" xmlns:p="http://schemas.openxmlformats.org/presentationml/2006/main">
  <p:tag name="TIMING" val="|6"/>
</p:tagLst>
</file>

<file path=ppt/tags/tag47.xml><?xml version="1.0" encoding="utf-8"?>
<p:tagLst xmlns:a="http://schemas.openxmlformats.org/drawingml/2006/main" xmlns:r="http://schemas.openxmlformats.org/officeDocument/2006/relationships" xmlns:p="http://schemas.openxmlformats.org/presentationml/2006/main">
  <p:tag name="__MICROSOFT_TRANSLATOR_CLM_SLIDEINFO" val="{&quot;Guid&quot;:&quot;b24050bc-9d77-4a67-b6b0-26bd09d6581a&quot;,&quot;TimeStamp&quot;:&quot;2019-04-15T09:10:03.6167423-07:00&quot;}"/>
</p:tagLst>
</file>

<file path=ppt/tags/tag48.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49.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1.xml><?xml version="1.0" encoding="utf-8"?>
<p:tagLst xmlns:a="http://schemas.openxmlformats.org/drawingml/2006/main" xmlns:r="http://schemas.openxmlformats.org/officeDocument/2006/relationships" xmlns:p="http://schemas.openxmlformats.org/presentationml/2006/main">
  <p:tag name="__MICROSOFT_TRANSLATOR_CLM_SLIDEINFO" val="{&quot;Guid&quot;:&quot;494ec137-621c-4f97-a361-276b4fcbee0e&quot;,&quot;TimeStamp&quot;:&quot;2019-04-15T09:10:03.5927197-07:00&quot;}"/>
</p:tagLst>
</file>

<file path=ppt/tags/tag52.xml><?xml version="1.0" encoding="utf-8"?>
<p:tagLst xmlns:a="http://schemas.openxmlformats.org/drawingml/2006/main" xmlns:r="http://schemas.openxmlformats.org/officeDocument/2006/relationships" xmlns:p="http://schemas.openxmlformats.org/presentationml/2006/main">
  <p:tag name="__MICROSOFT_TRANSLATOR_CLM_SLIDEINFO" val="{&quot;Guid&quot;:&quot;cfda5b28-833b-4506-8188-d4ffce54241a&quot;,&quot;TimeStamp&quot;:&quot;2019-04-15T09:10:03.5976507-07:00&quot;}"/>
</p:tagLst>
</file>

<file path=ppt/tags/tag53.xml><?xml version="1.0" encoding="utf-8"?>
<p:tagLst xmlns:a="http://schemas.openxmlformats.org/drawingml/2006/main" xmlns:r="http://schemas.openxmlformats.org/officeDocument/2006/relationships" xmlns:p="http://schemas.openxmlformats.org/presentationml/2006/main">
  <p:tag name="__MICROSOFT_TRANSLATOR_CLM_SLIDEINFO" val="{&quot;Guid&quot;:&quot;07e92643-9087-408d-b764-2ebf928fd394&quot;,&quot;TimeStamp&quot;:&quot;2019-04-15T09:10:03.6006474-07:00&quot;}"/>
</p:tagLst>
</file>

<file path=ppt/tags/tag54.xml><?xml version="1.0" encoding="utf-8"?>
<p:tagLst xmlns:a="http://schemas.openxmlformats.org/drawingml/2006/main" xmlns:r="http://schemas.openxmlformats.org/officeDocument/2006/relationships" xmlns:p="http://schemas.openxmlformats.org/presentationml/2006/main">
  <p:tag name="__MICROSOFT_TRANSLATOR_CLM_SLIDEINFO" val="{&quot;Guid&quot;:&quot;8587c752-79d1-479d-8ef8-85efa1aa0b67&quot;,&quot;TimeStamp&quot;:&quot;2019-04-15T09:10:03.6025976-07:00&quot;}"/>
</p:tagLst>
</file>

<file path=ppt/tags/tag55.xml><?xml version="1.0" encoding="utf-8"?>
<p:tagLst xmlns:a="http://schemas.openxmlformats.org/drawingml/2006/main" xmlns:r="http://schemas.openxmlformats.org/officeDocument/2006/relationships" xmlns:p="http://schemas.openxmlformats.org/presentationml/2006/main">
  <p:tag name="__MICROSOFT_TRANSLATOR_CLM_SLIDEINFO" val="{&quot;Guid&quot;:&quot;008edbbb-4a39-4b72-98c5-c7d4cdfa191f&quot;,&quot;TimeStamp&quot;:&quot;2019-04-15T09:10:03.5936501-07:00&quot;}"/>
</p:tagLst>
</file>

<file path=ppt/tags/tag5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9540760-7625-442a-9995-db32325be7d4&quot;,&quot;TimeStamp&quot;:&quot;2019-04-15T09:10:03.6019179-07:00&quot;}"/>
</p:tagLst>
</file>

<file path=ppt/tags/tag57.xml><?xml version="1.0" encoding="utf-8"?>
<p:tagLst xmlns:a="http://schemas.openxmlformats.org/drawingml/2006/main" xmlns:r="http://schemas.openxmlformats.org/officeDocument/2006/relationships" xmlns:p="http://schemas.openxmlformats.org/presentationml/2006/main">
  <p:tag name="__MICROSOFT_TRANSLATOR_CLM_SLIDEINFO" val="{&quot;Guid&quot;:&quot;e02d702e-9f95-45a0-80d4-9575e33a68b3&quot;,&quot;TimeStamp&quot;:&quot;2019-04-15T09:10:03.5959263-07:00&quot;}"/>
</p:tagLst>
</file>

<file path=ppt/tags/tag58.xml><?xml version="1.0" encoding="utf-8"?>
<p:tagLst xmlns:a="http://schemas.openxmlformats.org/drawingml/2006/main" xmlns:r="http://schemas.openxmlformats.org/officeDocument/2006/relationships" xmlns:p="http://schemas.openxmlformats.org/presentationml/2006/main">
  <p:tag name="__MICROSOFT_TRANSLATOR_CLM_SLIDEINFO" val="{&quot;Guid&quot;:&quot;668632f4-1faa-41b3-a042-41899efb1fb7&quot;,&quot;TimeStamp&quot;:&quot;2019-04-15T09:10:03.6035987-07:00&quot;}"/>
</p:tagLst>
</file>

<file path=ppt/tags/tag59.xml><?xml version="1.0" encoding="utf-8"?>
<p:tagLst xmlns:a="http://schemas.openxmlformats.org/drawingml/2006/main" xmlns:r="http://schemas.openxmlformats.org/officeDocument/2006/relationships" xmlns:p="http://schemas.openxmlformats.org/presentationml/2006/main">
  <p:tag name="__MICROSOFT_TRANSLATOR_CLM_SLIDEINFO" val="{&quot;Guid&quot;:&quot;04cb979c-bf26-4d05-8c1b-353c68b7b84f&quot;,&quot;TimeStamp&quot;:&quot;2019-04-15T09:10:03.6047988-07:00&qu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IMING" val="|8|38.9|63.2"/>
</p:tagLst>
</file>

<file path=ppt/tags/tag61.xml><?xml version="1.0" encoding="utf-8"?>
<p:tagLst xmlns:a="http://schemas.openxmlformats.org/drawingml/2006/main" xmlns:r="http://schemas.openxmlformats.org/officeDocument/2006/relationships" xmlns:p="http://schemas.openxmlformats.org/presentationml/2006/main">
  <p:tag name="TIMING" val="|4.9|36.1"/>
</p:tagLst>
</file>

<file path=ppt/tags/tag62.xml><?xml version="1.0" encoding="utf-8"?>
<p:tagLst xmlns:a="http://schemas.openxmlformats.org/drawingml/2006/main" xmlns:r="http://schemas.openxmlformats.org/officeDocument/2006/relationships" xmlns:p="http://schemas.openxmlformats.org/presentationml/2006/main">
  <p:tag name="TIMING" val="|1.1|62.3"/>
</p:tagLst>
</file>

<file path=ppt/tags/tag63.xml><?xml version="1.0" encoding="utf-8"?>
<p:tagLst xmlns:a="http://schemas.openxmlformats.org/drawingml/2006/main" xmlns:r="http://schemas.openxmlformats.org/officeDocument/2006/relationships" xmlns:p="http://schemas.openxmlformats.org/presentationml/2006/main">
  <p:tag name="TIMING" val="|6.1|3.8|3.7|2.8"/>
</p:tagLst>
</file>

<file path=ppt/tags/tag64.xml><?xml version="1.0" encoding="utf-8"?>
<p:tagLst xmlns:a="http://schemas.openxmlformats.org/drawingml/2006/main" xmlns:r="http://schemas.openxmlformats.org/officeDocument/2006/relationships" xmlns:p="http://schemas.openxmlformats.org/presentationml/2006/main">
  <p:tag name="TIMING" val="|9.4|15.6|15"/>
</p:tagLst>
</file>

<file path=ppt/tags/tag65.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0.8|30.5|10.6"/>
</p:tagLst>
</file>

<file path=ppt/tags/tag66.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Lst>
</file>

<file path=ppt/tags/tag67.xml><?xml version="1.0" encoding="utf-8"?>
<p:tagLst xmlns:a="http://schemas.openxmlformats.org/drawingml/2006/main" xmlns:r="http://schemas.openxmlformats.org/officeDocument/2006/relationships" xmlns:p="http://schemas.openxmlformats.org/presentationml/2006/main">
  <p:tag name="__MICROSOFT_TRANSLATOR_CLM_SLIDEINFO" val="{&quot;Guid&quot;:&quot;006c79d4-136b-496a-99a2-5164aa04679e&quot;,&quot;TimeStamp&quot;:&quot;2019-04-15T09:10:03.8411855-07:00&quot;}"/>
</p:tagLst>
</file>

<file path=ppt/tags/tag68.xml><?xml version="1.0" encoding="utf-8"?>
<p:tagLst xmlns:a="http://schemas.openxmlformats.org/drawingml/2006/main" xmlns:r="http://schemas.openxmlformats.org/officeDocument/2006/relationships" xmlns:p="http://schemas.openxmlformats.org/presentationml/2006/main">
  <p:tag name="TIMING" val="|7.6|38.4|24.8"/>
</p:tagLst>
</file>

<file path=ppt/tags/tag69.xml><?xml version="1.0" encoding="utf-8"?>
<p:tagLst xmlns:a="http://schemas.openxmlformats.org/drawingml/2006/main" xmlns:r="http://schemas.openxmlformats.org/officeDocument/2006/relationships" xmlns:p="http://schemas.openxmlformats.org/presentationml/2006/main">
  <p:tag name="TIMING" val="|9.1|11|17.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IMING" val="|0.9|12|11.4"/>
</p:tagLst>
</file>

<file path=ppt/tags/tag71.xml><?xml version="1.0" encoding="utf-8"?>
<p:tagLst xmlns:a="http://schemas.openxmlformats.org/drawingml/2006/main" xmlns:r="http://schemas.openxmlformats.org/officeDocument/2006/relationships" xmlns:p="http://schemas.openxmlformats.org/presentationml/2006/main">
  <p:tag name="TIMING" val="|1.3|15.6"/>
</p:tagLst>
</file>

<file path=ppt/tags/tag72.xml><?xml version="1.0" encoding="utf-8"?>
<p:tagLst xmlns:a="http://schemas.openxmlformats.org/drawingml/2006/main" xmlns:r="http://schemas.openxmlformats.org/officeDocument/2006/relationships" xmlns:p="http://schemas.openxmlformats.org/presentationml/2006/main">
  <p:tag name="TIMING" val="|0.8|42.1|29|20.5"/>
</p:tagLst>
</file>

<file path=ppt/tags/tag73.xml><?xml version="1.0" encoding="utf-8"?>
<p:tagLst xmlns:a="http://schemas.openxmlformats.org/drawingml/2006/main" xmlns:r="http://schemas.openxmlformats.org/officeDocument/2006/relationships" xmlns:p="http://schemas.openxmlformats.org/presentationml/2006/main">
  <p:tag name="TIMING" val="|13.1|37.8|8.5|9.8"/>
</p:tagLst>
</file>

<file path=ppt/tags/tag74.xml><?xml version="1.0" encoding="utf-8"?>
<p:tagLst xmlns:a="http://schemas.openxmlformats.org/drawingml/2006/main" xmlns:r="http://schemas.openxmlformats.org/officeDocument/2006/relationships" xmlns:p="http://schemas.openxmlformats.org/presentationml/2006/main">
  <p:tag name="TIMING" val="|10.6"/>
</p:tagLst>
</file>

<file path=ppt/tags/tag75.xml><?xml version="1.0" encoding="utf-8"?>
<p:tagLst xmlns:a="http://schemas.openxmlformats.org/drawingml/2006/main" xmlns:r="http://schemas.openxmlformats.org/officeDocument/2006/relationships" xmlns:p="http://schemas.openxmlformats.org/presentationml/2006/main">
  <p:tag name="TIMING" val="|0.4"/>
</p:tagLst>
</file>

<file path=ppt/tags/tag76.xml><?xml version="1.0" encoding="utf-8"?>
<p:tagLst xmlns:a="http://schemas.openxmlformats.org/drawingml/2006/main" xmlns:r="http://schemas.openxmlformats.org/officeDocument/2006/relationships" xmlns:p="http://schemas.openxmlformats.org/presentationml/2006/main">
  <p:tag name="TIMING" val="|0"/>
</p:tagLst>
</file>

<file path=ppt/tags/tag77.xml><?xml version="1.0" encoding="utf-8"?>
<p:tagLst xmlns:a="http://schemas.openxmlformats.org/drawingml/2006/main" xmlns:r="http://schemas.openxmlformats.org/officeDocument/2006/relationships" xmlns:p="http://schemas.openxmlformats.org/presentationml/2006/main">
  <p:tag name="TIMING" val="|13.4|8.6|4.7"/>
</p:tagLst>
</file>

<file path=ppt/tags/tag78.xml><?xml version="1.0" encoding="utf-8"?>
<p:tagLst xmlns:a="http://schemas.openxmlformats.org/drawingml/2006/main" xmlns:r="http://schemas.openxmlformats.org/officeDocument/2006/relationships" xmlns:p="http://schemas.openxmlformats.org/presentationml/2006/main">
  <p:tag name="TIMING" val="|26.8"/>
</p:tagLst>
</file>

<file path=ppt/tags/tag79.xml><?xml version="1.0" encoding="utf-8"?>
<p:tagLst xmlns:a="http://schemas.openxmlformats.org/drawingml/2006/main" xmlns:r="http://schemas.openxmlformats.org/officeDocument/2006/relationships" xmlns:p="http://schemas.openxmlformats.org/presentationml/2006/main">
  <p:tag name="TIMING" val="|65.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IMING" val="|6.3"/>
</p:tagLst>
</file>

<file path=ppt/tags/tag81.xml><?xml version="1.0" encoding="utf-8"?>
<p:tagLst xmlns:a="http://schemas.openxmlformats.org/drawingml/2006/main" xmlns:r="http://schemas.openxmlformats.org/officeDocument/2006/relationships" xmlns:p="http://schemas.openxmlformats.org/presentationml/2006/main">
  <p:tag name="TIMING" val="|14"/>
</p:tagLst>
</file>

<file path=ppt/tags/tag82.xml><?xml version="1.0" encoding="utf-8"?>
<p:tagLst xmlns:a="http://schemas.openxmlformats.org/drawingml/2006/main" xmlns:r="http://schemas.openxmlformats.org/officeDocument/2006/relationships" xmlns:p="http://schemas.openxmlformats.org/presentationml/2006/main">
  <p:tag name="TIMING" val="|0.5"/>
</p:tagLst>
</file>

<file path=ppt/tags/tag83.xml><?xml version="1.0" encoding="utf-8"?>
<p:tagLst xmlns:a="http://schemas.openxmlformats.org/drawingml/2006/main" xmlns:r="http://schemas.openxmlformats.org/officeDocument/2006/relationships" xmlns:p="http://schemas.openxmlformats.org/presentationml/2006/main">
  <p:tag name="TIMING" val="|16.6|11.4|6.8"/>
</p:tagLst>
</file>

<file path=ppt/tags/tag84.xml><?xml version="1.0" encoding="utf-8"?>
<p:tagLst xmlns:a="http://schemas.openxmlformats.org/drawingml/2006/main" xmlns:r="http://schemas.openxmlformats.org/officeDocument/2006/relationships" xmlns:p="http://schemas.openxmlformats.org/presentationml/2006/main">
  <p:tag name="TIMING" val="|4.3|4.8|6.8|15.8"/>
</p:tagLst>
</file>

<file path=ppt/tags/tag85.xml><?xml version="1.0" encoding="utf-8"?>
<p:tagLst xmlns:a="http://schemas.openxmlformats.org/drawingml/2006/main" xmlns:r="http://schemas.openxmlformats.org/officeDocument/2006/relationships" xmlns:p="http://schemas.openxmlformats.org/presentationml/2006/main">
  <p:tag name="TIMING" val="|4.7|11.5|11.8"/>
</p:tagLst>
</file>

<file path=ppt/tags/tag86.xml><?xml version="1.0" encoding="utf-8"?>
<p:tagLst xmlns:a="http://schemas.openxmlformats.org/drawingml/2006/main" xmlns:r="http://schemas.openxmlformats.org/officeDocument/2006/relationships" xmlns:p="http://schemas.openxmlformats.org/presentationml/2006/main">
  <p:tag name="TIMING" val="|1.3|11.5|32.9|67.1"/>
</p:tagLst>
</file>

<file path=ppt/tags/tag87.xml><?xml version="1.0" encoding="utf-8"?>
<p:tagLst xmlns:a="http://schemas.openxmlformats.org/drawingml/2006/main" xmlns:r="http://schemas.openxmlformats.org/officeDocument/2006/relationships" xmlns:p="http://schemas.openxmlformats.org/presentationml/2006/main">
  <p:tag name="TIMING" val="|10.6|14.7|24.2"/>
</p:tagLst>
</file>

<file path=ppt/tags/tag88.xml><?xml version="1.0" encoding="utf-8"?>
<p:tagLst xmlns:a="http://schemas.openxmlformats.org/drawingml/2006/main" xmlns:r="http://schemas.openxmlformats.org/officeDocument/2006/relationships" xmlns:p="http://schemas.openxmlformats.org/presentationml/2006/main">
  <p:tag name="TIMING" val="|20.1|25.1|66.6"/>
</p:tagLst>
</file>

<file path=ppt/tags/tag89.xml><?xml version="1.0" encoding="utf-8"?>
<p:tagLst xmlns:a="http://schemas.openxmlformats.org/drawingml/2006/main" xmlns:r="http://schemas.openxmlformats.org/officeDocument/2006/relationships" xmlns:p="http://schemas.openxmlformats.org/presentationml/2006/main">
  <p:tag name="TIMING" val="|17.6|31.2|33.6|51.6"/>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27f58f-8c31-4e7f-8019-4e9ea7440194&quot;,&quot;TimeStamp&quot;:&quot;2019-04-15T09:10:03.5177621-07:00&quot;}"/>
</p:tagLst>
</file>

<file path=ppt/tags/tag90.xml><?xml version="1.0" encoding="utf-8"?>
<p:tagLst xmlns:a="http://schemas.openxmlformats.org/drawingml/2006/main" xmlns:r="http://schemas.openxmlformats.org/officeDocument/2006/relationships" xmlns:p="http://schemas.openxmlformats.org/presentationml/2006/main">
  <p:tag name="TIMING" val="|8.6|9.3|30.3"/>
</p:tagLst>
</file>

<file path=ppt/tags/tag91.xml><?xml version="1.0" encoding="utf-8"?>
<p:tagLst xmlns:a="http://schemas.openxmlformats.org/drawingml/2006/main" xmlns:r="http://schemas.openxmlformats.org/officeDocument/2006/relationships" xmlns:p="http://schemas.openxmlformats.org/presentationml/2006/main">
  <p:tag name="TIMING" val="|5.9|29.2"/>
</p:tagLst>
</file>

<file path=ppt/tags/tag92.xml><?xml version="1.0" encoding="utf-8"?>
<p:tagLst xmlns:a="http://schemas.openxmlformats.org/drawingml/2006/main" xmlns:r="http://schemas.openxmlformats.org/officeDocument/2006/relationships" xmlns:p="http://schemas.openxmlformats.org/presentationml/2006/main">
  <p:tag name="TIMING" val="|9|27.3|23"/>
</p:tagLst>
</file>

<file path=ppt/tags/tag93.xml><?xml version="1.0" encoding="utf-8"?>
<p:tagLst xmlns:a="http://schemas.openxmlformats.org/drawingml/2006/main" xmlns:r="http://schemas.openxmlformats.org/officeDocument/2006/relationships" xmlns:p="http://schemas.openxmlformats.org/presentationml/2006/main">
  <p:tag name="TIMING" val="|0.6|53|51.3"/>
</p:tagLst>
</file>

<file path=ppt/tags/tag94.xml><?xml version="1.0" encoding="utf-8"?>
<p:tagLst xmlns:a="http://schemas.openxmlformats.org/drawingml/2006/main" xmlns:r="http://schemas.openxmlformats.org/officeDocument/2006/relationships" xmlns:p="http://schemas.openxmlformats.org/presentationml/2006/main">
  <p:tag name="TIMING" val="|6"/>
</p:tagLst>
</file>

<file path=ppt/tags/tag95.xml><?xml version="1.0" encoding="utf-8"?>
<p:tagLst xmlns:a="http://schemas.openxmlformats.org/drawingml/2006/main" xmlns:r="http://schemas.openxmlformats.org/officeDocument/2006/relationships" xmlns:p="http://schemas.openxmlformats.org/presentationml/2006/main">
  <p:tag name="TIMING" val="|7"/>
</p:tagLst>
</file>

<file path=ppt/tags/tag96.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97.xml><?xml version="1.0" encoding="utf-8"?>
<p:tagLst xmlns:a="http://schemas.openxmlformats.org/drawingml/2006/main" xmlns:r="http://schemas.openxmlformats.org/officeDocument/2006/relationships" xmlns:p="http://schemas.openxmlformats.org/presentationml/2006/main">
  <p:tag name="TIMING" val="|8.8"/>
</p:tagLst>
</file>

<file path=ppt/tags/tag98.xml><?xml version="1.0" encoding="utf-8"?>
<p:tagLst xmlns:a="http://schemas.openxmlformats.org/drawingml/2006/main" xmlns:r="http://schemas.openxmlformats.org/officeDocument/2006/relationships" xmlns:p="http://schemas.openxmlformats.org/presentationml/2006/main">
  <p:tag name="TIMING" val="|3.7"/>
</p:tagLst>
</file>

<file path=ppt/tags/tag99.xml><?xml version="1.0" encoding="utf-8"?>
<p:tagLst xmlns:a="http://schemas.openxmlformats.org/drawingml/2006/main" xmlns:r="http://schemas.openxmlformats.org/officeDocument/2006/relationships" xmlns:p="http://schemas.openxmlformats.org/presentationml/2006/main">
  <p:tag name="TIMING" val="|1.4|120.9"/>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6">
      <a:dk1>
        <a:srgbClr val="000000"/>
      </a:dk1>
      <a:lt1>
        <a:srgbClr val="FFFFFF"/>
      </a:lt1>
      <a:dk2>
        <a:srgbClr val="694B16"/>
      </a:dk2>
      <a:lt2>
        <a:srgbClr val="E6E6E6"/>
      </a:lt2>
      <a:accent1>
        <a:srgbClr val="FFB900"/>
      </a:accent1>
      <a:accent2>
        <a:srgbClr val="243A5E"/>
      </a:accent2>
      <a:accent3>
        <a:srgbClr val="FEF00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yellow.potx" id="{A081965B-DB35-4F98-83AA-25E710C1FDB2}" vid="{5743F656-A2AB-4DBD-AA0A-F169F87D164C}"/>
    </a:ext>
  </a:extLst>
</a:theme>
</file>

<file path=ppt/theme/theme3.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4.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5.xml><?xml version="1.0" encoding="utf-8"?>
<a:theme xmlns:a="http://schemas.openxmlformats.org/drawingml/2006/main" name="5-50002_Ignite_Breakout_Template">
  <a:themeElements>
    <a:clrScheme name="Custom 5">
      <a:dk1>
        <a:srgbClr val="505050"/>
      </a:dk1>
      <a:lt1>
        <a:srgbClr val="FFFFFF"/>
      </a:lt1>
      <a:dk2>
        <a:srgbClr val="F2C811"/>
      </a:dk2>
      <a:lt2>
        <a:srgbClr val="F8F8F8"/>
      </a:lt2>
      <a:accent1>
        <a:srgbClr val="000000"/>
      </a:accent1>
      <a:accent2>
        <a:srgbClr val="F2C811"/>
      </a:accent2>
      <a:accent3>
        <a:srgbClr val="8C8C8C"/>
      </a:accent3>
      <a:accent4>
        <a:srgbClr val="D2D2D2"/>
      </a:accent4>
      <a:accent5>
        <a:srgbClr val="FFB900"/>
      </a:accent5>
      <a:accent6>
        <a:srgbClr val="FFFFFF"/>
      </a:accent6>
      <a:hlink>
        <a:srgbClr val="000000"/>
      </a:hlink>
      <a:folHlink>
        <a:srgbClr val="8C8C8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9875B0D4-94A5-4794-8D43-D7C5C9BD4FC5}"/>
    </a:ext>
  </a:extLst>
</a:theme>
</file>

<file path=ppt/theme/theme6.xml><?xml version="1.0" encoding="utf-8"?>
<a:theme xmlns:a="http://schemas.openxmlformats.org/drawingml/2006/main" name="4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9.xml><?xml version="1.0" encoding="utf-8"?>
<a:theme xmlns:a="http://schemas.openxmlformats.org/drawingml/2006/main" name="5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ower BI Template" id="{35F462F2-A35D-42EA-BBC1-6CE7CD01B7EC}" vid="{A8C6A49B-C10D-424B-860C-81981533ECF0}"/>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13.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3.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4.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5.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6.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7.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8063</Words>
  <Application>Microsoft Office PowerPoint</Application>
  <PresentationFormat>Breitbild</PresentationFormat>
  <Paragraphs>3375</Paragraphs>
  <Slides>330</Slides>
  <Notes>308</Notes>
  <HiddenSlides>48</HiddenSlides>
  <MMClips>0</MMClips>
  <ScaleCrop>false</ScaleCrop>
  <HeadingPairs>
    <vt:vector size="8" baseType="variant">
      <vt:variant>
        <vt:lpstr>Verwendete Schriftarten</vt:lpstr>
      </vt:variant>
      <vt:variant>
        <vt:i4>17</vt:i4>
      </vt:variant>
      <vt:variant>
        <vt:lpstr>Design</vt:lpstr>
      </vt:variant>
      <vt:variant>
        <vt:i4>9</vt:i4>
      </vt:variant>
      <vt:variant>
        <vt:lpstr>Eingebettete OLE-Server</vt:lpstr>
      </vt:variant>
      <vt:variant>
        <vt:i4>1</vt:i4>
      </vt:variant>
      <vt:variant>
        <vt:lpstr>Folientitel</vt:lpstr>
      </vt:variant>
      <vt:variant>
        <vt:i4>330</vt:i4>
      </vt:variant>
    </vt:vector>
  </HeadingPairs>
  <TitlesOfParts>
    <vt:vector size="357" baseType="lpstr">
      <vt:lpstr>Arial</vt:lpstr>
      <vt:lpstr>Calibri</vt:lpstr>
      <vt:lpstr>Calibri (Body)</vt:lpstr>
      <vt:lpstr>Calibri Light</vt:lpstr>
      <vt:lpstr>Castellar</vt:lpstr>
      <vt:lpstr>Consolas</vt:lpstr>
      <vt:lpstr>Raleway</vt:lpstr>
      <vt:lpstr>Roboto Slab Light</vt:lpstr>
      <vt:lpstr>Segoe</vt:lpstr>
      <vt:lpstr>Segoe Condensed</vt:lpstr>
      <vt:lpstr>Segoe UI</vt:lpstr>
      <vt:lpstr>Segoe UI Black</vt:lpstr>
      <vt:lpstr>Segoe UI Light</vt:lpstr>
      <vt:lpstr>Segoe UI Semibold</vt:lpstr>
      <vt:lpstr>Segoe UI Semilight</vt:lpstr>
      <vt:lpstr>Tw Cen MT</vt:lpstr>
      <vt:lpstr>Wingdings</vt:lpstr>
      <vt:lpstr>STB Product Families 2015</vt:lpstr>
      <vt:lpstr>White Template</vt:lpstr>
      <vt:lpstr>1_STB Product Families 2015</vt:lpstr>
      <vt:lpstr>2_STB Product Families 2015</vt:lpstr>
      <vt:lpstr>5-50002_Ignite_Breakout_Template</vt:lpstr>
      <vt:lpstr>4_STB Product Families 2015</vt:lpstr>
      <vt:lpstr>1_Office Theme</vt:lpstr>
      <vt:lpstr>3_STB Product Families 2015</vt:lpstr>
      <vt:lpstr>5_STB Product Families 2015</vt:lpstr>
      <vt:lpstr>think-cell Slide</vt:lpstr>
      <vt:lpstr>Power BI Adoption Framework</vt:lpstr>
      <vt:lpstr>Introduction</vt:lpstr>
      <vt:lpstr>Why care about Power BI Adoption?</vt:lpstr>
      <vt:lpstr>Stages of Technology Adoption</vt:lpstr>
      <vt:lpstr>Learning from existing customers</vt:lpstr>
      <vt:lpstr>Target Audience</vt:lpstr>
      <vt:lpstr>Why do we need a Framework?</vt:lpstr>
      <vt:lpstr>Power BI Adoption Methodology</vt:lpstr>
      <vt:lpstr>Power BI Adoption Methodology</vt:lpstr>
      <vt:lpstr>Power BI Adoption Methodology</vt:lpstr>
      <vt:lpstr>Engagement Model</vt:lpstr>
      <vt:lpstr>Adoption Framework Schedule</vt:lpstr>
      <vt:lpstr>Adoption Framework - Output</vt:lpstr>
      <vt:lpstr>Key Features, Benefits &amp; Drivers</vt:lpstr>
      <vt:lpstr>Adoption Roadmap</vt:lpstr>
      <vt:lpstr>Types of Adoptions</vt:lpstr>
      <vt:lpstr>Organization Adoption </vt:lpstr>
      <vt:lpstr>User Adoption</vt:lpstr>
      <vt:lpstr>Solution Adoption</vt:lpstr>
      <vt:lpstr>  Data Culture</vt:lpstr>
      <vt:lpstr>What led to this series…</vt:lpstr>
      <vt:lpstr>Inter-related Aspects influencing Data Culture</vt:lpstr>
      <vt:lpstr>Motivation for Data Culture Adoption</vt:lpstr>
      <vt:lpstr>Components of the Healthy Data Culture</vt:lpstr>
      <vt:lpstr>Main Aspects of Data Culture</vt:lpstr>
      <vt:lpstr>Data Discovery</vt:lpstr>
      <vt:lpstr>Data Democratization</vt:lpstr>
      <vt:lpstr>Data Literacy</vt:lpstr>
      <vt:lpstr>Key Actions</vt:lpstr>
      <vt:lpstr>Recommendations on Data Culture</vt:lpstr>
      <vt:lpstr>Maturity Level – Data Culture</vt:lpstr>
      <vt:lpstr>Introduction to the Framework</vt:lpstr>
      <vt:lpstr>Envision – Key Learning</vt:lpstr>
      <vt:lpstr>Power BI Adoption Methodology</vt:lpstr>
      <vt:lpstr>Power BI Adoption Methodology</vt:lpstr>
      <vt:lpstr>PowerPoint-Präsentation</vt:lpstr>
      <vt:lpstr>PowerPoint-Präsentation</vt:lpstr>
      <vt:lpstr>Adoption Framework Workshop Key Learnings</vt:lpstr>
      <vt:lpstr>  Executive Sponsor</vt:lpstr>
      <vt:lpstr>Funding Approach</vt:lpstr>
      <vt:lpstr>Responsibilities of Executive Sponsor</vt:lpstr>
      <vt:lpstr>Key Requirements</vt:lpstr>
      <vt:lpstr>Identifying an Executive Sponsor</vt:lpstr>
      <vt:lpstr>Key Actions</vt:lpstr>
      <vt:lpstr>Considerations&amp; Key Actions</vt:lpstr>
      <vt:lpstr>Maturity Level – Executive Sponsor</vt:lpstr>
      <vt:lpstr>Governance</vt:lpstr>
      <vt:lpstr>PowerBI Governance:  Why Do We Need It?</vt:lpstr>
      <vt:lpstr>PowerPoint-Präsentation</vt:lpstr>
      <vt:lpstr>PowerPoint-Präsentation</vt:lpstr>
      <vt:lpstr>What if you could empower everyone with analytics anywhere decisions are made?</vt:lpstr>
      <vt:lpstr>Turning Data into Business Insights</vt:lpstr>
      <vt:lpstr>Uncontrolled proliferation of BI apps</vt:lpstr>
      <vt:lpstr>Why Governance is Needed</vt:lpstr>
      <vt:lpstr>Governance Objectives</vt:lpstr>
      <vt:lpstr>Governance Objectives/Strategy</vt:lpstr>
      <vt:lpstr>Important Considerations</vt:lpstr>
      <vt:lpstr>PowerBI Governance: What Do We Need?</vt:lpstr>
      <vt:lpstr>What is your organisation’s current state of BI?</vt:lpstr>
      <vt:lpstr>What organizational goals do you want to achieve with the roll out of Power BI?</vt:lpstr>
      <vt:lpstr>PowerPoint-Präsentation</vt:lpstr>
      <vt:lpstr>PowerPoint-Präsentation</vt:lpstr>
      <vt:lpstr>What data sources are accessible for analysis?</vt:lpstr>
      <vt:lpstr>PowerBI Governance: How Do We Want to Achieve It?</vt:lpstr>
      <vt:lpstr>Implementing Governance</vt:lpstr>
      <vt:lpstr>Data Discovery</vt:lpstr>
      <vt:lpstr>PowerPoint-Präsentation</vt:lpstr>
      <vt:lpstr>Evolution of BI</vt:lpstr>
      <vt:lpstr>A balanced approach…</vt:lpstr>
      <vt:lpstr>Methods of introducing governance</vt:lpstr>
      <vt:lpstr>Governance Challenges</vt:lpstr>
      <vt:lpstr>Governance Challenges</vt:lpstr>
      <vt:lpstr>PowerPoint-Präsentation</vt:lpstr>
      <vt:lpstr>PowerPoint-Präsentation</vt:lpstr>
      <vt:lpstr>PowerPoint-Präsentation</vt:lpstr>
      <vt:lpstr>Governance Considerations</vt:lpstr>
      <vt:lpstr>PowerPoint-Präsentation</vt:lpstr>
      <vt:lpstr>Do you currently have a Master Data Management Process?</vt:lpstr>
      <vt:lpstr>PowerPoint-Präsentation</vt:lpstr>
      <vt:lpstr>Do you currently have an Enterprise Data Catalog?</vt:lpstr>
      <vt:lpstr>PowerPoint-Präsentation</vt:lpstr>
      <vt:lpstr>Do you currently have an Enterprise Data Dictionary?</vt:lpstr>
      <vt:lpstr>Key Roles &amp; Responsibiliti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ore Roles</vt:lpstr>
      <vt:lpstr>Key Actions</vt:lpstr>
      <vt:lpstr>Considerations &amp; Key Actions</vt:lpstr>
      <vt:lpstr>Action Plan</vt:lpstr>
      <vt:lpstr>PowerPoint-Präsentation</vt:lpstr>
      <vt:lpstr>Maturity Level – Governance</vt:lpstr>
      <vt:lpstr>Content Delivery Scope</vt:lpstr>
      <vt:lpstr> Content Ownership and Management </vt:lpstr>
      <vt:lpstr>Governance Level based on Content Ownership</vt:lpstr>
      <vt:lpstr>Business-led self-service BI: Bottom-Up Approach</vt:lpstr>
      <vt:lpstr>Business-led  self-service BI –  Guidelines for Success</vt:lpstr>
      <vt:lpstr>Business-led  self-service BI –  Guidelines for Success</vt:lpstr>
      <vt:lpstr>Managed self-service BI: Blended Approach</vt:lpstr>
      <vt:lpstr>Managed Self-Service - Guidelines for Success</vt:lpstr>
      <vt:lpstr>Managed Self-Service - Guidelines for Success</vt:lpstr>
      <vt:lpstr>Enterprise BI: Top-Down Approach</vt:lpstr>
      <vt:lpstr>Enterprise BI -Guidelines for Success</vt:lpstr>
      <vt:lpstr>Enterprise BI -Guidelines for Success</vt:lpstr>
      <vt:lpstr>PowerPoint-Präsentation</vt:lpstr>
      <vt:lpstr>PowerPoint-Präsentation</vt:lpstr>
      <vt:lpstr>Ownership and Stewardship</vt:lpstr>
      <vt:lpstr>Maturity Level – Content Ownership</vt:lpstr>
      <vt:lpstr>Content Delivery Scope</vt:lpstr>
      <vt:lpstr>Four Delivery Scopes</vt:lpstr>
      <vt:lpstr>Target Consumers of the Content</vt:lpstr>
      <vt:lpstr>Creators of the Content</vt:lpstr>
      <vt:lpstr>Personal BI</vt:lpstr>
      <vt:lpstr>Team BI</vt:lpstr>
      <vt:lpstr>Departmental BI</vt:lpstr>
      <vt:lpstr>Enterprise BI</vt:lpstr>
      <vt:lpstr>Phases of delivery: Self-Service BI</vt:lpstr>
      <vt:lpstr>Phases of delivery: Corporate BI</vt:lpstr>
      <vt:lpstr>Phases of Delivery: Ownership Transfer</vt:lpstr>
      <vt:lpstr>Content Delivery -Key Actions</vt:lpstr>
      <vt:lpstr>Considerations &amp; Key Actions</vt:lpstr>
      <vt:lpstr>Maturity Level – Content Delivery</vt:lpstr>
      <vt:lpstr>PowerPoint-Präsentation</vt:lpstr>
      <vt:lpstr>Phases of Delivery: Ownership Transfer</vt:lpstr>
      <vt:lpstr>Create  Collaborate  Distribute</vt:lpstr>
      <vt:lpstr> Center of Excellence (COE)</vt:lpstr>
      <vt:lpstr>Learning from existing customers</vt:lpstr>
      <vt:lpstr>Center of Excellence</vt:lpstr>
      <vt:lpstr>Center of Excellence</vt:lpstr>
      <vt:lpstr>Goals of COE</vt:lpstr>
      <vt:lpstr>Responsibilities of COE</vt:lpstr>
      <vt:lpstr>Staffing a CoE</vt:lpstr>
      <vt:lpstr>Funding COE</vt:lpstr>
      <vt:lpstr>PowerPoint-Präsentation</vt:lpstr>
      <vt:lpstr>Structuring COE</vt:lpstr>
      <vt:lpstr>Considerations &amp; Key Actions</vt:lpstr>
      <vt:lpstr>COE – Change Management Approach</vt:lpstr>
      <vt:lpstr>PowerPoint-Präsentation</vt:lpstr>
      <vt:lpstr>Maturity Level - COE</vt:lpstr>
      <vt:lpstr>  Mentoring &amp; User Enablement</vt:lpstr>
      <vt:lpstr>Skills Mentoring</vt:lpstr>
      <vt:lpstr>Considerations &amp; Key Actions</vt:lpstr>
      <vt:lpstr>Maturity Level – Mentoring &amp; Enablement</vt:lpstr>
      <vt:lpstr>  Mentoring &amp; User Enablement</vt:lpstr>
      <vt:lpstr>Community of Practice</vt:lpstr>
      <vt:lpstr>Community of Practice</vt:lpstr>
      <vt:lpstr>Maturity Level – Community of Practice</vt:lpstr>
      <vt:lpstr>  User Support</vt:lpstr>
      <vt:lpstr>User Support</vt:lpstr>
      <vt:lpstr>User Support</vt:lpstr>
      <vt:lpstr>Types of Support</vt:lpstr>
      <vt:lpstr>Break-fix</vt:lpstr>
      <vt:lpstr>Break-fix</vt:lpstr>
      <vt:lpstr>Minor Enhancements</vt:lpstr>
      <vt:lpstr>Enablement</vt:lpstr>
      <vt:lpstr>Break-fix / Minor Enhancements Options</vt:lpstr>
      <vt:lpstr>Enablement Options</vt:lpstr>
      <vt:lpstr>Enablement Options</vt:lpstr>
      <vt:lpstr>What do you need to consider when someone starts / changes role?</vt:lpstr>
      <vt:lpstr>What level of support will you give users?</vt:lpstr>
      <vt:lpstr>Who will support Power BI?</vt:lpstr>
      <vt:lpstr>Considerations &amp; Key Actions</vt:lpstr>
      <vt:lpstr>Maturity Level – User Support</vt:lpstr>
      <vt:lpstr>System Oversight</vt:lpstr>
      <vt:lpstr>System Oversight Overview </vt:lpstr>
      <vt:lpstr>System Oversight Overview </vt:lpstr>
      <vt:lpstr>Admin Roles &amp; Responsibilities</vt:lpstr>
      <vt:lpstr>PowerBI Management: What to Manage?</vt:lpstr>
      <vt:lpstr>PowerPoint-Präsentation</vt:lpstr>
      <vt:lpstr>Who is responsible for creating security groups?</vt:lpstr>
      <vt:lpstr>When should workspaces be created?</vt:lpstr>
      <vt:lpstr>App Workspaces Creation Options</vt:lpstr>
      <vt:lpstr>When to create an App Workspaces - Recommended</vt:lpstr>
      <vt:lpstr>Considerations for System Oversight</vt:lpstr>
      <vt:lpstr>PowerPoint-Präsentation</vt:lpstr>
      <vt:lpstr>How will you manage installing Power BI Desktop?</vt:lpstr>
      <vt:lpstr>How will users install drivers on their machines (if required)?</vt:lpstr>
      <vt:lpstr>PowerPoint-Präsentation</vt:lpstr>
      <vt:lpstr>Do you want to manage mobile devices?</vt:lpstr>
      <vt:lpstr>Who will be responsible for administering Power BI Mobile?</vt:lpstr>
      <vt:lpstr>PowerPoint-Präsentation</vt:lpstr>
      <vt:lpstr>Do you want to manage mobile devices?</vt:lpstr>
      <vt:lpstr>Service Management: How to Manage Power BI?</vt:lpstr>
      <vt:lpstr>Admin Portal</vt:lpstr>
      <vt:lpstr>Tenant Settings</vt:lpstr>
      <vt:lpstr>Granular Tenant Setting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hat should the Power BI Tenant Settings be set to?</vt:lpstr>
      <vt:lpstr>Who will be responsible for administering Power BI tenant settings?</vt:lpstr>
      <vt:lpstr>Considerations for Service Management</vt:lpstr>
      <vt:lpstr>PowerPoint-Präsentation</vt:lpstr>
      <vt:lpstr>Usage Metrics – Admin Portal</vt:lpstr>
      <vt:lpstr>Usage Metrics – Report / Dashboard</vt:lpstr>
      <vt:lpstr>Auditing</vt:lpstr>
      <vt:lpstr>Auditing</vt:lpstr>
      <vt:lpstr>Categories of Auditing Data</vt:lpstr>
      <vt:lpstr>Categories of Auditing Data</vt:lpstr>
      <vt:lpstr>How will audit log data be used?</vt:lpstr>
      <vt:lpstr>Considerations for Auditing &amp; Monitoring</vt:lpstr>
      <vt:lpstr>Data Architecture</vt:lpstr>
      <vt:lpstr>Do you require connectivity to on-premises Data Sources?</vt:lpstr>
      <vt:lpstr>What is an On-premises Data Gateway?</vt:lpstr>
      <vt:lpstr>Types of Gateways</vt:lpstr>
      <vt:lpstr>1. Install an On-premises Data Gateway</vt:lpstr>
      <vt:lpstr>2. Add users to an On-Premises Data Gateway</vt:lpstr>
      <vt:lpstr>3. Connect to Data Sources</vt:lpstr>
      <vt:lpstr>Guidance for On-Premises Data Gateways</vt:lpstr>
      <vt:lpstr>Guidance for On-Premises Data Gateways</vt:lpstr>
      <vt:lpstr>Guidance for On-Premises Data Gateways</vt:lpstr>
      <vt:lpstr>Guidance for On-Premises Data Gateways</vt:lpstr>
      <vt:lpstr>Guidance for On-Premises Data Gateways</vt:lpstr>
      <vt:lpstr>Guidance for On-Premises Data Gateways</vt:lpstr>
      <vt:lpstr>Gateway Management</vt:lpstr>
      <vt:lpstr>Gateway Management</vt:lpstr>
      <vt:lpstr>Who will be responsible for administering and monitoring Gateways?</vt:lpstr>
      <vt:lpstr>Where will Gateways be installed and how will they be configured?</vt:lpstr>
      <vt:lpstr>Considerations for Data Architecture Planning</vt:lpstr>
      <vt:lpstr>Power BI Premium</vt:lpstr>
      <vt:lpstr>How will you purchase and configure Premium?</vt:lpstr>
      <vt:lpstr>Premium Capacity Management</vt:lpstr>
      <vt:lpstr>How to use Premium Capacity- Recommendation</vt:lpstr>
      <vt:lpstr>How will you purchase and configure Premium?</vt:lpstr>
      <vt:lpstr>Premium Capacity Monitoring</vt:lpstr>
      <vt:lpstr>How will you monitor Premium?</vt:lpstr>
      <vt:lpstr>  Security</vt:lpstr>
      <vt:lpstr>PowerBI Security: User Identity</vt:lpstr>
      <vt:lpstr>User Identity</vt:lpstr>
      <vt:lpstr>User Identity</vt:lpstr>
      <vt:lpstr>Power BI Authentication</vt:lpstr>
      <vt:lpstr>Multi-Factor Authentication</vt:lpstr>
      <vt:lpstr>User Access Control</vt:lpstr>
      <vt:lpstr>Conditional Access</vt:lpstr>
      <vt:lpstr>Admin Control</vt:lpstr>
      <vt:lpstr>Do you want to add controls for Power BI Environment Access?</vt:lpstr>
      <vt:lpstr>PowerBI Security: What to Secure?</vt:lpstr>
      <vt:lpstr>Why Security needs to be reviewed</vt:lpstr>
      <vt:lpstr>Considerations</vt:lpstr>
      <vt:lpstr>PowerPoint-Präsentation</vt:lpstr>
      <vt:lpstr>PowerPoint-Präsentation</vt:lpstr>
      <vt:lpstr>PowerBI Security: Architecture</vt:lpstr>
      <vt:lpstr>PowerPoint-Präsentation</vt:lpstr>
      <vt:lpstr>Web Front End Cluster</vt:lpstr>
      <vt:lpstr>Back End Cluster</vt:lpstr>
      <vt:lpstr>Data Encryption</vt:lpstr>
      <vt:lpstr>Data At Rest</vt:lpstr>
      <vt:lpstr>Data Encryption</vt:lpstr>
      <vt:lpstr>Data In Process</vt:lpstr>
      <vt:lpstr>Where is my data stored?</vt:lpstr>
      <vt:lpstr>ExpressRoute</vt:lpstr>
      <vt:lpstr>ExpressRoute</vt:lpstr>
      <vt:lpstr>Do you want to bypass the internet when connecting to Power BI?</vt:lpstr>
      <vt:lpstr>Compliance and market availability</vt:lpstr>
      <vt:lpstr>PowerBI Security: How to Secure?</vt:lpstr>
      <vt:lpstr>Data Security</vt:lpstr>
      <vt:lpstr>Dynamic Row Level Security</vt:lpstr>
      <vt:lpstr>Sharing</vt:lpstr>
      <vt:lpstr>PowerPoint-Präsentation</vt:lpstr>
      <vt:lpstr>Sharing</vt:lpstr>
      <vt:lpstr>PowerPoint-Präsentation</vt:lpstr>
      <vt:lpstr>PowerPoint-Präsentation</vt:lpstr>
      <vt:lpstr>PowerPoint-Präsentation</vt:lpstr>
      <vt:lpstr>PowerPoint-Präsentation</vt:lpstr>
      <vt:lpstr>PowerPoint-Präsentation</vt:lpstr>
      <vt:lpstr>PowerPoint-Präsentation</vt:lpstr>
      <vt:lpstr>When should you use the various sharing options?</vt:lpstr>
      <vt:lpstr>Improve Security &amp;  Data Protection</vt:lpstr>
      <vt:lpstr>Maturity Level – System Oversight</vt:lpstr>
      <vt:lpstr>Maturity Level – System Oversight</vt:lpstr>
      <vt:lpstr>PowerBI Service Management: Licensing</vt:lpstr>
      <vt:lpstr>Power BI family</vt:lpstr>
      <vt:lpstr>Power BI Premium Licensing</vt:lpstr>
      <vt:lpstr>How to acquire Power BI SaaS Offering</vt:lpstr>
      <vt:lpstr>Licensing Scenario</vt:lpstr>
      <vt:lpstr>What licensing do you currently have available?</vt:lpstr>
      <vt:lpstr>Do you require Power BI Premium?</vt:lpstr>
      <vt:lpstr>Sample License Assignment Workflow 1</vt:lpstr>
      <vt:lpstr>Sample License Assignment Workflow 2</vt:lpstr>
      <vt:lpstr>Sample License Assignment Workflow 3</vt:lpstr>
      <vt:lpstr>Sample License Assignment Workflow 4</vt:lpstr>
      <vt:lpstr>How will you assign Power BI licenses?</vt:lpstr>
      <vt:lpstr>How will you assign Power BI licenses?</vt:lpstr>
      <vt:lpstr>What licences are required by role?</vt:lpstr>
      <vt:lpstr>PowerBI Rollout</vt:lpstr>
      <vt:lpstr>  Power BI Roll-Out</vt:lpstr>
      <vt:lpstr>Need for a Roll-out Strategy</vt:lpstr>
      <vt:lpstr>Roll-Out Considerations</vt:lpstr>
      <vt:lpstr>Phased Roll-out</vt:lpstr>
      <vt:lpstr>Enterprise-wide Roll-out</vt:lpstr>
      <vt:lpstr>Power BI Desktop Roll-out</vt:lpstr>
      <vt:lpstr>Project Selection</vt:lpstr>
      <vt:lpstr>Have you identified initial projects to work on?</vt:lpstr>
      <vt:lpstr>Change Management</vt:lpstr>
      <vt:lpstr>Project Videos</vt:lpstr>
      <vt:lpstr>Communications</vt:lpstr>
      <vt:lpstr>Training</vt:lpstr>
      <vt:lpstr>PowerBI Roll Out: User Roles</vt:lpstr>
      <vt:lpstr>Power BI user Roles</vt:lpstr>
      <vt:lpstr>Consumers</vt:lpstr>
      <vt:lpstr>Analysts</vt:lpstr>
      <vt:lpstr>Power Users</vt:lpstr>
      <vt:lpstr>BI Development Team</vt:lpstr>
      <vt:lpstr>Web Development Team</vt:lpstr>
      <vt:lpstr>IT Operations / BAU Support</vt:lpstr>
      <vt:lpstr>IT Minor Enhancements Support</vt:lpstr>
      <vt:lpstr>What are the user roles for Power BI in your organization?</vt:lpstr>
      <vt:lpstr>Potential end to end process</vt:lpstr>
      <vt:lpstr>Wrap-Up: Adoption Roadmap</vt:lpstr>
      <vt:lpstr>What were the main learnings?</vt:lpstr>
      <vt:lpstr>Next Steps in Adoption</vt:lpstr>
      <vt:lpstr>Adoption Framework - Outpu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icole Pham</dc:creator>
  <cp:lastModifiedBy>Mariana Logvinenko</cp:lastModifiedBy>
  <cp:revision>2</cp:revision>
  <dcterms:created xsi:type="dcterms:W3CDTF">2021-09-07T18:27:45Z</dcterms:created>
  <dcterms:modified xsi:type="dcterms:W3CDTF">2021-10-21T14:23:21Z</dcterms:modified>
</cp:coreProperties>
</file>